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4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6.xml" ContentType="application/vnd.openxmlformats-officedocument.theme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theme/theme7.xml" ContentType="application/vnd.openxmlformats-officedocument.theme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8.xml" ContentType="application/vnd.openxmlformats-officedocument.theme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9.xml" ContentType="application/vnd.openxmlformats-officedocument.theme+xml"/>
  <Override PartName="/ppt/tags/tag1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theme/theme10.xml" ContentType="application/vnd.openxmlformats-officedocument.theme+xml"/>
  <Override PartName="/ppt/tags/tag2.xml" ContentType="application/vnd.openxmlformats-officedocument.presentationml.tags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3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4" r:id="rId5"/>
    <p:sldMasterId id="2147483666" r:id="rId6"/>
    <p:sldMasterId id="2147483686" r:id="rId7"/>
    <p:sldMasterId id="2147483709" r:id="rId8"/>
    <p:sldMasterId id="2147483730" r:id="rId9"/>
    <p:sldMasterId id="2147483749" r:id="rId10"/>
    <p:sldMasterId id="2147483775" r:id="rId11"/>
    <p:sldMasterId id="2147483794" r:id="rId12"/>
    <p:sldMasterId id="2147483815" r:id="rId13"/>
    <p:sldMasterId id="2147483839" r:id="rId14"/>
  </p:sldMasterIdLst>
  <p:notesMasterIdLst>
    <p:notesMasterId r:id="rId20"/>
  </p:notesMasterIdLst>
  <p:sldIdLst>
    <p:sldId id="6615" r:id="rId15"/>
    <p:sldId id="2147471332" r:id="rId16"/>
    <p:sldId id="2147471344" r:id="rId17"/>
    <p:sldId id="6647" r:id="rId18"/>
    <p:sldId id="6648" r:id="rId19"/>
  </p:sldIdLst>
  <p:sldSz cx="12192000" cy="6858000"/>
  <p:notesSz cx="6735763" cy="98663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zione predefinita" id="{39BD2578-9D70-456E-943A-34D767A2233B}">
          <p14:sldIdLst>
            <p14:sldId id="6615"/>
            <p14:sldId id="2147471332"/>
            <p14:sldId id="2147471344"/>
            <p14:sldId id="6647"/>
            <p14:sldId id="6648"/>
          </p14:sldIdLst>
        </p14:section>
        <p14:section name="BACK-UP" id="{B883C074-60B5-44F2-B472-DD66C7AE121B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66"/>
    <a:srgbClr val="DC002E"/>
    <a:srgbClr val="C00000"/>
    <a:srgbClr val="70BED9"/>
    <a:srgbClr val="3C3C58"/>
    <a:srgbClr val="C0D3ED"/>
    <a:srgbClr val="FF99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Stile chiaro 1 - Color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370" autoAdjust="0"/>
    <p:restoredTop sz="96265" autoAdjust="0"/>
  </p:normalViewPr>
  <p:slideViewPr>
    <p:cSldViewPr snapToGrid="0">
      <p:cViewPr varScale="1">
        <p:scale>
          <a:sx n="112" d="100"/>
          <a:sy n="112" d="100"/>
        </p:scale>
        <p:origin x="588" y="9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82CCC3-EEC7-42BE-8D34-9379B4E81D88}" type="datetimeFigureOut">
              <a:rPr lang="it-IT" smtClean="0"/>
              <a:t>18/01/2023</a:t>
            </a:fld>
            <a:endParaRPr lang="it-IT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1661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it-IT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3577" y="4748163"/>
            <a:ext cx="5388610" cy="38848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/>
              <a:t>Fare clic per modificare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it-IT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0A1222-8D40-4786-A80D-134916586A79}" type="slidenum">
              <a:rPr lang="it-IT" smtClean="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172314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0A1222-8D40-4786-A80D-134916586A79}" type="slidenum">
              <a:rPr lang="it-IT" smtClean="0"/>
              <a:t>2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666046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it-IT"/>
              <a:t>backup</a:t>
            </a:r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704B38D-B3E4-431F-83CD-87A9EFBC4E7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01915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E0A1222-8D40-4786-A80D-134916586A79}" type="slidenum">
              <a:rPr lang="it-IT" smtClean="0"/>
              <a:t>4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7834373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010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1011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it-IT" altLang="it-IT"/>
          </a:p>
        </p:txBody>
      </p:sp>
      <p:sp>
        <p:nvSpPr>
          <p:cNvPr id="171012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100" indent="-28542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6584" indent="-226707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3262" indent="-226707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63199" indent="-226707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32924" indent="-22670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3002648" indent="-22670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72372" indent="-22670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942097" indent="-226707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507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6263F50-6034-4502-96DE-89F63C3B4122}" type="slidenum">
              <a:rPr kumimoji="0" lang="it-IT" altLang="it-IT" sz="13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5072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it-IT" altLang="it-IT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24552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2.xml"/><Relationship Id="rId5" Type="http://schemas.openxmlformats.org/officeDocument/2006/relationships/image" Target="../media/image10.emf"/><Relationship Id="rId4" Type="http://schemas.openxmlformats.org/officeDocument/2006/relationships/image" Target="../media/image11.emf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7705" y="1222782"/>
            <a:ext cx="7324451" cy="79725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lnSpc>
                <a:spcPct val="80000"/>
              </a:lnSpc>
              <a:defRPr lang="it-IT" sz="4800"/>
            </a:lvl1pPr>
          </a:lstStyle>
          <a:p>
            <a:pPr lvl="0"/>
            <a:r>
              <a:rPr lang="it-IT"/>
              <a:t>COPERTINA </a:t>
            </a: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6144162" y="2027528"/>
            <a:ext cx="5185489" cy="63477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t">
            <a:spAutoFit/>
          </a:bodyPr>
          <a:lstStyle>
            <a:lvl1pPr algn="r">
              <a:defRPr lang="it-IT" sz="32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ct val="0"/>
              </a:spcBef>
            </a:pPr>
            <a:r>
              <a:rPr lang="it-IT"/>
              <a:t>Sottotitolo 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1" hasCustomPrompt="1"/>
          </p:nvPr>
        </p:nvSpPr>
        <p:spPr>
          <a:xfrm>
            <a:off x="407988" y="5340914"/>
            <a:ext cx="1553547" cy="322467"/>
          </a:xfrm>
          <a:prstGeom prst="rect">
            <a:avLst/>
          </a:prstGeom>
        </p:spPr>
        <p:txBody>
          <a:bodyPr lIns="0" rIns="0"/>
          <a:lstStyle>
            <a:lvl1pPr algn="l"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00 Mese 0000</a:t>
            </a:r>
          </a:p>
        </p:txBody>
      </p:sp>
      <p:pic>
        <p:nvPicPr>
          <p:cNvPr id="24" name="Immagine 2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114800"/>
            <a:ext cx="2061819" cy="5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1647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0370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5545736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5"/>
            <a:ext cx="11176620" cy="422751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38705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1457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491319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566116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21558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4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 dirty="0"/>
              <a:t>Testo Calibri 18pt</a:t>
            </a:r>
          </a:p>
          <a:p>
            <a:pPr lvl="1"/>
            <a:r>
              <a:rPr lang="it-IT" dirty="0"/>
              <a:t>Secondo livello 16pt</a:t>
            </a:r>
          </a:p>
          <a:p>
            <a:pPr lvl="2"/>
            <a:r>
              <a:rPr lang="it-IT" dirty="0"/>
              <a:t>Terzo livello 14pt</a:t>
            </a:r>
          </a:p>
          <a:p>
            <a:pPr lvl="3"/>
            <a:r>
              <a:rPr lang="it-IT" dirty="0"/>
              <a:t>Quarto livello 12pt</a:t>
            </a:r>
          </a:p>
          <a:p>
            <a:pPr lvl="4"/>
            <a:r>
              <a:rPr lang="it-IT" dirty="0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47337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0370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 dirty="0"/>
              <a:t>Testo Calibri 18pt</a:t>
            </a:r>
          </a:p>
          <a:p>
            <a:pPr lvl="1"/>
            <a:r>
              <a:rPr lang="it-IT" dirty="0"/>
              <a:t>Secondo livello 16pt</a:t>
            </a:r>
          </a:p>
          <a:p>
            <a:pPr lvl="2"/>
            <a:r>
              <a:rPr lang="it-IT" dirty="0"/>
              <a:t>Terzo livello 14pt</a:t>
            </a:r>
          </a:p>
          <a:p>
            <a:pPr lvl="3"/>
            <a:r>
              <a:rPr lang="it-IT" dirty="0"/>
              <a:t>Quarto livello 12pt</a:t>
            </a:r>
          </a:p>
          <a:p>
            <a:pPr lvl="4"/>
            <a:r>
              <a:rPr lang="it-IT" dirty="0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10853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7337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0" y="1552575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 dirty="0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9560889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88" y="1521699"/>
            <a:ext cx="5688012" cy="4283789"/>
          </a:xfrm>
        </p:spPr>
        <p:txBody>
          <a:bodyPr/>
          <a:lstStyle/>
          <a:p>
            <a:pPr lvl="0"/>
            <a:endParaRPr lang="it-IT" dirty="0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16233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0" y="19034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0" y="26520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0" y="29321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36807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0" y="39608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094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0" y="49895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 dirty="0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2811798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25261347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magin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 dirty="0"/>
          </a:p>
        </p:txBody>
      </p:sp>
      <p:sp>
        <p:nvSpPr>
          <p:cNvPr id="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1"/>
            <a:ext cx="11176000" cy="203199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2247283238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4956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511206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7337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0" y="1552575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42063668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60352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9810144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782823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299001466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8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8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3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3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19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19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2260245186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845054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SO1_Titolo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" name="Rettangolo 1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466584B-8BD1-48B2-BD0C-DC7DD5380BEF}"/>
                </a:ext>
              </a:extLst>
            </p:cNvPr>
            <p:cNvSpPr/>
            <p:nvPr userDrawn="1"/>
          </p:nvSpPr>
          <p:spPr>
            <a:xfrm>
              <a:off x="11718170" y="0"/>
              <a:ext cx="47288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93527B5-7425-47AC-89C0-2B32AE60168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1786074" y="90427"/>
              <a:ext cx="346160" cy="234428"/>
              <a:chOff x="-560" y="-1287"/>
              <a:chExt cx="6379" cy="4320"/>
            </a:xfrm>
          </p:grpSpPr>
          <p:sp>
            <p:nvSpPr>
              <p:cNvPr id="24" name="AutoShape 3">
                <a:extLst>
                  <a:ext uri="{FF2B5EF4-FFF2-40B4-BE49-F238E27FC236}">
                    <a16:creationId xmlns:a16="http://schemas.microsoft.com/office/drawing/2014/main" id="{85DBAE22-A53B-46F6-A1C2-9F9E40807B3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B355A452-2788-4C68-9C15-CC51FD59A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B83AE660-1A7F-4C22-9AF1-535B2E94E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" y="423"/>
                <a:ext cx="5536" cy="2610"/>
              </a:xfrm>
              <a:custGeom>
                <a:avLst/>
                <a:gdLst>
                  <a:gd name="T0" fmla="*/ 5536 w 5536"/>
                  <a:gd name="T1" fmla="*/ 0 h 2610"/>
                  <a:gd name="T2" fmla="*/ 5470 w 5536"/>
                  <a:gd name="T3" fmla="*/ 127 h 2610"/>
                  <a:gd name="T4" fmla="*/ 5449 w 5536"/>
                  <a:gd name="T5" fmla="*/ 139 h 2610"/>
                  <a:gd name="T6" fmla="*/ 5061 w 5536"/>
                  <a:gd name="T7" fmla="*/ 164 h 2610"/>
                  <a:gd name="T8" fmla="*/ 4881 w 5536"/>
                  <a:gd name="T9" fmla="*/ 189 h 2610"/>
                  <a:gd name="T10" fmla="*/ 4722 w 5536"/>
                  <a:gd name="T11" fmla="*/ 247 h 2610"/>
                  <a:gd name="T12" fmla="*/ 4585 w 5536"/>
                  <a:gd name="T13" fmla="*/ 336 h 2610"/>
                  <a:gd name="T14" fmla="*/ 4471 w 5536"/>
                  <a:gd name="T15" fmla="*/ 460 h 2610"/>
                  <a:gd name="T16" fmla="*/ 4380 w 5536"/>
                  <a:gd name="T17" fmla="*/ 618 h 2610"/>
                  <a:gd name="T18" fmla="*/ 4338 w 5536"/>
                  <a:gd name="T19" fmla="*/ 757 h 2610"/>
                  <a:gd name="T20" fmla="*/ 4318 w 5536"/>
                  <a:gd name="T21" fmla="*/ 902 h 2610"/>
                  <a:gd name="T22" fmla="*/ 4305 w 5536"/>
                  <a:gd name="T23" fmla="*/ 1107 h 2610"/>
                  <a:gd name="T24" fmla="*/ 4278 w 5536"/>
                  <a:gd name="T25" fmla="*/ 1312 h 2610"/>
                  <a:gd name="T26" fmla="*/ 4208 w 5536"/>
                  <a:gd name="T27" fmla="*/ 1538 h 2610"/>
                  <a:gd name="T28" fmla="*/ 4100 w 5536"/>
                  <a:gd name="T29" fmla="*/ 1768 h 2610"/>
                  <a:gd name="T30" fmla="*/ 3963 w 5536"/>
                  <a:gd name="T31" fmla="*/ 1971 h 2610"/>
                  <a:gd name="T32" fmla="*/ 3800 w 5536"/>
                  <a:gd name="T33" fmla="*/ 2146 h 2610"/>
                  <a:gd name="T34" fmla="*/ 3609 w 5536"/>
                  <a:gd name="T35" fmla="*/ 2293 h 2610"/>
                  <a:gd name="T36" fmla="*/ 3391 w 5536"/>
                  <a:gd name="T37" fmla="*/ 2413 h 2610"/>
                  <a:gd name="T38" fmla="*/ 3145 w 5536"/>
                  <a:gd name="T39" fmla="*/ 2504 h 2610"/>
                  <a:gd name="T40" fmla="*/ 2911 w 5536"/>
                  <a:gd name="T41" fmla="*/ 2552 h 2610"/>
                  <a:gd name="T42" fmla="*/ 2671 w 5536"/>
                  <a:gd name="T43" fmla="*/ 2585 h 2610"/>
                  <a:gd name="T44" fmla="*/ 2378 w 5536"/>
                  <a:gd name="T45" fmla="*/ 2608 h 2610"/>
                  <a:gd name="T46" fmla="*/ 2084 w 5536"/>
                  <a:gd name="T47" fmla="*/ 2608 h 2610"/>
                  <a:gd name="T48" fmla="*/ 54 w 5536"/>
                  <a:gd name="T49" fmla="*/ 2608 h 2610"/>
                  <a:gd name="T50" fmla="*/ 0 w 5536"/>
                  <a:gd name="T51" fmla="*/ 2608 h 2610"/>
                  <a:gd name="T52" fmla="*/ 64 w 5536"/>
                  <a:gd name="T53" fmla="*/ 2477 h 2610"/>
                  <a:gd name="T54" fmla="*/ 93 w 5536"/>
                  <a:gd name="T55" fmla="*/ 2436 h 2610"/>
                  <a:gd name="T56" fmla="*/ 143 w 5536"/>
                  <a:gd name="T57" fmla="*/ 2426 h 2610"/>
                  <a:gd name="T58" fmla="*/ 1098 w 5536"/>
                  <a:gd name="T59" fmla="*/ 2419 h 2610"/>
                  <a:gd name="T60" fmla="*/ 1469 w 5536"/>
                  <a:gd name="T61" fmla="*/ 2396 h 2610"/>
                  <a:gd name="T62" fmla="*/ 1753 w 5536"/>
                  <a:gd name="T63" fmla="*/ 2368 h 2610"/>
                  <a:gd name="T64" fmla="*/ 1947 w 5536"/>
                  <a:gd name="T65" fmla="*/ 2336 h 2610"/>
                  <a:gd name="T66" fmla="*/ 2155 w 5536"/>
                  <a:gd name="T67" fmla="*/ 2268 h 2610"/>
                  <a:gd name="T68" fmla="*/ 2362 w 5536"/>
                  <a:gd name="T69" fmla="*/ 2162 h 2610"/>
                  <a:gd name="T70" fmla="*/ 2540 w 5536"/>
                  <a:gd name="T71" fmla="*/ 2028 h 2610"/>
                  <a:gd name="T72" fmla="*/ 2687 w 5536"/>
                  <a:gd name="T73" fmla="*/ 1866 h 2610"/>
                  <a:gd name="T74" fmla="*/ 2807 w 5536"/>
                  <a:gd name="T75" fmla="*/ 1675 h 2610"/>
                  <a:gd name="T76" fmla="*/ 2896 w 5536"/>
                  <a:gd name="T77" fmla="*/ 1453 h 2610"/>
                  <a:gd name="T78" fmla="*/ 3064 w 5536"/>
                  <a:gd name="T79" fmla="*/ 881 h 2610"/>
                  <a:gd name="T80" fmla="*/ 3108 w 5536"/>
                  <a:gd name="T81" fmla="*/ 732 h 2610"/>
                  <a:gd name="T82" fmla="*/ 3170 w 5536"/>
                  <a:gd name="T83" fmla="*/ 591 h 2610"/>
                  <a:gd name="T84" fmla="*/ 3290 w 5536"/>
                  <a:gd name="T85" fmla="*/ 423 h 2610"/>
                  <a:gd name="T86" fmla="*/ 3431 w 5536"/>
                  <a:gd name="T87" fmla="*/ 288 h 2610"/>
                  <a:gd name="T88" fmla="*/ 3595 w 5536"/>
                  <a:gd name="T89" fmla="*/ 187 h 2610"/>
                  <a:gd name="T90" fmla="*/ 3785 w 5536"/>
                  <a:gd name="T91" fmla="*/ 122 h 2610"/>
                  <a:gd name="T92" fmla="*/ 4003 w 5536"/>
                  <a:gd name="T93" fmla="*/ 91 h 2610"/>
                  <a:gd name="T94" fmla="*/ 4235 w 5536"/>
                  <a:gd name="T95" fmla="*/ 79 h 2610"/>
                  <a:gd name="T96" fmla="*/ 5498 w 5536"/>
                  <a:gd name="T97" fmla="*/ 0 h 2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536" h="2610">
                    <a:moveTo>
                      <a:pt x="5515" y="0"/>
                    </a:moveTo>
                    <a:lnTo>
                      <a:pt x="5536" y="0"/>
                    </a:lnTo>
                    <a:lnTo>
                      <a:pt x="5503" y="66"/>
                    </a:lnTo>
                    <a:lnTo>
                      <a:pt x="5470" y="127"/>
                    </a:lnTo>
                    <a:lnTo>
                      <a:pt x="5463" y="135"/>
                    </a:lnTo>
                    <a:lnTo>
                      <a:pt x="5449" y="139"/>
                    </a:lnTo>
                    <a:lnTo>
                      <a:pt x="5436" y="141"/>
                    </a:lnTo>
                    <a:lnTo>
                      <a:pt x="5061" y="164"/>
                    </a:lnTo>
                    <a:lnTo>
                      <a:pt x="4968" y="172"/>
                    </a:lnTo>
                    <a:lnTo>
                      <a:pt x="4881" y="189"/>
                    </a:lnTo>
                    <a:lnTo>
                      <a:pt x="4798" y="214"/>
                    </a:lnTo>
                    <a:lnTo>
                      <a:pt x="4722" y="247"/>
                    </a:lnTo>
                    <a:lnTo>
                      <a:pt x="4651" y="288"/>
                    </a:lnTo>
                    <a:lnTo>
                      <a:pt x="4585" y="336"/>
                    </a:lnTo>
                    <a:lnTo>
                      <a:pt x="4525" y="394"/>
                    </a:lnTo>
                    <a:lnTo>
                      <a:pt x="4471" y="460"/>
                    </a:lnTo>
                    <a:lnTo>
                      <a:pt x="4423" y="535"/>
                    </a:lnTo>
                    <a:lnTo>
                      <a:pt x="4380" y="618"/>
                    </a:lnTo>
                    <a:lnTo>
                      <a:pt x="4353" y="686"/>
                    </a:lnTo>
                    <a:lnTo>
                      <a:pt x="4338" y="757"/>
                    </a:lnTo>
                    <a:lnTo>
                      <a:pt x="4326" y="829"/>
                    </a:lnTo>
                    <a:lnTo>
                      <a:pt x="4318" y="902"/>
                    </a:lnTo>
                    <a:lnTo>
                      <a:pt x="4311" y="1004"/>
                    </a:lnTo>
                    <a:lnTo>
                      <a:pt x="4305" y="1107"/>
                    </a:lnTo>
                    <a:lnTo>
                      <a:pt x="4295" y="1209"/>
                    </a:lnTo>
                    <a:lnTo>
                      <a:pt x="4278" y="1312"/>
                    </a:lnTo>
                    <a:lnTo>
                      <a:pt x="4253" y="1412"/>
                    </a:lnTo>
                    <a:lnTo>
                      <a:pt x="4208" y="1538"/>
                    </a:lnTo>
                    <a:lnTo>
                      <a:pt x="4158" y="1656"/>
                    </a:lnTo>
                    <a:lnTo>
                      <a:pt x="4100" y="1768"/>
                    </a:lnTo>
                    <a:lnTo>
                      <a:pt x="4034" y="1872"/>
                    </a:lnTo>
                    <a:lnTo>
                      <a:pt x="3963" y="1971"/>
                    </a:lnTo>
                    <a:lnTo>
                      <a:pt x="3885" y="2061"/>
                    </a:lnTo>
                    <a:lnTo>
                      <a:pt x="3800" y="2146"/>
                    </a:lnTo>
                    <a:lnTo>
                      <a:pt x="3708" y="2224"/>
                    </a:lnTo>
                    <a:lnTo>
                      <a:pt x="3609" y="2293"/>
                    </a:lnTo>
                    <a:lnTo>
                      <a:pt x="3503" y="2357"/>
                    </a:lnTo>
                    <a:lnTo>
                      <a:pt x="3391" y="2413"/>
                    </a:lnTo>
                    <a:lnTo>
                      <a:pt x="3271" y="2461"/>
                    </a:lnTo>
                    <a:lnTo>
                      <a:pt x="3145" y="2504"/>
                    </a:lnTo>
                    <a:lnTo>
                      <a:pt x="3029" y="2533"/>
                    </a:lnTo>
                    <a:lnTo>
                      <a:pt x="2911" y="2552"/>
                    </a:lnTo>
                    <a:lnTo>
                      <a:pt x="2791" y="2569"/>
                    </a:lnTo>
                    <a:lnTo>
                      <a:pt x="2671" y="2585"/>
                    </a:lnTo>
                    <a:lnTo>
                      <a:pt x="2525" y="2602"/>
                    </a:lnTo>
                    <a:lnTo>
                      <a:pt x="2378" y="2608"/>
                    </a:lnTo>
                    <a:lnTo>
                      <a:pt x="2231" y="2610"/>
                    </a:lnTo>
                    <a:lnTo>
                      <a:pt x="2084" y="2608"/>
                    </a:lnTo>
                    <a:lnTo>
                      <a:pt x="1937" y="2608"/>
                    </a:lnTo>
                    <a:lnTo>
                      <a:pt x="54" y="2608"/>
                    </a:lnTo>
                    <a:lnTo>
                      <a:pt x="0" y="2608"/>
                    </a:lnTo>
                    <a:lnTo>
                      <a:pt x="0" y="2608"/>
                    </a:lnTo>
                    <a:lnTo>
                      <a:pt x="33" y="2540"/>
                    </a:lnTo>
                    <a:lnTo>
                      <a:pt x="64" y="2477"/>
                    </a:lnTo>
                    <a:lnTo>
                      <a:pt x="75" y="2452"/>
                    </a:lnTo>
                    <a:lnTo>
                      <a:pt x="93" y="2436"/>
                    </a:lnTo>
                    <a:lnTo>
                      <a:pt x="114" y="2428"/>
                    </a:lnTo>
                    <a:lnTo>
                      <a:pt x="143" y="2426"/>
                    </a:lnTo>
                    <a:lnTo>
                      <a:pt x="621" y="2426"/>
                    </a:lnTo>
                    <a:lnTo>
                      <a:pt x="1098" y="2419"/>
                    </a:lnTo>
                    <a:lnTo>
                      <a:pt x="1284" y="2409"/>
                    </a:lnTo>
                    <a:lnTo>
                      <a:pt x="1469" y="2396"/>
                    </a:lnTo>
                    <a:lnTo>
                      <a:pt x="1655" y="2378"/>
                    </a:lnTo>
                    <a:lnTo>
                      <a:pt x="1753" y="2368"/>
                    </a:lnTo>
                    <a:lnTo>
                      <a:pt x="1850" y="2355"/>
                    </a:lnTo>
                    <a:lnTo>
                      <a:pt x="1947" y="2336"/>
                    </a:lnTo>
                    <a:lnTo>
                      <a:pt x="2043" y="2311"/>
                    </a:lnTo>
                    <a:lnTo>
                      <a:pt x="2155" y="2268"/>
                    </a:lnTo>
                    <a:lnTo>
                      <a:pt x="2264" y="2218"/>
                    </a:lnTo>
                    <a:lnTo>
                      <a:pt x="2362" y="2162"/>
                    </a:lnTo>
                    <a:lnTo>
                      <a:pt x="2455" y="2098"/>
                    </a:lnTo>
                    <a:lnTo>
                      <a:pt x="2540" y="2028"/>
                    </a:lnTo>
                    <a:lnTo>
                      <a:pt x="2617" y="1951"/>
                    </a:lnTo>
                    <a:lnTo>
                      <a:pt x="2687" y="1866"/>
                    </a:lnTo>
                    <a:lnTo>
                      <a:pt x="2751" y="1773"/>
                    </a:lnTo>
                    <a:lnTo>
                      <a:pt x="2807" y="1675"/>
                    </a:lnTo>
                    <a:lnTo>
                      <a:pt x="2855" y="1569"/>
                    </a:lnTo>
                    <a:lnTo>
                      <a:pt x="2896" y="1453"/>
                    </a:lnTo>
                    <a:lnTo>
                      <a:pt x="2983" y="1167"/>
                    </a:lnTo>
                    <a:lnTo>
                      <a:pt x="3064" y="881"/>
                    </a:lnTo>
                    <a:lnTo>
                      <a:pt x="3085" y="805"/>
                    </a:lnTo>
                    <a:lnTo>
                      <a:pt x="3108" y="732"/>
                    </a:lnTo>
                    <a:lnTo>
                      <a:pt x="3135" y="661"/>
                    </a:lnTo>
                    <a:lnTo>
                      <a:pt x="3170" y="591"/>
                    </a:lnTo>
                    <a:lnTo>
                      <a:pt x="3226" y="502"/>
                    </a:lnTo>
                    <a:lnTo>
                      <a:pt x="3290" y="423"/>
                    </a:lnTo>
                    <a:lnTo>
                      <a:pt x="3358" y="351"/>
                    </a:lnTo>
                    <a:lnTo>
                      <a:pt x="3431" y="288"/>
                    </a:lnTo>
                    <a:lnTo>
                      <a:pt x="3510" y="234"/>
                    </a:lnTo>
                    <a:lnTo>
                      <a:pt x="3595" y="187"/>
                    </a:lnTo>
                    <a:lnTo>
                      <a:pt x="3688" y="151"/>
                    </a:lnTo>
                    <a:lnTo>
                      <a:pt x="3785" y="122"/>
                    </a:lnTo>
                    <a:lnTo>
                      <a:pt x="3887" y="102"/>
                    </a:lnTo>
                    <a:lnTo>
                      <a:pt x="4003" y="91"/>
                    </a:lnTo>
                    <a:lnTo>
                      <a:pt x="4119" y="85"/>
                    </a:lnTo>
                    <a:lnTo>
                      <a:pt x="4235" y="79"/>
                    </a:lnTo>
                    <a:lnTo>
                      <a:pt x="4923" y="35"/>
                    </a:lnTo>
                    <a:lnTo>
                      <a:pt x="5498" y="0"/>
                    </a:lnTo>
                    <a:lnTo>
                      <a:pt x="5515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BE6F8E9-24BA-47B8-9CCD-E18AD0A4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" y="-1283"/>
                <a:ext cx="4960" cy="1437"/>
              </a:xfrm>
              <a:custGeom>
                <a:avLst/>
                <a:gdLst>
                  <a:gd name="T0" fmla="*/ 4896 w 4960"/>
                  <a:gd name="T1" fmla="*/ 0 h 1437"/>
                  <a:gd name="T2" fmla="*/ 4960 w 4960"/>
                  <a:gd name="T3" fmla="*/ 0 h 1437"/>
                  <a:gd name="T4" fmla="*/ 4935 w 4960"/>
                  <a:gd name="T5" fmla="*/ 46 h 1437"/>
                  <a:gd name="T6" fmla="*/ 4912 w 4960"/>
                  <a:gd name="T7" fmla="*/ 89 h 1437"/>
                  <a:gd name="T8" fmla="*/ 4892 w 4960"/>
                  <a:gd name="T9" fmla="*/ 131 h 1437"/>
                  <a:gd name="T10" fmla="*/ 4879 w 4960"/>
                  <a:gd name="T11" fmla="*/ 162 h 1437"/>
                  <a:gd name="T12" fmla="*/ 4860 w 4960"/>
                  <a:gd name="T13" fmla="*/ 181 h 1437"/>
                  <a:gd name="T14" fmla="*/ 4838 w 4960"/>
                  <a:gd name="T15" fmla="*/ 195 h 1437"/>
                  <a:gd name="T16" fmla="*/ 4809 w 4960"/>
                  <a:gd name="T17" fmla="*/ 201 h 1437"/>
                  <a:gd name="T18" fmla="*/ 4776 w 4960"/>
                  <a:gd name="T19" fmla="*/ 203 h 1437"/>
                  <a:gd name="T20" fmla="*/ 4287 w 4960"/>
                  <a:gd name="T21" fmla="*/ 201 h 1437"/>
                  <a:gd name="T22" fmla="*/ 3798 w 4960"/>
                  <a:gd name="T23" fmla="*/ 203 h 1437"/>
                  <a:gd name="T24" fmla="*/ 3590 w 4960"/>
                  <a:gd name="T25" fmla="*/ 207 h 1437"/>
                  <a:gd name="T26" fmla="*/ 3381 w 4960"/>
                  <a:gd name="T27" fmla="*/ 216 h 1437"/>
                  <a:gd name="T28" fmla="*/ 3172 w 4960"/>
                  <a:gd name="T29" fmla="*/ 234 h 1437"/>
                  <a:gd name="T30" fmla="*/ 2965 w 4960"/>
                  <a:gd name="T31" fmla="*/ 261 h 1437"/>
                  <a:gd name="T32" fmla="*/ 2826 w 4960"/>
                  <a:gd name="T33" fmla="*/ 284 h 1437"/>
                  <a:gd name="T34" fmla="*/ 2689 w 4960"/>
                  <a:gd name="T35" fmla="*/ 313 h 1437"/>
                  <a:gd name="T36" fmla="*/ 2554 w 4960"/>
                  <a:gd name="T37" fmla="*/ 350 h 1437"/>
                  <a:gd name="T38" fmla="*/ 2420 w 4960"/>
                  <a:gd name="T39" fmla="*/ 394 h 1437"/>
                  <a:gd name="T40" fmla="*/ 2289 w 4960"/>
                  <a:gd name="T41" fmla="*/ 446 h 1437"/>
                  <a:gd name="T42" fmla="*/ 2161 w 4960"/>
                  <a:gd name="T43" fmla="*/ 508 h 1437"/>
                  <a:gd name="T44" fmla="*/ 2047 w 4960"/>
                  <a:gd name="T45" fmla="*/ 576 h 1437"/>
                  <a:gd name="T46" fmla="*/ 1941 w 4960"/>
                  <a:gd name="T47" fmla="*/ 651 h 1437"/>
                  <a:gd name="T48" fmla="*/ 1840 w 4960"/>
                  <a:gd name="T49" fmla="*/ 734 h 1437"/>
                  <a:gd name="T50" fmla="*/ 1746 w 4960"/>
                  <a:gd name="T51" fmla="*/ 823 h 1437"/>
                  <a:gd name="T52" fmla="*/ 1660 w 4960"/>
                  <a:gd name="T53" fmla="*/ 921 h 1437"/>
                  <a:gd name="T54" fmla="*/ 1579 w 4960"/>
                  <a:gd name="T55" fmla="*/ 1026 h 1437"/>
                  <a:gd name="T56" fmla="*/ 1496 w 4960"/>
                  <a:gd name="T57" fmla="*/ 1151 h 1437"/>
                  <a:gd name="T58" fmla="*/ 1417 w 4960"/>
                  <a:gd name="T59" fmla="*/ 1281 h 1437"/>
                  <a:gd name="T60" fmla="*/ 1338 w 4960"/>
                  <a:gd name="T61" fmla="*/ 1410 h 1437"/>
                  <a:gd name="T62" fmla="*/ 1326 w 4960"/>
                  <a:gd name="T63" fmla="*/ 1426 h 1437"/>
                  <a:gd name="T64" fmla="*/ 1313 w 4960"/>
                  <a:gd name="T65" fmla="*/ 1433 h 1437"/>
                  <a:gd name="T66" fmla="*/ 1295 w 4960"/>
                  <a:gd name="T67" fmla="*/ 1437 h 1437"/>
                  <a:gd name="T68" fmla="*/ 37 w 4960"/>
                  <a:gd name="T69" fmla="*/ 1437 h 1437"/>
                  <a:gd name="T70" fmla="*/ 21 w 4960"/>
                  <a:gd name="T71" fmla="*/ 1435 h 1437"/>
                  <a:gd name="T72" fmla="*/ 0 w 4960"/>
                  <a:gd name="T73" fmla="*/ 1435 h 1437"/>
                  <a:gd name="T74" fmla="*/ 64 w 4960"/>
                  <a:gd name="T75" fmla="*/ 1310 h 1437"/>
                  <a:gd name="T76" fmla="*/ 126 w 4960"/>
                  <a:gd name="T77" fmla="*/ 1186 h 1437"/>
                  <a:gd name="T78" fmla="*/ 186 w 4960"/>
                  <a:gd name="T79" fmla="*/ 1061 h 1437"/>
                  <a:gd name="T80" fmla="*/ 247 w 4960"/>
                  <a:gd name="T81" fmla="*/ 937 h 1437"/>
                  <a:gd name="T82" fmla="*/ 315 w 4960"/>
                  <a:gd name="T83" fmla="*/ 817 h 1437"/>
                  <a:gd name="T84" fmla="*/ 389 w 4960"/>
                  <a:gd name="T85" fmla="*/ 701 h 1437"/>
                  <a:gd name="T86" fmla="*/ 458 w 4960"/>
                  <a:gd name="T87" fmla="*/ 607 h 1437"/>
                  <a:gd name="T88" fmla="*/ 533 w 4960"/>
                  <a:gd name="T89" fmla="*/ 520 h 1437"/>
                  <a:gd name="T90" fmla="*/ 615 w 4960"/>
                  <a:gd name="T91" fmla="*/ 440 h 1437"/>
                  <a:gd name="T92" fmla="*/ 700 w 4960"/>
                  <a:gd name="T93" fmla="*/ 367 h 1437"/>
                  <a:gd name="T94" fmla="*/ 791 w 4960"/>
                  <a:gd name="T95" fmla="*/ 301 h 1437"/>
                  <a:gd name="T96" fmla="*/ 887 w 4960"/>
                  <a:gd name="T97" fmla="*/ 243 h 1437"/>
                  <a:gd name="T98" fmla="*/ 990 w 4960"/>
                  <a:gd name="T99" fmla="*/ 191 h 1437"/>
                  <a:gd name="T100" fmla="*/ 1096 w 4960"/>
                  <a:gd name="T101" fmla="*/ 147 h 1437"/>
                  <a:gd name="T102" fmla="*/ 1206 w 4960"/>
                  <a:gd name="T103" fmla="*/ 108 h 1437"/>
                  <a:gd name="T104" fmla="*/ 1351 w 4960"/>
                  <a:gd name="T105" fmla="*/ 69 h 1437"/>
                  <a:gd name="T106" fmla="*/ 1496 w 4960"/>
                  <a:gd name="T107" fmla="*/ 40 h 1437"/>
                  <a:gd name="T108" fmla="*/ 1645 w 4960"/>
                  <a:gd name="T109" fmla="*/ 21 h 1437"/>
                  <a:gd name="T110" fmla="*/ 1794 w 4960"/>
                  <a:gd name="T111" fmla="*/ 10 h 1437"/>
                  <a:gd name="T112" fmla="*/ 1954 w 4960"/>
                  <a:gd name="T113" fmla="*/ 4 h 1437"/>
                  <a:gd name="T114" fmla="*/ 2117 w 4960"/>
                  <a:gd name="T115" fmla="*/ 2 h 1437"/>
                  <a:gd name="T116" fmla="*/ 4896 w 4960"/>
                  <a:gd name="T117" fmla="*/ 0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60" h="1437">
                    <a:moveTo>
                      <a:pt x="4896" y="0"/>
                    </a:moveTo>
                    <a:lnTo>
                      <a:pt x="4960" y="0"/>
                    </a:lnTo>
                    <a:lnTo>
                      <a:pt x="4935" y="46"/>
                    </a:lnTo>
                    <a:lnTo>
                      <a:pt x="4912" y="89"/>
                    </a:lnTo>
                    <a:lnTo>
                      <a:pt x="4892" y="131"/>
                    </a:lnTo>
                    <a:lnTo>
                      <a:pt x="4879" y="162"/>
                    </a:lnTo>
                    <a:lnTo>
                      <a:pt x="4860" y="181"/>
                    </a:lnTo>
                    <a:lnTo>
                      <a:pt x="4838" y="195"/>
                    </a:lnTo>
                    <a:lnTo>
                      <a:pt x="4809" y="201"/>
                    </a:lnTo>
                    <a:lnTo>
                      <a:pt x="4776" y="203"/>
                    </a:lnTo>
                    <a:lnTo>
                      <a:pt x="4287" y="201"/>
                    </a:lnTo>
                    <a:lnTo>
                      <a:pt x="3798" y="203"/>
                    </a:lnTo>
                    <a:lnTo>
                      <a:pt x="3590" y="207"/>
                    </a:lnTo>
                    <a:lnTo>
                      <a:pt x="3381" y="216"/>
                    </a:lnTo>
                    <a:lnTo>
                      <a:pt x="3172" y="234"/>
                    </a:lnTo>
                    <a:lnTo>
                      <a:pt x="2965" y="261"/>
                    </a:lnTo>
                    <a:lnTo>
                      <a:pt x="2826" y="284"/>
                    </a:lnTo>
                    <a:lnTo>
                      <a:pt x="2689" y="313"/>
                    </a:lnTo>
                    <a:lnTo>
                      <a:pt x="2554" y="350"/>
                    </a:lnTo>
                    <a:lnTo>
                      <a:pt x="2420" y="394"/>
                    </a:lnTo>
                    <a:lnTo>
                      <a:pt x="2289" y="446"/>
                    </a:lnTo>
                    <a:lnTo>
                      <a:pt x="2161" y="508"/>
                    </a:lnTo>
                    <a:lnTo>
                      <a:pt x="2047" y="576"/>
                    </a:lnTo>
                    <a:lnTo>
                      <a:pt x="1941" y="651"/>
                    </a:lnTo>
                    <a:lnTo>
                      <a:pt x="1840" y="734"/>
                    </a:lnTo>
                    <a:lnTo>
                      <a:pt x="1746" y="823"/>
                    </a:lnTo>
                    <a:lnTo>
                      <a:pt x="1660" y="921"/>
                    </a:lnTo>
                    <a:lnTo>
                      <a:pt x="1579" y="1026"/>
                    </a:lnTo>
                    <a:lnTo>
                      <a:pt x="1496" y="1151"/>
                    </a:lnTo>
                    <a:lnTo>
                      <a:pt x="1417" y="1281"/>
                    </a:lnTo>
                    <a:lnTo>
                      <a:pt x="1338" y="1410"/>
                    </a:lnTo>
                    <a:lnTo>
                      <a:pt x="1326" y="1426"/>
                    </a:lnTo>
                    <a:lnTo>
                      <a:pt x="1313" y="1433"/>
                    </a:lnTo>
                    <a:lnTo>
                      <a:pt x="1295" y="1437"/>
                    </a:lnTo>
                    <a:lnTo>
                      <a:pt x="37" y="1437"/>
                    </a:lnTo>
                    <a:lnTo>
                      <a:pt x="21" y="1435"/>
                    </a:lnTo>
                    <a:lnTo>
                      <a:pt x="0" y="1435"/>
                    </a:lnTo>
                    <a:lnTo>
                      <a:pt x="64" y="1310"/>
                    </a:lnTo>
                    <a:lnTo>
                      <a:pt x="126" y="1186"/>
                    </a:lnTo>
                    <a:lnTo>
                      <a:pt x="186" y="1061"/>
                    </a:lnTo>
                    <a:lnTo>
                      <a:pt x="247" y="937"/>
                    </a:lnTo>
                    <a:lnTo>
                      <a:pt x="315" y="817"/>
                    </a:lnTo>
                    <a:lnTo>
                      <a:pt x="389" y="701"/>
                    </a:lnTo>
                    <a:lnTo>
                      <a:pt x="458" y="607"/>
                    </a:lnTo>
                    <a:lnTo>
                      <a:pt x="533" y="520"/>
                    </a:lnTo>
                    <a:lnTo>
                      <a:pt x="615" y="440"/>
                    </a:lnTo>
                    <a:lnTo>
                      <a:pt x="700" y="367"/>
                    </a:lnTo>
                    <a:lnTo>
                      <a:pt x="791" y="301"/>
                    </a:lnTo>
                    <a:lnTo>
                      <a:pt x="887" y="243"/>
                    </a:lnTo>
                    <a:lnTo>
                      <a:pt x="990" y="191"/>
                    </a:lnTo>
                    <a:lnTo>
                      <a:pt x="1096" y="147"/>
                    </a:lnTo>
                    <a:lnTo>
                      <a:pt x="1206" y="108"/>
                    </a:lnTo>
                    <a:lnTo>
                      <a:pt x="1351" y="69"/>
                    </a:lnTo>
                    <a:lnTo>
                      <a:pt x="1496" y="40"/>
                    </a:lnTo>
                    <a:lnTo>
                      <a:pt x="1645" y="21"/>
                    </a:lnTo>
                    <a:lnTo>
                      <a:pt x="1794" y="10"/>
                    </a:lnTo>
                    <a:lnTo>
                      <a:pt x="1954" y="4"/>
                    </a:lnTo>
                    <a:lnTo>
                      <a:pt x="2117" y="2"/>
                    </a:lnTo>
                    <a:lnTo>
                      <a:pt x="4896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61144228-6360-4B55-95F5-F9B22AED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5" y="643"/>
                <a:ext cx="2316" cy="1988"/>
              </a:xfrm>
              <a:custGeom>
                <a:avLst/>
                <a:gdLst>
                  <a:gd name="T0" fmla="*/ 2297 w 2316"/>
                  <a:gd name="T1" fmla="*/ 0 h 1988"/>
                  <a:gd name="T2" fmla="*/ 2316 w 2316"/>
                  <a:gd name="T3" fmla="*/ 0 h 1988"/>
                  <a:gd name="T4" fmla="*/ 2250 w 2316"/>
                  <a:gd name="T5" fmla="*/ 124 h 1988"/>
                  <a:gd name="T6" fmla="*/ 2185 w 2316"/>
                  <a:gd name="T7" fmla="*/ 245 h 1988"/>
                  <a:gd name="T8" fmla="*/ 2038 w 2316"/>
                  <a:gd name="T9" fmla="*/ 510 h 1988"/>
                  <a:gd name="T10" fmla="*/ 1885 w 2316"/>
                  <a:gd name="T11" fmla="*/ 771 h 1988"/>
                  <a:gd name="T12" fmla="*/ 1726 w 2316"/>
                  <a:gd name="T13" fmla="*/ 1028 h 1988"/>
                  <a:gd name="T14" fmla="*/ 1560 w 2316"/>
                  <a:gd name="T15" fmla="*/ 1281 h 1988"/>
                  <a:gd name="T16" fmla="*/ 1496 w 2316"/>
                  <a:gd name="T17" fmla="*/ 1368 h 1988"/>
                  <a:gd name="T18" fmla="*/ 1431 w 2316"/>
                  <a:gd name="T19" fmla="*/ 1455 h 1988"/>
                  <a:gd name="T20" fmla="*/ 1361 w 2316"/>
                  <a:gd name="T21" fmla="*/ 1536 h 1988"/>
                  <a:gd name="T22" fmla="*/ 1286 w 2316"/>
                  <a:gd name="T23" fmla="*/ 1613 h 1988"/>
                  <a:gd name="T24" fmla="*/ 1205 w 2316"/>
                  <a:gd name="T25" fmla="*/ 1685 h 1988"/>
                  <a:gd name="T26" fmla="*/ 1118 w 2316"/>
                  <a:gd name="T27" fmla="*/ 1751 h 1988"/>
                  <a:gd name="T28" fmla="*/ 1036 w 2316"/>
                  <a:gd name="T29" fmla="*/ 1803 h 1988"/>
                  <a:gd name="T30" fmla="*/ 951 w 2316"/>
                  <a:gd name="T31" fmla="*/ 1847 h 1988"/>
                  <a:gd name="T32" fmla="*/ 864 w 2316"/>
                  <a:gd name="T33" fmla="*/ 1884 h 1988"/>
                  <a:gd name="T34" fmla="*/ 773 w 2316"/>
                  <a:gd name="T35" fmla="*/ 1913 h 1988"/>
                  <a:gd name="T36" fmla="*/ 683 w 2316"/>
                  <a:gd name="T37" fmla="*/ 1936 h 1988"/>
                  <a:gd name="T38" fmla="*/ 586 w 2316"/>
                  <a:gd name="T39" fmla="*/ 1953 h 1988"/>
                  <a:gd name="T40" fmla="*/ 449 w 2316"/>
                  <a:gd name="T41" fmla="*/ 1971 h 1988"/>
                  <a:gd name="T42" fmla="*/ 311 w 2316"/>
                  <a:gd name="T43" fmla="*/ 1980 h 1988"/>
                  <a:gd name="T44" fmla="*/ 172 w 2316"/>
                  <a:gd name="T45" fmla="*/ 1986 h 1988"/>
                  <a:gd name="T46" fmla="*/ 33 w 2316"/>
                  <a:gd name="T47" fmla="*/ 1988 h 1988"/>
                  <a:gd name="T48" fmla="*/ 18 w 2316"/>
                  <a:gd name="T49" fmla="*/ 1988 h 1988"/>
                  <a:gd name="T50" fmla="*/ 0 w 2316"/>
                  <a:gd name="T51" fmla="*/ 1988 h 1988"/>
                  <a:gd name="T52" fmla="*/ 8 w 2316"/>
                  <a:gd name="T53" fmla="*/ 1969 h 1988"/>
                  <a:gd name="T54" fmla="*/ 14 w 2316"/>
                  <a:gd name="T55" fmla="*/ 1955 h 1988"/>
                  <a:gd name="T56" fmla="*/ 916 w 2316"/>
                  <a:gd name="T57" fmla="*/ 168 h 1988"/>
                  <a:gd name="T58" fmla="*/ 928 w 2316"/>
                  <a:gd name="T59" fmla="*/ 149 h 1988"/>
                  <a:gd name="T60" fmla="*/ 945 w 2316"/>
                  <a:gd name="T61" fmla="*/ 137 h 1988"/>
                  <a:gd name="T62" fmla="*/ 967 w 2316"/>
                  <a:gd name="T63" fmla="*/ 133 h 1988"/>
                  <a:gd name="T64" fmla="*/ 1753 w 2316"/>
                  <a:gd name="T65" fmla="*/ 54 h 1988"/>
                  <a:gd name="T66" fmla="*/ 2281 w 2316"/>
                  <a:gd name="T67" fmla="*/ 0 h 1988"/>
                  <a:gd name="T68" fmla="*/ 2297 w 2316"/>
                  <a:gd name="T69" fmla="*/ 0 h 1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16" h="1988">
                    <a:moveTo>
                      <a:pt x="2297" y="0"/>
                    </a:moveTo>
                    <a:lnTo>
                      <a:pt x="2316" y="0"/>
                    </a:lnTo>
                    <a:lnTo>
                      <a:pt x="2250" y="124"/>
                    </a:lnTo>
                    <a:lnTo>
                      <a:pt x="2185" y="245"/>
                    </a:lnTo>
                    <a:lnTo>
                      <a:pt x="2038" y="510"/>
                    </a:lnTo>
                    <a:lnTo>
                      <a:pt x="1885" y="771"/>
                    </a:lnTo>
                    <a:lnTo>
                      <a:pt x="1726" y="1028"/>
                    </a:lnTo>
                    <a:lnTo>
                      <a:pt x="1560" y="1281"/>
                    </a:lnTo>
                    <a:lnTo>
                      <a:pt x="1496" y="1368"/>
                    </a:lnTo>
                    <a:lnTo>
                      <a:pt x="1431" y="1455"/>
                    </a:lnTo>
                    <a:lnTo>
                      <a:pt x="1361" y="1536"/>
                    </a:lnTo>
                    <a:lnTo>
                      <a:pt x="1286" y="1613"/>
                    </a:lnTo>
                    <a:lnTo>
                      <a:pt x="1205" y="1685"/>
                    </a:lnTo>
                    <a:lnTo>
                      <a:pt x="1118" y="1751"/>
                    </a:lnTo>
                    <a:lnTo>
                      <a:pt x="1036" y="1803"/>
                    </a:lnTo>
                    <a:lnTo>
                      <a:pt x="951" y="1847"/>
                    </a:lnTo>
                    <a:lnTo>
                      <a:pt x="864" y="1884"/>
                    </a:lnTo>
                    <a:lnTo>
                      <a:pt x="773" y="1913"/>
                    </a:lnTo>
                    <a:lnTo>
                      <a:pt x="683" y="1936"/>
                    </a:lnTo>
                    <a:lnTo>
                      <a:pt x="586" y="1953"/>
                    </a:lnTo>
                    <a:lnTo>
                      <a:pt x="449" y="1971"/>
                    </a:lnTo>
                    <a:lnTo>
                      <a:pt x="311" y="1980"/>
                    </a:lnTo>
                    <a:lnTo>
                      <a:pt x="172" y="1986"/>
                    </a:lnTo>
                    <a:lnTo>
                      <a:pt x="33" y="1988"/>
                    </a:lnTo>
                    <a:lnTo>
                      <a:pt x="18" y="1988"/>
                    </a:lnTo>
                    <a:lnTo>
                      <a:pt x="0" y="1988"/>
                    </a:lnTo>
                    <a:lnTo>
                      <a:pt x="8" y="1969"/>
                    </a:lnTo>
                    <a:lnTo>
                      <a:pt x="14" y="1955"/>
                    </a:lnTo>
                    <a:lnTo>
                      <a:pt x="916" y="168"/>
                    </a:lnTo>
                    <a:lnTo>
                      <a:pt x="928" y="149"/>
                    </a:lnTo>
                    <a:lnTo>
                      <a:pt x="945" y="137"/>
                    </a:lnTo>
                    <a:lnTo>
                      <a:pt x="967" y="133"/>
                    </a:lnTo>
                    <a:lnTo>
                      <a:pt x="1753" y="54"/>
                    </a:lnTo>
                    <a:lnTo>
                      <a:pt x="2281" y="0"/>
                    </a:lnTo>
                    <a:lnTo>
                      <a:pt x="2297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88DFCB77-4787-41C9-BEEE-C96E24C9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" y="-875"/>
                <a:ext cx="2472" cy="1029"/>
              </a:xfrm>
              <a:custGeom>
                <a:avLst/>
                <a:gdLst>
                  <a:gd name="T0" fmla="*/ 2451 w 2472"/>
                  <a:gd name="T1" fmla="*/ 0 h 1029"/>
                  <a:gd name="T2" fmla="*/ 2472 w 2472"/>
                  <a:gd name="T3" fmla="*/ 0 h 1029"/>
                  <a:gd name="T4" fmla="*/ 2426 w 2472"/>
                  <a:gd name="T5" fmla="*/ 94 h 1029"/>
                  <a:gd name="T6" fmla="*/ 2379 w 2472"/>
                  <a:gd name="T7" fmla="*/ 185 h 1029"/>
                  <a:gd name="T8" fmla="*/ 1977 w 2472"/>
                  <a:gd name="T9" fmla="*/ 1004 h 1029"/>
                  <a:gd name="T10" fmla="*/ 1967 w 2472"/>
                  <a:gd name="T11" fmla="*/ 1018 h 1029"/>
                  <a:gd name="T12" fmla="*/ 1956 w 2472"/>
                  <a:gd name="T13" fmla="*/ 1027 h 1029"/>
                  <a:gd name="T14" fmla="*/ 1937 w 2472"/>
                  <a:gd name="T15" fmla="*/ 1029 h 1029"/>
                  <a:gd name="T16" fmla="*/ 23 w 2472"/>
                  <a:gd name="T17" fmla="*/ 1029 h 1029"/>
                  <a:gd name="T18" fmla="*/ 17 w 2472"/>
                  <a:gd name="T19" fmla="*/ 1027 h 1029"/>
                  <a:gd name="T20" fmla="*/ 9 w 2472"/>
                  <a:gd name="T21" fmla="*/ 1027 h 1029"/>
                  <a:gd name="T22" fmla="*/ 0 w 2472"/>
                  <a:gd name="T23" fmla="*/ 1027 h 1029"/>
                  <a:gd name="T24" fmla="*/ 48 w 2472"/>
                  <a:gd name="T25" fmla="*/ 938 h 1029"/>
                  <a:gd name="T26" fmla="*/ 100 w 2472"/>
                  <a:gd name="T27" fmla="*/ 852 h 1029"/>
                  <a:gd name="T28" fmla="*/ 152 w 2472"/>
                  <a:gd name="T29" fmla="*/ 767 h 1029"/>
                  <a:gd name="T30" fmla="*/ 210 w 2472"/>
                  <a:gd name="T31" fmla="*/ 683 h 1029"/>
                  <a:gd name="T32" fmla="*/ 270 w 2472"/>
                  <a:gd name="T33" fmla="*/ 606 h 1029"/>
                  <a:gd name="T34" fmla="*/ 334 w 2472"/>
                  <a:gd name="T35" fmla="*/ 531 h 1029"/>
                  <a:gd name="T36" fmla="*/ 404 w 2472"/>
                  <a:gd name="T37" fmla="*/ 461 h 1029"/>
                  <a:gd name="T38" fmla="*/ 479 w 2472"/>
                  <a:gd name="T39" fmla="*/ 396 h 1029"/>
                  <a:gd name="T40" fmla="*/ 560 w 2472"/>
                  <a:gd name="T41" fmla="*/ 336 h 1029"/>
                  <a:gd name="T42" fmla="*/ 647 w 2472"/>
                  <a:gd name="T43" fmla="*/ 284 h 1029"/>
                  <a:gd name="T44" fmla="*/ 744 w 2472"/>
                  <a:gd name="T45" fmla="*/ 235 h 1029"/>
                  <a:gd name="T46" fmla="*/ 842 w 2472"/>
                  <a:gd name="T47" fmla="*/ 195 h 1029"/>
                  <a:gd name="T48" fmla="*/ 941 w 2472"/>
                  <a:gd name="T49" fmla="*/ 162 h 1029"/>
                  <a:gd name="T50" fmla="*/ 1043 w 2472"/>
                  <a:gd name="T51" fmla="*/ 133 h 1029"/>
                  <a:gd name="T52" fmla="*/ 1148 w 2472"/>
                  <a:gd name="T53" fmla="*/ 108 h 1029"/>
                  <a:gd name="T54" fmla="*/ 1320 w 2472"/>
                  <a:gd name="T55" fmla="*/ 75 h 1029"/>
                  <a:gd name="T56" fmla="*/ 1492 w 2472"/>
                  <a:gd name="T57" fmla="*/ 50 h 1029"/>
                  <a:gd name="T58" fmla="*/ 1666 w 2472"/>
                  <a:gd name="T59" fmla="*/ 32 h 1029"/>
                  <a:gd name="T60" fmla="*/ 1842 w 2472"/>
                  <a:gd name="T61" fmla="*/ 21 h 1029"/>
                  <a:gd name="T62" fmla="*/ 2138 w 2472"/>
                  <a:gd name="T63" fmla="*/ 9 h 1029"/>
                  <a:gd name="T64" fmla="*/ 2433 w 2472"/>
                  <a:gd name="T65" fmla="*/ 0 h 1029"/>
                  <a:gd name="T66" fmla="*/ 2451 w 2472"/>
                  <a:gd name="T67" fmla="*/ 0 h 10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72" h="1029">
                    <a:moveTo>
                      <a:pt x="2451" y="0"/>
                    </a:moveTo>
                    <a:lnTo>
                      <a:pt x="2472" y="0"/>
                    </a:lnTo>
                    <a:lnTo>
                      <a:pt x="2426" y="94"/>
                    </a:lnTo>
                    <a:lnTo>
                      <a:pt x="2379" y="185"/>
                    </a:lnTo>
                    <a:lnTo>
                      <a:pt x="1977" y="1004"/>
                    </a:lnTo>
                    <a:lnTo>
                      <a:pt x="1967" y="1018"/>
                    </a:lnTo>
                    <a:lnTo>
                      <a:pt x="1956" y="1027"/>
                    </a:lnTo>
                    <a:lnTo>
                      <a:pt x="1937" y="1029"/>
                    </a:lnTo>
                    <a:lnTo>
                      <a:pt x="23" y="1029"/>
                    </a:lnTo>
                    <a:lnTo>
                      <a:pt x="17" y="1027"/>
                    </a:lnTo>
                    <a:lnTo>
                      <a:pt x="9" y="1027"/>
                    </a:lnTo>
                    <a:lnTo>
                      <a:pt x="0" y="1027"/>
                    </a:lnTo>
                    <a:lnTo>
                      <a:pt x="48" y="938"/>
                    </a:lnTo>
                    <a:lnTo>
                      <a:pt x="100" y="852"/>
                    </a:lnTo>
                    <a:lnTo>
                      <a:pt x="152" y="767"/>
                    </a:lnTo>
                    <a:lnTo>
                      <a:pt x="210" y="683"/>
                    </a:lnTo>
                    <a:lnTo>
                      <a:pt x="270" y="606"/>
                    </a:lnTo>
                    <a:lnTo>
                      <a:pt x="334" y="531"/>
                    </a:lnTo>
                    <a:lnTo>
                      <a:pt x="404" y="461"/>
                    </a:lnTo>
                    <a:lnTo>
                      <a:pt x="479" y="396"/>
                    </a:lnTo>
                    <a:lnTo>
                      <a:pt x="560" y="336"/>
                    </a:lnTo>
                    <a:lnTo>
                      <a:pt x="647" y="284"/>
                    </a:lnTo>
                    <a:lnTo>
                      <a:pt x="744" y="235"/>
                    </a:lnTo>
                    <a:lnTo>
                      <a:pt x="842" y="195"/>
                    </a:lnTo>
                    <a:lnTo>
                      <a:pt x="941" y="162"/>
                    </a:lnTo>
                    <a:lnTo>
                      <a:pt x="1043" y="133"/>
                    </a:lnTo>
                    <a:lnTo>
                      <a:pt x="1148" y="108"/>
                    </a:lnTo>
                    <a:lnTo>
                      <a:pt x="1320" y="75"/>
                    </a:lnTo>
                    <a:lnTo>
                      <a:pt x="1492" y="50"/>
                    </a:lnTo>
                    <a:lnTo>
                      <a:pt x="1666" y="32"/>
                    </a:lnTo>
                    <a:lnTo>
                      <a:pt x="1842" y="21"/>
                    </a:lnTo>
                    <a:lnTo>
                      <a:pt x="2138" y="9"/>
                    </a:lnTo>
                    <a:lnTo>
                      <a:pt x="2433" y="0"/>
                    </a:lnTo>
                    <a:lnTo>
                      <a:pt x="2451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</p:grpSp>
      </p:grpSp>
      <p:sp>
        <p:nvSpPr>
          <p:cNvPr id="17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2pt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197E883-74D9-DD49-9664-52FC49ABA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520825"/>
            <a:ext cx="11176000" cy="42846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 dirty="0"/>
              <a:t>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 dirty="0">
              <a:solidFill>
                <a:schemeClr val="tx2"/>
              </a:solidFill>
            </a:endParaRPr>
          </a:p>
        </p:txBody>
      </p:sp>
      <p:sp>
        <p:nvSpPr>
          <p:cNvPr id="3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it-IT" dirty="0"/>
          </a:p>
        </p:txBody>
      </p:sp>
      <p:sp>
        <p:nvSpPr>
          <p:cNvPr id="3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en-GB" dirty="0"/>
          </a:p>
        </p:txBody>
      </p:sp>
      <p:pic>
        <p:nvPicPr>
          <p:cNvPr id="41" name="Immagine 4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636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SSO1_COPY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0" dirty="0"/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8170" y="0"/>
            <a:ext cx="472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6074" y="90427"/>
            <a:ext cx="346160" cy="234428"/>
            <a:chOff x="-560" y="-1287"/>
            <a:chExt cx="6379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 dirty="0">
              <a:solidFill>
                <a:schemeClr val="tx2"/>
              </a:solidFill>
            </a:endParaRP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0"/>
            <a:ext cx="11176000" cy="490378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 dirty="0"/>
              <a:t>Inserire il testo</a:t>
            </a:r>
          </a:p>
        </p:txBody>
      </p:sp>
      <p:sp>
        <p:nvSpPr>
          <p:cNvPr id="1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it-IT" dirty="0"/>
          </a:p>
        </p:txBody>
      </p:sp>
      <p:sp>
        <p:nvSpPr>
          <p:cNvPr id="1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dirty="0" err="1"/>
              <a:t>Titolo</a:t>
            </a:r>
            <a:r>
              <a:rPr lang="en-GB" dirty="0"/>
              <a:t> </a:t>
            </a:r>
            <a:r>
              <a:rPr lang="en-GB" dirty="0" err="1"/>
              <a:t>presentazione</a:t>
            </a:r>
            <a:r>
              <a:rPr lang="en-GB" dirty="0"/>
              <a:t>   I   Nome </a:t>
            </a:r>
            <a:r>
              <a:rPr lang="en-GB" dirty="0" err="1"/>
              <a:t>relatore</a:t>
            </a:r>
            <a:endParaRPr lang="en-GB" dirty="0"/>
          </a:p>
        </p:txBody>
      </p:sp>
      <p:pic>
        <p:nvPicPr>
          <p:cNvPr id="31" name="Immagine 3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1972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9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8"/>
            <a:ext cx="11176620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55" indent="0">
              <a:buClr>
                <a:schemeClr val="tx2"/>
              </a:buClr>
              <a:buSzPct val="140000"/>
              <a:buFontTx/>
              <a:buNone/>
              <a:defRPr sz="1801"/>
            </a:lvl2pPr>
            <a:lvl3pPr marL="895384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76" indent="0">
              <a:buClr>
                <a:schemeClr val="tx2"/>
              </a:buClr>
              <a:buSzPct val="140000"/>
              <a:buFontTx/>
              <a:buNone/>
              <a:defRPr sz="1401"/>
            </a:lvl4pPr>
            <a:lvl5pPr marL="1795528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3" y="6414802"/>
            <a:ext cx="1210268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215"/>
            <a:r>
              <a:rPr lang="it-IT"/>
              <a:t>Formato data GG/MM/AAAA</a:t>
            </a: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62" y="6551995"/>
            <a:ext cx="84657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215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42085889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9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8"/>
            <a:ext cx="11176620" cy="4227513"/>
          </a:xfrm>
          <a:prstGeom prst="rect">
            <a:avLst/>
          </a:prstGeom>
        </p:spPr>
        <p:txBody>
          <a:bodyPr/>
          <a:lstStyle>
            <a:lvl1pPr marL="182571" indent="-182571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75" indent="-176221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1"/>
            </a:lvl2pPr>
            <a:lvl3pPr marL="1076365" indent="-180980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56" indent="-180980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1"/>
            </a:lvl4pPr>
            <a:lvl5pPr marL="1971747" indent="-176221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</p:spTree>
    <p:extLst>
      <p:ext uri="{BB962C8B-B14F-4D97-AF65-F5344CB8AC3E}">
        <p14:creationId xmlns:p14="http://schemas.microsoft.com/office/powerpoint/2010/main" val="36979176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200153"/>
            <a:ext cx="11176620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55" indent="0">
              <a:buClr>
                <a:schemeClr val="tx2"/>
              </a:buClr>
              <a:buSzPct val="140000"/>
              <a:buFontTx/>
              <a:buNone/>
              <a:defRPr sz="1801"/>
            </a:lvl2pPr>
            <a:lvl3pPr marL="895384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76" indent="0">
              <a:buClr>
                <a:schemeClr val="tx2"/>
              </a:buClr>
              <a:buSzPct val="140000"/>
              <a:buFontTx/>
              <a:buNone/>
              <a:defRPr sz="1401"/>
            </a:lvl4pPr>
            <a:lvl5pPr marL="1795528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</p:spTree>
    <p:extLst>
      <p:ext uri="{BB962C8B-B14F-4D97-AF65-F5344CB8AC3E}">
        <p14:creationId xmlns:p14="http://schemas.microsoft.com/office/powerpoint/2010/main" val="10078892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88" y="1521699"/>
            <a:ext cx="5688012" cy="4283789"/>
          </a:xfrm>
        </p:spPr>
        <p:txBody>
          <a:bodyPr/>
          <a:lstStyle/>
          <a:p>
            <a:pPr lvl="0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16233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0" y="19034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0" y="26520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0" y="29321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36807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0" y="39608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094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0" y="49895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822277863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9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3" y="6414802"/>
            <a:ext cx="1210268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215"/>
            <a:r>
              <a:rPr lang="it-IT"/>
              <a:t>Formato data GG/MM/AAAA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62" y="6551995"/>
            <a:ext cx="84657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215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55824366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9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8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1"/>
            </a:lvl1pPr>
            <a:lvl2pPr marL="452455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84" indent="0">
              <a:buClr>
                <a:schemeClr val="tx2"/>
              </a:buClr>
              <a:buSzPct val="140000"/>
              <a:buFontTx/>
              <a:buNone/>
              <a:defRPr sz="1401"/>
            </a:lvl3pPr>
            <a:lvl4pPr marL="1343076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528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3" y="6414802"/>
            <a:ext cx="1210268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215"/>
            <a:r>
              <a:rPr lang="it-IT"/>
              <a:t>Formato data GG/MM/AAAA</a:t>
            </a:r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62" y="6551995"/>
            <a:ext cx="84657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215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620904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9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6"/>
            <a:ext cx="11176620" cy="4203703"/>
          </a:xfrm>
          <a:prstGeom prst="rect">
            <a:avLst/>
          </a:prstGeom>
        </p:spPr>
        <p:txBody>
          <a:bodyPr/>
          <a:lstStyle>
            <a:lvl1pPr marL="182571" indent="-182571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1"/>
            </a:lvl1pPr>
            <a:lvl2pPr marL="628675" indent="-176221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365" indent="-180980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1"/>
            </a:lvl3pPr>
            <a:lvl4pPr marL="1524056" indent="-180980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747" indent="-176221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3" y="6414802"/>
            <a:ext cx="1210268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215"/>
            <a:r>
              <a:rPr lang="it-IT"/>
              <a:t>Formato data GG/MM/AAAA</a:t>
            </a:r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62" y="6551995"/>
            <a:ext cx="84657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215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6996974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73" y="1557337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1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9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2" y="1552575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3" y="6414802"/>
            <a:ext cx="1210268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215"/>
            <a:r>
              <a:rPr lang="it-IT"/>
              <a:t>Formato data GG/MM/AAAA</a:t>
            </a:r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62" y="6551995"/>
            <a:ext cx="84657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215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340038726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9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90" y="1521702"/>
            <a:ext cx="5688012" cy="4283789"/>
          </a:xfrm>
        </p:spPr>
        <p:txBody>
          <a:bodyPr/>
          <a:lstStyle/>
          <a:p>
            <a:pPr lvl="0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1623301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0" y="1903414"/>
            <a:ext cx="5030788" cy="598486"/>
          </a:xfrm>
        </p:spPr>
        <p:txBody>
          <a:bodyPr/>
          <a:lstStyle>
            <a:lvl1pPr>
              <a:defRPr sz="1401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0" y="2652001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0" y="2932114"/>
            <a:ext cx="5030788" cy="598486"/>
          </a:xfrm>
        </p:spPr>
        <p:txBody>
          <a:bodyPr/>
          <a:lstStyle>
            <a:lvl1pPr>
              <a:defRPr sz="1401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3680701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0" y="3960814"/>
            <a:ext cx="5030788" cy="598486"/>
          </a:xfrm>
        </p:spPr>
        <p:txBody>
          <a:bodyPr/>
          <a:lstStyle>
            <a:lvl1pPr>
              <a:defRPr sz="1401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09401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0" y="4989514"/>
            <a:ext cx="5030788" cy="598486"/>
          </a:xfrm>
        </p:spPr>
        <p:txBody>
          <a:bodyPr/>
          <a:lstStyle>
            <a:lvl1pPr>
              <a:defRPr sz="1401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3" y="6414802"/>
            <a:ext cx="1210268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215"/>
            <a:r>
              <a:rPr lang="it-IT"/>
              <a:t>Formato data GG/MM/AAAA</a:t>
            </a:r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62" y="6551995"/>
            <a:ext cx="84657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215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45055023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" y="0"/>
            <a:ext cx="11715749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633372011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magin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" y="0"/>
            <a:ext cx="11715749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  <p:sp>
        <p:nvSpPr>
          <p:cNvPr id="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4"/>
            <a:ext cx="11176000" cy="203199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220393499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4956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1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9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3" y="6414802"/>
            <a:ext cx="1210268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215"/>
            <a:r>
              <a:rPr lang="it-IT"/>
              <a:t>Formato data GG/MM/AAAA</a:t>
            </a:r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62" y="6551995"/>
            <a:ext cx="84657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215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619527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60352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1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1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3" y="6414802"/>
            <a:ext cx="1210268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215"/>
            <a:r>
              <a:rPr lang="it-IT"/>
              <a:t>Formato data GG/MM/AAAA</a:t>
            </a:r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62" y="6551995"/>
            <a:ext cx="84657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215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20580248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9" y="1388791"/>
            <a:ext cx="3623868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1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9" y="1955800"/>
            <a:ext cx="3623868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4" y="1388791"/>
            <a:ext cx="3623868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1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4" y="1955800"/>
            <a:ext cx="3623868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1"/>
            <a:ext cx="3623868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1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8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3" y="6414802"/>
            <a:ext cx="1210268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215"/>
            <a:r>
              <a:rPr lang="it-IT"/>
              <a:t>Formato data GG/MM/AAAA</a:t>
            </a: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62" y="6551995"/>
            <a:ext cx="84657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215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1042256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1887555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9" y="1388791"/>
            <a:ext cx="3623868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1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9" y="1955800"/>
            <a:ext cx="3623868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4" y="1388791"/>
            <a:ext cx="3623868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1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4" y="1955800"/>
            <a:ext cx="3623868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1"/>
            <a:ext cx="3623868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1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8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3" y="6414802"/>
            <a:ext cx="1210268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215"/>
            <a:r>
              <a:rPr lang="it-IT"/>
              <a:t>Formato data GG/MM/AAAA</a:t>
            </a: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62" y="6551995"/>
            <a:ext cx="84657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215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9" y="3429001"/>
            <a:ext cx="3623868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1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9" y="3996011"/>
            <a:ext cx="3623868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4" y="3429001"/>
            <a:ext cx="3623868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1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4" y="3996011"/>
            <a:ext cx="3623868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3429001"/>
            <a:ext cx="3623868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1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996011"/>
            <a:ext cx="3623868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365865111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9" y="1388790"/>
            <a:ext cx="3623868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1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9" y="1789116"/>
            <a:ext cx="3623868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4" y="1388790"/>
            <a:ext cx="3623868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1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4" y="1789116"/>
            <a:ext cx="3623868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0"/>
            <a:ext cx="3623868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1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789116"/>
            <a:ext cx="3623868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3" y="6414802"/>
            <a:ext cx="1210268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215"/>
            <a:r>
              <a:rPr lang="it-IT"/>
              <a:t>Formato data GG/MM/AAAA</a:t>
            </a: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62" y="6551995"/>
            <a:ext cx="84657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215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9" y="2786061"/>
            <a:ext cx="3623868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1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9" y="3186386"/>
            <a:ext cx="3623868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4" y="2786061"/>
            <a:ext cx="3623868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1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4" y="3186386"/>
            <a:ext cx="3623868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2786061"/>
            <a:ext cx="3623868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1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186386"/>
            <a:ext cx="3623868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9" y="4178600"/>
            <a:ext cx="3623868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1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9" y="4578925"/>
            <a:ext cx="3623868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4" y="4178600"/>
            <a:ext cx="3623868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1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4" y="4578925"/>
            <a:ext cx="3623868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19" y="4178600"/>
            <a:ext cx="3623868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1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19" y="4578925"/>
            <a:ext cx="3623868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4158646103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2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3" y="6414802"/>
            <a:ext cx="1210268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215"/>
            <a:r>
              <a:rPr lang="it-IT"/>
              <a:t>Formato data GG/MM/AAAA</a:t>
            </a:r>
          </a:p>
        </p:txBody>
      </p:sp>
      <p:sp>
        <p:nvSpPr>
          <p:cNvPr id="2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62" y="6551995"/>
            <a:ext cx="84657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215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40994193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3" y="6414802"/>
            <a:ext cx="1210268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215"/>
            <a:r>
              <a:rPr lang="it-IT"/>
              <a:t>Formato data GG/MM/AAAA</a:t>
            </a:r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62" y="6551995"/>
            <a:ext cx="84657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215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44583544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SO1_Titolo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" name="Rettangolo 1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801"/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466584B-8BD1-48B2-BD0C-DC7DD5380BEF}"/>
                </a:ext>
              </a:extLst>
            </p:cNvPr>
            <p:cNvSpPr/>
            <p:nvPr userDrawn="1"/>
          </p:nvSpPr>
          <p:spPr>
            <a:xfrm>
              <a:off x="11718170" y="0"/>
              <a:ext cx="47288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801"/>
            </a:p>
          </p:txBody>
        </p:sp>
        <p:pic>
          <p:nvPicPr>
            <p:cNvPr id="13" name="Immagine 12"/>
            <p:cNvPicPr>
              <a:picLocks noChangeAspect="1"/>
            </p:cNvPicPr>
            <p:nvPr userDrawn="1"/>
          </p:nvPicPr>
          <p:blipFill>
            <a:blip r:embed="rId2" cstate="print">
              <a:lum bright="10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7368" y="6300000"/>
              <a:ext cx="1237295" cy="360000"/>
            </a:xfrm>
            <a:prstGeom prst="rect">
              <a:avLst/>
            </a:prstGeom>
          </p:spPr>
        </p:pic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93527B5-7425-47AC-89C0-2B32AE60168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1786074" y="90427"/>
              <a:ext cx="346160" cy="234428"/>
              <a:chOff x="-560" y="-1287"/>
              <a:chExt cx="6379" cy="4320"/>
            </a:xfrm>
          </p:grpSpPr>
          <p:sp>
            <p:nvSpPr>
              <p:cNvPr id="24" name="AutoShape 3">
                <a:extLst>
                  <a:ext uri="{FF2B5EF4-FFF2-40B4-BE49-F238E27FC236}">
                    <a16:creationId xmlns:a16="http://schemas.microsoft.com/office/drawing/2014/main" id="{85DBAE22-A53B-46F6-A1C2-9F9E40807B3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 sz="1801"/>
              </a:p>
            </p:txBody>
          </p:sp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B355A452-2788-4C68-9C15-CC51FD59A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 sz="1801"/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B83AE660-1A7F-4C22-9AF1-535B2E94E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" y="423"/>
                <a:ext cx="5536" cy="2610"/>
              </a:xfrm>
              <a:custGeom>
                <a:avLst/>
                <a:gdLst>
                  <a:gd name="T0" fmla="*/ 5536 w 5536"/>
                  <a:gd name="T1" fmla="*/ 0 h 2610"/>
                  <a:gd name="T2" fmla="*/ 5470 w 5536"/>
                  <a:gd name="T3" fmla="*/ 127 h 2610"/>
                  <a:gd name="T4" fmla="*/ 5449 w 5536"/>
                  <a:gd name="T5" fmla="*/ 139 h 2610"/>
                  <a:gd name="T6" fmla="*/ 5061 w 5536"/>
                  <a:gd name="T7" fmla="*/ 164 h 2610"/>
                  <a:gd name="T8" fmla="*/ 4881 w 5536"/>
                  <a:gd name="T9" fmla="*/ 189 h 2610"/>
                  <a:gd name="T10" fmla="*/ 4722 w 5536"/>
                  <a:gd name="T11" fmla="*/ 247 h 2610"/>
                  <a:gd name="T12" fmla="*/ 4585 w 5536"/>
                  <a:gd name="T13" fmla="*/ 336 h 2610"/>
                  <a:gd name="T14" fmla="*/ 4471 w 5536"/>
                  <a:gd name="T15" fmla="*/ 460 h 2610"/>
                  <a:gd name="T16" fmla="*/ 4380 w 5536"/>
                  <a:gd name="T17" fmla="*/ 618 h 2610"/>
                  <a:gd name="T18" fmla="*/ 4338 w 5536"/>
                  <a:gd name="T19" fmla="*/ 757 h 2610"/>
                  <a:gd name="T20" fmla="*/ 4318 w 5536"/>
                  <a:gd name="T21" fmla="*/ 902 h 2610"/>
                  <a:gd name="T22" fmla="*/ 4305 w 5536"/>
                  <a:gd name="T23" fmla="*/ 1107 h 2610"/>
                  <a:gd name="T24" fmla="*/ 4278 w 5536"/>
                  <a:gd name="T25" fmla="*/ 1312 h 2610"/>
                  <a:gd name="T26" fmla="*/ 4208 w 5536"/>
                  <a:gd name="T27" fmla="*/ 1538 h 2610"/>
                  <a:gd name="T28" fmla="*/ 4100 w 5536"/>
                  <a:gd name="T29" fmla="*/ 1768 h 2610"/>
                  <a:gd name="T30" fmla="*/ 3963 w 5536"/>
                  <a:gd name="T31" fmla="*/ 1971 h 2610"/>
                  <a:gd name="T32" fmla="*/ 3800 w 5536"/>
                  <a:gd name="T33" fmla="*/ 2146 h 2610"/>
                  <a:gd name="T34" fmla="*/ 3609 w 5536"/>
                  <a:gd name="T35" fmla="*/ 2293 h 2610"/>
                  <a:gd name="T36" fmla="*/ 3391 w 5536"/>
                  <a:gd name="T37" fmla="*/ 2413 h 2610"/>
                  <a:gd name="T38" fmla="*/ 3145 w 5536"/>
                  <a:gd name="T39" fmla="*/ 2504 h 2610"/>
                  <a:gd name="T40" fmla="*/ 2911 w 5536"/>
                  <a:gd name="T41" fmla="*/ 2552 h 2610"/>
                  <a:gd name="T42" fmla="*/ 2671 w 5536"/>
                  <a:gd name="T43" fmla="*/ 2585 h 2610"/>
                  <a:gd name="T44" fmla="*/ 2378 w 5536"/>
                  <a:gd name="T45" fmla="*/ 2608 h 2610"/>
                  <a:gd name="T46" fmla="*/ 2084 w 5536"/>
                  <a:gd name="T47" fmla="*/ 2608 h 2610"/>
                  <a:gd name="T48" fmla="*/ 54 w 5536"/>
                  <a:gd name="T49" fmla="*/ 2608 h 2610"/>
                  <a:gd name="T50" fmla="*/ 0 w 5536"/>
                  <a:gd name="T51" fmla="*/ 2608 h 2610"/>
                  <a:gd name="T52" fmla="*/ 64 w 5536"/>
                  <a:gd name="T53" fmla="*/ 2477 h 2610"/>
                  <a:gd name="T54" fmla="*/ 93 w 5536"/>
                  <a:gd name="T55" fmla="*/ 2436 h 2610"/>
                  <a:gd name="T56" fmla="*/ 143 w 5536"/>
                  <a:gd name="T57" fmla="*/ 2426 h 2610"/>
                  <a:gd name="T58" fmla="*/ 1098 w 5536"/>
                  <a:gd name="T59" fmla="*/ 2419 h 2610"/>
                  <a:gd name="T60" fmla="*/ 1469 w 5536"/>
                  <a:gd name="T61" fmla="*/ 2396 h 2610"/>
                  <a:gd name="T62" fmla="*/ 1753 w 5536"/>
                  <a:gd name="T63" fmla="*/ 2368 h 2610"/>
                  <a:gd name="T64" fmla="*/ 1947 w 5536"/>
                  <a:gd name="T65" fmla="*/ 2336 h 2610"/>
                  <a:gd name="T66" fmla="*/ 2155 w 5536"/>
                  <a:gd name="T67" fmla="*/ 2268 h 2610"/>
                  <a:gd name="T68" fmla="*/ 2362 w 5536"/>
                  <a:gd name="T69" fmla="*/ 2162 h 2610"/>
                  <a:gd name="T70" fmla="*/ 2540 w 5536"/>
                  <a:gd name="T71" fmla="*/ 2028 h 2610"/>
                  <a:gd name="T72" fmla="*/ 2687 w 5536"/>
                  <a:gd name="T73" fmla="*/ 1866 h 2610"/>
                  <a:gd name="T74" fmla="*/ 2807 w 5536"/>
                  <a:gd name="T75" fmla="*/ 1675 h 2610"/>
                  <a:gd name="T76" fmla="*/ 2896 w 5536"/>
                  <a:gd name="T77" fmla="*/ 1453 h 2610"/>
                  <a:gd name="T78" fmla="*/ 3064 w 5536"/>
                  <a:gd name="T79" fmla="*/ 881 h 2610"/>
                  <a:gd name="T80" fmla="*/ 3108 w 5536"/>
                  <a:gd name="T81" fmla="*/ 732 h 2610"/>
                  <a:gd name="T82" fmla="*/ 3170 w 5536"/>
                  <a:gd name="T83" fmla="*/ 591 h 2610"/>
                  <a:gd name="T84" fmla="*/ 3290 w 5536"/>
                  <a:gd name="T85" fmla="*/ 423 h 2610"/>
                  <a:gd name="T86" fmla="*/ 3431 w 5536"/>
                  <a:gd name="T87" fmla="*/ 288 h 2610"/>
                  <a:gd name="T88" fmla="*/ 3595 w 5536"/>
                  <a:gd name="T89" fmla="*/ 187 h 2610"/>
                  <a:gd name="T90" fmla="*/ 3785 w 5536"/>
                  <a:gd name="T91" fmla="*/ 122 h 2610"/>
                  <a:gd name="T92" fmla="*/ 4003 w 5536"/>
                  <a:gd name="T93" fmla="*/ 91 h 2610"/>
                  <a:gd name="T94" fmla="*/ 4235 w 5536"/>
                  <a:gd name="T95" fmla="*/ 79 h 2610"/>
                  <a:gd name="T96" fmla="*/ 5498 w 5536"/>
                  <a:gd name="T97" fmla="*/ 0 h 2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536" h="2610">
                    <a:moveTo>
                      <a:pt x="5515" y="0"/>
                    </a:moveTo>
                    <a:lnTo>
                      <a:pt x="5536" y="0"/>
                    </a:lnTo>
                    <a:lnTo>
                      <a:pt x="5503" y="66"/>
                    </a:lnTo>
                    <a:lnTo>
                      <a:pt x="5470" y="127"/>
                    </a:lnTo>
                    <a:lnTo>
                      <a:pt x="5463" y="135"/>
                    </a:lnTo>
                    <a:lnTo>
                      <a:pt x="5449" y="139"/>
                    </a:lnTo>
                    <a:lnTo>
                      <a:pt x="5436" y="141"/>
                    </a:lnTo>
                    <a:lnTo>
                      <a:pt x="5061" y="164"/>
                    </a:lnTo>
                    <a:lnTo>
                      <a:pt x="4968" y="172"/>
                    </a:lnTo>
                    <a:lnTo>
                      <a:pt x="4881" y="189"/>
                    </a:lnTo>
                    <a:lnTo>
                      <a:pt x="4798" y="214"/>
                    </a:lnTo>
                    <a:lnTo>
                      <a:pt x="4722" y="247"/>
                    </a:lnTo>
                    <a:lnTo>
                      <a:pt x="4651" y="288"/>
                    </a:lnTo>
                    <a:lnTo>
                      <a:pt x="4585" y="336"/>
                    </a:lnTo>
                    <a:lnTo>
                      <a:pt x="4525" y="394"/>
                    </a:lnTo>
                    <a:lnTo>
                      <a:pt x="4471" y="460"/>
                    </a:lnTo>
                    <a:lnTo>
                      <a:pt x="4423" y="535"/>
                    </a:lnTo>
                    <a:lnTo>
                      <a:pt x="4380" y="618"/>
                    </a:lnTo>
                    <a:lnTo>
                      <a:pt x="4353" y="686"/>
                    </a:lnTo>
                    <a:lnTo>
                      <a:pt x="4338" y="757"/>
                    </a:lnTo>
                    <a:lnTo>
                      <a:pt x="4326" y="829"/>
                    </a:lnTo>
                    <a:lnTo>
                      <a:pt x="4318" y="902"/>
                    </a:lnTo>
                    <a:lnTo>
                      <a:pt x="4311" y="1004"/>
                    </a:lnTo>
                    <a:lnTo>
                      <a:pt x="4305" y="1107"/>
                    </a:lnTo>
                    <a:lnTo>
                      <a:pt x="4295" y="1209"/>
                    </a:lnTo>
                    <a:lnTo>
                      <a:pt x="4278" y="1312"/>
                    </a:lnTo>
                    <a:lnTo>
                      <a:pt x="4253" y="1412"/>
                    </a:lnTo>
                    <a:lnTo>
                      <a:pt x="4208" y="1538"/>
                    </a:lnTo>
                    <a:lnTo>
                      <a:pt x="4158" y="1656"/>
                    </a:lnTo>
                    <a:lnTo>
                      <a:pt x="4100" y="1768"/>
                    </a:lnTo>
                    <a:lnTo>
                      <a:pt x="4034" y="1872"/>
                    </a:lnTo>
                    <a:lnTo>
                      <a:pt x="3963" y="1971"/>
                    </a:lnTo>
                    <a:lnTo>
                      <a:pt x="3885" y="2061"/>
                    </a:lnTo>
                    <a:lnTo>
                      <a:pt x="3800" y="2146"/>
                    </a:lnTo>
                    <a:lnTo>
                      <a:pt x="3708" y="2224"/>
                    </a:lnTo>
                    <a:lnTo>
                      <a:pt x="3609" y="2293"/>
                    </a:lnTo>
                    <a:lnTo>
                      <a:pt x="3503" y="2357"/>
                    </a:lnTo>
                    <a:lnTo>
                      <a:pt x="3391" y="2413"/>
                    </a:lnTo>
                    <a:lnTo>
                      <a:pt x="3271" y="2461"/>
                    </a:lnTo>
                    <a:lnTo>
                      <a:pt x="3145" y="2504"/>
                    </a:lnTo>
                    <a:lnTo>
                      <a:pt x="3029" y="2533"/>
                    </a:lnTo>
                    <a:lnTo>
                      <a:pt x="2911" y="2552"/>
                    </a:lnTo>
                    <a:lnTo>
                      <a:pt x="2791" y="2569"/>
                    </a:lnTo>
                    <a:lnTo>
                      <a:pt x="2671" y="2585"/>
                    </a:lnTo>
                    <a:lnTo>
                      <a:pt x="2525" y="2602"/>
                    </a:lnTo>
                    <a:lnTo>
                      <a:pt x="2378" y="2608"/>
                    </a:lnTo>
                    <a:lnTo>
                      <a:pt x="2231" y="2610"/>
                    </a:lnTo>
                    <a:lnTo>
                      <a:pt x="2084" y="2608"/>
                    </a:lnTo>
                    <a:lnTo>
                      <a:pt x="1937" y="2608"/>
                    </a:lnTo>
                    <a:lnTo>
                      <a:pt x="54" y="2608"/>
                    </a:lnTo>
                    <a:lnTo>
                      <a:pt x="0" y="2608"/>
                    </a:lnTo>
                    <a:lnTo>
                      <a:pt x="0" y="2608"/>
                    </a:lnTo>
                    <a:lnTo>
                      <a:pt x="33" y="2540"/>
                    </a:lnTo>
                    <a:lnTo>
                      <a:pt x="64" y="2477"/>
                    </a:lnTo>
                    <a:lnTo>
                      <a:pt x="75" y="2452"/>
                    </a:lnTo>
                    <a:lnTo>
                      <a:pt x="93" y="2436"/>
                    </a:lnTo>
                    <a:lnTo>
                      <a:pt x="114" y="2428"/>
                    </a:lnTo>
                    <a:lnTo>
                      <a:pt x="143" y="2426"/>
                    </a:lnTo>
                    <a:lnTo>
                      <a:pt x="621" y="2426"/>
                    </a:lnTo>
                    <a:lnTo>
                      <a:pt x="1098" y="2419"/>
                    </a:lnTo>
                    <a:lnTo>
                      <a:pt x="1284" y="2409"/>
                    </a:lnTo>
                    <a:lnTo>
                      <a:pt x="1469" y="2396"/>
                    </a:lnTo>
                    <a:lnTo>
                      <a:pt x="1655" y="2378"/>
                    </a:lnTo>
                    <a:lnTo>
                      <a:pt x="1753" y="2368"/>
                    </a:lnTo>
                    <a:lnTo>
                      <a:pt x="1850" y="2355"/>
                    </a:lnTo>
                    <a:lnTo>
                      <a:pt x="1947" y="2336"/>
                    </a:lnTo>
                    <a:lnTo>
                      <a:pt x="2043" y="2311"/>
                    </a:lnTo>
                    <a:lnTo>
                      <a:pt x="2155" y="2268"/>
                    </a:lnTo>
                    <a:lnTo>
                      <a:pt x="2264" y="2218"/>
                    </a:lnTo>
                    <a:lnTo>
                      <a:pt x="2362" y="2162"/>
                    </a:lnTo>
                    <a:lnTo>
                      <a:pt x="2455" y="2098"/>
                    </a:lnTo>
                    <a:lnTo>
                      <a:pt x="2540" y="2028"/>
                    </a:lnTo>
                    <a:lnTo>
                      <a:pt x="2617" y="1951"/>
                    </a:lnTo>
                    <a:lnTo>
                      <a:pt x="2687" y="1866"/>
                    </a:lnTo>
                    <a:lnTo>
                      <a:pt x="2751" y="1773"/>
                    </a:lnTo>
                    <a:lnTo>
                      <a:pt x="2807" y="1675"/>
                    </a:lnTo>
                    <a:lnTo>
                      <a:pt x="2855" y="1569"/>
                    </a:lnTo>
                    <a:lnTo>
                      <a:pt x="2896" y="1453"/>
                    </a:lnTo>
                    <a:lnTo>
                      <a:pt x="2983" y="1167"/>
                    </a:lnTo>
                    <a:lnTo>
                      <a:pt x="3064" y="881"/>
                    </a:lnTo>
                    <a:lnTo>
                      <a:pt x="3085" y="805"/>
                    </a:lnTo>
                    <a:lnTo>
                      <a:pt x="3108" y="732"/>
                    </a:lnTo>
                    <a:lnTo>
                      <a:pt x="3135" y="661"/>
                    </a:lnTo>
                    <a:lnTo>
                      <a:pt x="3170" y="591"/>
                    </a:lnTo>
                    <a:lnTo>
                      <a:pt x="3226" y="502"/>
                    </a:lnTo>
                    <a:lnTo>
                      <a:pt x="3290" y="423"/>
                    </a:lnTo>
                    <a:lnTo>
                      <a:pt x="3358" y="351"/>
                    </a:lnTo>
                    <a:lnTo>
                      <a:pt x="3431" y="288"/>
                    </a:lnTo>
                    <a:lnTo>
                      <a:pt x="3510" y="234"/>
                    </a:lnTo>
                    <a:lnTo>
                      <a:pt x="3595" y="187"/>
                    </a:lnTo>
                    <a:lnTo>
                      <a:pt x="3688" y="151"/>
                    </a:lnTo>
                    <a:lnTo>
                      <a:pt x="3785" y="122"/>
                    </a:lnTo>
                    <a:lnTo>
                      <a:pt x="3887" y="102"/>
                    </a:lnTo>
                    <a:lnTo>
                      <a:pt x="4003" y="91"/>
                    </a:lnTo>
                    <a:lnTo>
                      <a:pt x="4119" y="85"/>
                    </a:lnTo>
                    <a:lnTo>
                      <a:pt x="4235" y="79"/>
                    </a:lnTo>
                    <a:lnTo>
                      <a:pt x="4923" y="35"/>
                    </a:lnTo>
                    <a:lnTo>
                      <a:pt x="5498" y="0"/>
                    </a:lnTo>
                    <a:lnTo>
                      <a:pt x="5515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 sz="1801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BE6F8E9-24BA-47B8-9CCD-E18AD0A4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" y="-1283"/>
                <a:ext cx="4960" cy="1437"/>
              </a:xfrm>
              <a:custGeom>
                <a:avLst/>
                <a:gdLst>
                  <a:gd name="T0" fmla="*/ 4896 w 4960"/>
                  <a:gd name="T1" fmla="*/ 0 h 1437"/>
                  <a:gd name="T2" fmla="*/ 4960 w 4960"/>
                  <a:gd name="T3" fmla="*/ 0 h 1437"/>
                  <a:gd name="T4" fmla="*/ 4935 w 4960"/>
                  <a:gd name="T5" fmla="*/ 46 h 1437"/>
                  <a:gd name="T6" fmla="*/ 4912 w 4960"/>
                  <a:gd name="T7" fmla="*/ 89 h 1437"/>
                  <a:gd name="T8" fmla="*/ 4892 w 4960"/>
                  <a:gd name="T9" fmla="*/ 131 h 1437"/>
                  <a:gd name="T10" fmla="*/ 4879 w 4960"/>
                  <a:gd name="T11" fmla="*/ 162 h 1437"/>
                  <a:gd name="T12" fmla="*/ 4860 w 4960"/>
                  <a:gd name="T13" fmla="*/ 181 h 1437"/>
                  <a:gd name="T14" fmla="*/ 4838 w 4960"/>
                  <a:gd name="T15" fmla="*/ 195 h 1437"/>
                  <a:gd name="T16" fmla="*/ 4809 w 4960"/>
                  <a:gd name="T17" fmla="*/ 201 h 1437"/>
                  <a:gd name="T18" fmla="*/ 4776 w 4960"/>
                  <a:gd name="T19" fmla="*/ 203 h 1437"/>
                  <a:gd name="T20" fmla="*/ 4287 w 4960"/>
                  <a:gd name="T21" fmla="*/ 201 h 1437"/>
                  <a:gd name="T22" fmla="*/ 3798 w 4960"/>
                  <a:gd name="T23" fmla="*/ 203 h 1437"/>
                  <a:gd name="T24" fmla="*/ 3590 w 4960"/>
                  <a:gd name="T25" fmla="*/ 207 h 1437"/>
                  <a:gd name="T26" fmla="*/ 3381 w 4960"/>
                  <a:gd name="T27" fmla="*/ 216 h 1437"/>
                  <a:gd name="T28" fmla="*/ 3172 w 4960"/>
                  <a:gd name="T29" fmla="*/ 234 h 1437"/>
                  <a:gd name="T30" fmla="*/ 2965 w 4960"/>
                  <a:gd name="T31" fmla="*/ 261 h 1437"/>
                  <a:gd name="T32" fmla="*/ 2826 w 4960"/>
                  <a:gd name="T33" fmla="*/ 284 h 1437"/>
                  <a:gd name="T34" fmla="*/ 2689 w 4960"/>
                  <a:gd name="T35" fmla="*/ 313 h 1437"/>
                  <a:gd name="T36" fmla="*/ 2554 w 4960"/>
                  <a:gd name="T37" fmla="*/ 350 h 1437"/>
                  <a:gd name="T38" fmla="*/ 2420 w 4960"/>
                  <a:gd name="T39" fmla="*/ 394 h 1437"/>
                  <a:gd name="T40" fmla="*/ 2289 w 4960"/>
                  <a:gd name="T41" fmla="*/ 446 h 1437"/>
                  <a:gd name="T42" fmla="*/ 2161 w 4960"/>
                  <a:gd name="T43" fmla="*/ 508 h 1437"/>
                  <a:gd name="T44" fmla="*/ 2047 w 4960"/>
                  <a:gd name="T45" fmla="*/ 576 h 1437"/>
                  <a:gd name="T46" fmla="*/ 1941 w 4960"/>
                  <a:gd name="T47" fmla="*/ 651 h 1437"/>
                  <a:gd name="T48" fmla="*/ 1840 w 4960"/>
                  <a:gd name="T49" fmla="*/ 734 h 1437"/>
                  <a:gd name="T50" fmla="*/ 1746 w 4960"/>
                  <a:gd name="T51" fmla="*/ 823 h 1437"/>
                  <a:gd name="T52" fmla="*/ 1660 w 4960"/>
                  <a:gd name="T53" fmla="*/ 921 h 1437"/>
                  <a:gd name="T54" fmla="*/ 1579 w 4960"/>
                  <a:gd name="T55" fmla="*/ 1026 h 1437"/>
                  <a:gd name="T56" fmla="*/ 1496 w 4960"/>
                  <a:gd name="T57" fmla="*/ 1151 h 1437"/>
                  <a:gd name="T58" fmla="*/ 1417 w 4960"/>
                  <a:gd name="T59" fmla="*/ 1281 h 1437"/>
                  <a:gd name="T60" fmla="*/ 1338 w 4960"/>
                  <a:gd name="T61" fmla="*/ 1410 h 1437"/>
                  <a:gd name="T62" fmla="*/ 1326 w 4960"/>
                  <a:gd name="T63" fmla="*/ 1426 h 1437"/>
                  <a:gd name="T64" fmla="*/ 1313 w 4960"/>
                  <a:gd name="T65" fmla="*/ 1433 h 1437"/>
                  <a:gd name="T66" fmla="*/ 1295 w 4960"/>
                  <a:gd name="T67" fmla="*/ 1437 h 1437"/>
                  <a:gd name="T68" fmla="*/ 37 w 4960"/>
                  <a:gd name="T69" fmla="*/ 1437 h 1437"/>
                  <a:gd name="T70" fmla="*/ 21 w 4960"/>
                  <a:gd name="T71" fmla="*/ 1435 h 1437"/>
                  <a:gd name="T72" fmla="*/ 0 w 4960"/>
                  <a:gd name="T73" fmla="*/ 1435 h 1437"/>
                  <a:gd name="T74" fmla="*/ 64 w 4960"/>
                  <a:gd name="T75" fmla="*/ 1310 h 1437"/>
                  <a:gd name="T76" fmla="*/ 126 w 4960"/>
                  <a:gd name="T77" fmla="*/ 1186 h 1437"/>
                  <a:gd name="T78" fmla="*/ 186 w 4960"/>
                  <a:gd name="T79" fmla="*/ 1061 h 1437"/>
                  <a:gd name="T80" fmla="*/ 247 w 4960"/>
                  <a:gd name="T81" fmla="*/ 937 h 1437"/>
                  <a:gd name="T82" fmla="*/ 315 w 4960"/>
                  <a:gd name="T83" fmla="*/ 817 h 1437"/>
                  <a:gd name="T84" fmla="*/ 389 w 4960"/>
                  <a:gd name="T85" fmla="*/ 701 h 1437"/>
                  <a:gd name="T86" fmla="*/ 458 w 4960"/>
                  <a:gd name="T87" fmla="*/ 607 h 1437"/>
                  <a:gd name="T88" fmla="*/ 533 w 4960"/>
                  <a:gd name="T89" fmla="*/ 520 h 1437"/>
                  <a:gd name="T90" fmla="*/ 615 w 4960"/>
                  <a:gd name="T91" fmla="*/ 440 h 1437"/>
                  <a:gd name="T92" fmla="*/ 700 w 4960"/>
                  <a:gd name="T93" fmla="*/ 367 h 1437"/>
                  <a:gd name="T94" fmla="*/ 791 w 4960"/>
                  <a:gd name="T95" fmla="*/ 301 h 1437"/>
                  <a:gd name="T96" fmla="*/ 887 w 4960"/>
                  <a:gd name="T97" fmla="*/ 243 h 1437"/>
                  <a:gd name="T98" fmla="*/ 990 w 4960"/>
                  <a:gd name="T99" fmla="*/ 191 h 1437"/>
                  <a:gd name="T100" fmla="*/ 1096 w 4960"/>
                  <a:gd name="T101" fmla="*/ 147 h 1437"/>
                  <a:gd name="T102" fmla="*/ 1206 w 4960"/>
                  <a:gd name="T103" fmla="*/ 108 h 1437"/>
                  <a:gd name="T104" fmla="*/ 1351 w 4960"/>
                  <a:gd name="T105" fmla="*/ 69 h 1437"/>
                  <a:gd name="T106" fmla="*/ 1496 w 4960"/>
                  <a:gd name="T107" fmla="*/ 40 h 1437"/>
                  <a:gd name="T108" fmla="*/ 1645 w 4960"/>
                  <a:gd name="T109" fmla="*/ 21 h 1437"/>
                  <a:gd name="T110" fmla="*/ 1794 w 4960"/>
                  <a:gd name="T111" fmla="*/ 10 h 1437"/>
                  <a:gd name="T112" fmla="*/ 1954 w 4960"/>
                  <a:gd name="T113" fmla="*/ 4 h 1437"/>
                  <a:gd name="T114" fmla="*/ 2117 w 4960"/>
                  <a:gd name="T115" fmla="*/ 2 h 1437"/>
                  <a:gd name="T116" fmla="*/ 4896 w 4960"/>
                  <a:gd name="T117" fmla="*/ 0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60" h="1437">
                    <a:moveTo>
                      <a:pt x="4896" y="0"/>
                    </a:moveTo>
                    <a:lnTo>
                      <a:pt x="4960" y="0"/>
                    </a:lnTo>
                    <a:lnTo>
                      <a:pt x="4935" y="46"/>
                    </a:lnTo>
                    <a:lnTo>
                      <a:pt x="4912" y="89"/>
                    </a:lnTo>
                    <a:lnTo>
                      <a:pt x="4892" y="131"/>
                    </a:lnTo>
                    <a:lnTo>
                      <a:pt x="4879" y="162"/>
                    </a:lnTo>
                    <a:lnTo>
                      <a:pt x="4860" y="181"/>
                    </a:lnTo>
                    <a:lnTo>
                      <a:pt x="4838" y="195"/>
                    </a:lnTo>
                    <a:lnTo>
                      <a:pt x="4809" y="201"/>
                    </a:lnTo>
                    <a:lnTo>
                      <a:pt x="4776" y="203"/>
                    </a:lnTo>
                    <a:lnTo>
                      <a:pt x="4287" y="201"/>
                    </a:lnTo>
                    <a:lnTo>
                      <a:pt x="3798" y="203"/>
                    </a:lnTo>
                    <a:lnTo>
                      <a:pt x="3590" y="207"/>
                    </a:lnTo>
                    <a:lnTo>
                      <a:pt x="3381" y="216"/>
                    </a:lnTo>
                    <a:lnTo>
                      <a:pt x="3172" y="234"/>
                    </a:lnTo>
                    <a:lnTo>
                      <a:pt x="2965" y="261"/>
                    </a:lnTo>
                    <a:lnTo>
                      <a:pt x="2826" y="284"/>
                    </a:lnTo>
                    <a:lnTo>
                      <a:pt x="2689" y="313"/>
                    </a:lnTo>
                    <a:lnTo>
                      <a:pt x="2554" y="350"/>
                    </a:lnTo>
                    <a:lnTo>
                      <a:pt x="2420" y="394"/>
                    </a:lnTo>
                    <a:lnTo>
                      <a:pt x="2289" y="446"/>
                    </a:lnTo>
                    <a:lnTo>
                      <a:pt x="2161" y="508"/>
                    </a:lnTo>
                    <a:lnTo>
                      <a:pt x="2047" y="576"/>
                    </a:lnTo>
                    <a:lnTo>
                      <a:pt x="1941" y="651"/>
                    </a:lnTo>
                    <a:lnTo>
                      <a:pt x="1840" y="734"/>
                    </a:lnTo>
                    <a:lnTo>
                      <a:pt x="1746" y="823"/>
                    </a:lnTo>
                    <a:lnTo>
                      <a:pt x="1660" y="921"/>
                    </a:lnTo>
                    <a:lnTo>
                      <a:pt x="1579" y="1026"/>
                    </a:lnTo>
                    <a:lnTo>
                      <a:pt x="1496" y="1151"/>
                    </a:lnTo>
                    <a:lnTo>
                      <a:pt x="1417" y="1281"/>
                    </a:lnTo>
                    <a:lnTo>
                      <a:pt x="1338" y="1410"/>
                    </a:lnTo>
                    <a:lnTo>
                      <a:pt x="1326" y="1426"/>
                    </a:lnTo>
                    <a:lnTo>
                      <a:pt x="1313" y="1433"/>
                    </a:lnTo>
                    <a:lnTo>
                      <a:pt x="1295" y="1437"/>
                    </a:lnTo>
                    <a:lnTo>
                      <a:pt x="37" y="1437"/>
                    </a:lnTo>
                    <a:lnTo>
                      <a:pt x="21" y="1435"/>
                    </a:lnTo>
                    <a:lnTo>
                      <a:pt x="0" y="1435"/>
                    </a:lnTo>
                    <a:lnTo>
                      <a:pt x="64" y="1310"/>
                    </a:lnTo>
                    <a:lnTo>
                      <a:pt x="126" y="1186"/>
                    </a:lnTo>
                    <a:lnTo>
                      <a:pt x="186" y="1061"/>
                    </a:lnTo>
                    <a:lnTo>
                      <a:pt x="247" y="937"/>
                    </a:lnTo>
                    <a:lnTo>
                      <a:pt x="315" y="817"/>
                    </a:lnTo>
                    <a:lnTo>
                      <a:pt x="389" y="701"/>
                    </a:lnTo>
                    <a:lnTo>
                      <a:pt x="458" y="607"/>
                    </a:lnTo>
                    <a:lnTo>
                      <a:pt x="533" y="520"/>
                    </a:lnTo>
                    <a:lnTo>
                      <a:pt x="615" y="440"/>
                    </a:lnTo>
                    <a:lnTo>
                      <a:pt x="700" y="367"/>
                    </a:lnTo>
                    <a:lnTo>
                      <a:pt x="791" y="301"/>
                    </a:lnTo>
                    <a:lnTo>
                      <a:pt x="887" y="243"/>
                    </a:lnTo>
                    <a:lnTo>
                      <a:pt x="990" y="191"/>
                    </a:lnTo>
                    <a:lnTo>
                      <a:pt x="1096" y="147"/>
                    </a:lnTo>
                    <a:lnTo>
                      <a:pt x="1206" y="108"/>
                    </a:lnTo>
                    <a:lnTo>
                      <a:pt x="1351" y="69"/>
                    </a:lnTo>
                    <a:lnTo>
                      <a:pt x="1496" y="40"/>
                    </a:lnTo>
                    <a:lnTo>
                      <a:pt x="1645" y="21"/>
                    </a:lnTo>
                    <a:lnTo>
                      <a:pt x="1794" y="10"/>
                    </a:lnTo>
                    <a:lnTo>
                      <a:pt x="1954" y="4"/>
                    </a:lnTo>
                    <a:lnTo>
                      <a:pt x="2117" y="2"/>
                    </a:lnTo>
                    <a:lnTo>
                      <a:pt x="4896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 sz="1801"/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61144228-6360-4B55-95F5-F9B22AED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5" y="643"/>
                <a:ext cx="2316" cy="1988"/>
              </a:xfrm>
              <a:custGeom>
                <a:avLst/>
                <a:gdLst>
                  <a:gd name="T0" fmla="*/ 2297 w 2316"/>
                  <a:gd name="T1" fmla="*/ 0 h 1988"/>
                  <a:gd name="T2" fmla="*/ 2316 w 2316"/>
                  <a:gd name="T3" fmla="*/ 0 h 1988"/>
                  <a:gd name="T4" fmla="*/ 2250 w 2316"/>
                  <a:gd name="T5" fmla="*/ 124 h 1988"/>
                  <a:gd name="T6" fmla="*/ 2185 w 2316"/>
                  <a:gd name="T7" fmla="*/ 245 h 1988"/>
                  <a:gd name="T8" fmla="*/ 2038 w 2316"/>
                  <a:gd name="T9" fmla="*/ 510 h 1988"/>
                  <a:gd name="T10" fmla="*/ 1885 w 2316"/>
                  <a:gd name="T11" fmla="*/ 771 h 1988"/>
                  <a:gd name="T12" fmla="*/ 1726 w 2316"/>
                  <a:gd name="T13" fmla="*/ 1028 h 1988"/>
                  <a:gd name="T14" fmla="*/ 1560 w 2316"/>
                  <a:gd name="T15" fmla="*/ 1281 h 1988"/>
                  <a:gd name="T16" fmla="*/ 1496 w 2316"/>
                  <a:gd name="T17" fmla="*/ 1368 h 1988"/>
                  <a:gd name="T18" fmla="*/ 1431 w 2316"/>
                  <a:gd name="T19" fmla="*/ 1455 h 1988"/>
                  <a:gd name="T20" fmla="*/ 1361 w 2316"/>
                  <a:gd name="T21" fmla="*/ 1536 h 1988"/>
                  <a:gd name="T22" fmla="*/ 1286 w 2316"/>
                  <a:gd name="T23" fmla="*/ 1613 h 1988"/>
                  <a:gd name="T24" fmla="*/ 1205 w 2316"/>
                  <a:gd name="T25" fmla="*/ 1685 h 1988"/>
                  <a:gd name="T26" fmla="*/ 1118 w 2316"/>
                  <a:gd name="T27" fmla="*/ 1751 h 1988"/>
                  <a:gd name="T28" fmla="*/ 1036 w 2316"/>
                  <a:gd name="T29" fmla="*/ 1803 h 1988"/>
                  <a:gd name="T30" fmla="*/ 951 w 2316"/>
                  <a:gd name="T31" fmla="*/ 1847 h 1988"/>
                  <a:gd name="T32" fmla="*/ 864 w 2316"/>
                  <a:gd name="T33" fmla="*/ 1884 h 1988"/>
                  <a:gd name="T34" fmla="*/ 773 w 2316"/>
                  <a:gd name="T35" fmla="*/ 1913 h 1988"/>
                  <a:gd name="T36" fmla="*/ 683 w 2316"/>
                  <a:gd name="T37" fmla="*/ 1936 h 1988"/>
                  <a:gd name="T38" fmla="*/ 586 w 2316"/>
                  <a:gd name="T39" fmla="*/ 1953 h 1988"/>
                  <a:gd name="T40" fmla="*/ 449 w 2316"/>
                  <a:gd name="T41" fmla="*/ 1971 h 1988"/>
                  <a:gd name="T42" fmla="*/ 311 w 2316"/>
                  <a:gd name="T43" fmla="*/ 1980 h 1988"/>
                  <a:gd name="T44" fmla="*/ 172 w 2316"/>
                  <a:gd name="T45" fmla="*/ 1986 h 1988"/>
                  <a:gd name="T46" fmla="*/ 33 w 2316"/>
                  <a:gd name="T47" fmla="*/ 1988 h 1988"/>
                  <a:gd name="T48" fmla="*/ 18 w 2316"/>
                  <a:gd name="T49" fmla="*/ 1988 h 1988"/>
                  <a:gd name="T50" fmla="*/ 0 w 2316"/>
                  <a:gd name="T51" fmla="*/ 1988 h 1988"/>
                  <a:gd name="T52" fmla="*/ 8 w 2316"/>
                  <a:gd name="T53" fmla="*/ 1969 h 1988"/>
                  <a:gd name="T54" fmla="*/ 14 w 2316"/>
                  <a:gd name="T55" fmla="*/ 1955 h 1988"/>
                  <a:gd name="T56" fmla="*/ 916 w 2316"/>
                  <a:gd name="T57" fmla="*/ 168 h 1988"/>
                  <a:gd name="T58" fmla="*/ 928 w 2316"/>
                  <a:gd name="T59" fmla="*/ 149 h 1988"/>
                  <a:gd name="T60" fmla="*/ 945 w 2316"/>
                  <a:gd name="T61" fmla="*/ 137 h 1988"/>
                  <a:gd name="T62" fmla="*/ 967 w 2316"/>
                  <a:gd name="T63" fmla="*/ 133 h 1988"/>
                  <a:gd name="T64" fmla="*/ 1753 w 2316"/>
                  <a:gd name="T65" fmla="*/ 54 h 1988"/>
                  <a:gd name="T66" fmla="*/ 2281 w 2316"/>
                  <a:gd name="T67" fmla="*/ 0 h 1988"/>
                  <a:gd name="T68" fmla="*/ 2297 w 2316"/>
                  <a:gd name="T69" fmla="*/ 0 h 1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16" h="1988">
                    <a:moveTo>
                      <a:pt x="2297" y="0"/>
                    </a:moveTo>
                    <a:lnTo>
                      <a:pt x="2316" y="0"/>
                    </a:lnTo>
                    <a:lnTo>
                      <a:pt x="2250" y="124"/>
                    </a:lnTo>
                    <a:lnTo>
                      <a:pt x="2185" y="245"/>
                    </a:lnTo>
                    <a:lnTo>
                      <a:pt x="2038" y="510"/>
                    </a:lnTo>
                    <a:lnTo>
                      <a:pt x="1885" y="771"/>
                    </a:lnTo>
                    <a:lnTo>
                      <a:pt x="1726" y="1028"/>
                    </a:lnTo>
                    <a:lnTo>
                      <a:pt x="1560" y="1281"/>
                    </a:lnTo>
                    <a:lnTo>
                      <a:pt x="1496" y="1368"/>
                    </a:lnTo>
                    <a:lnTo>
                      <a:pt x="1431" y="1455"/>
                    </a:lnTo>
                    <a:lnTo>
                      <a:pt x="1361" y="1536"/>
                    </a:lnTo>
                    <a:lnTo>
                      <a:pt x="1286" y="1613"/>
                    </a:lnTo>
                    <a:lnTo>
                      <a:pt x="1205" y="1685"/>
                    </a:lnTo>
                    <a:lnTo>
                      <a:pt x="1118" y="1751"/>
                    </a:lnTo>
                    <a:lnTo>
                      <a:pt x="1036" y="1803"/>
                    </a:lnTo>
                    <a:lnTo>
                      <a:pt x="951" y="1847"/>
                    </a:lnTo>
                    <a:lnTo>
                      <a:pt x="864" y="1884"/>
                    </a:lnTo>
                    <a:lnTo>
                      <a:pt x="773" y="1913"/>
                    </a:lnTo>
                    <a:lnTo>
                      <a:pt x="683" y="1936"/>
                    </a:lnTo>
                    <a:lnTo>
                      <a:pt x="586" y="1953"/>
                    </a:lnTo>
                    <a:lnTo>
                      <a:pt x="449" y="1971"/>
                    </a:lnTo>
                    <a:lnTo>
                      <a:pt x="311" y="1980"/>
                    </a:lnTo>
                    <a:lnTo>
                      <a:pt x="172" y="1986"/>
                    </a:lnTo>
                    <a:lnTo>
                      <a:pt x="33" y="1988"/>
                    </a:lnTo>
                    <a:lnTo>
                      <a:pt x="18" y="1988"/>
                    </a:lnTo>
                    <a:lnTo>
                      <a:pt x="0" y="1988"/>
                    </a:lnTo>
                    <a:lnTo>
                      <a:pt x="8" y="1969"/>
                    </a:lnTo>
                    <a:lnTo>
                      <a:pt x="14" y="1955"/>
                    </a:lnTo>
                    <a:lnTo>
                      <a:pt x="916" y="168"/>
                    </a:lnTo>
                    <a:lnTo>
                      <a:pt x="928" y="149"/>
                    </a:lnTo>
                    <a:lnTo>
                      <a:pt x="945" y="137"/>
                    </a:lnTo>
                    <a:lnTo>
                      <a:pt x="967" y="133"/>
                    </a:lnTo>
                    <a:lnTo>
                      <a:pt x="1753" y="54"/>
                    </a:lnTo>
                    <a:lnTo>
                      <a:pt x="2281" y="0"/>
                    </a:lnTo>
                    <a:lnTo>
                      <a:pt x="2297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 sz="1801"/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88DFCB77-4787-41C9-BEEE-C96E24C9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" y="-875"/>
                <a:ext cx="2472" cy="1029"/>
              </a:xfrm>
              <a:custGeom>
                <a:avLst/>
                <a:gdLst>
                  <a:gd name="T0" fmla="*/ 2451 w 2472"/>
                  <a:gd name="T1" fmla="*/ 0 h 1029"/>
                  <a:gd name="T2" fmla="*/ 2472 w 2472"/>
                  <a:gd name="T3" fmla="*/ 0 h 1029"/>
                  <a:gd name="T4" fmla="*/ 2426 w 2472"/>
                  <a:gd name="T5" fmla="*/ 94 h 1029"/>
                  <a:gd name="T6" fmla="*/ 2379 w 2472"/>
                  <a:gd name="T7" fmla="*/ 185 h 1029"/>
                  <a:gd name="T8" fmla="*/ 1977 w 2472"/>
                  <a:gd name="T9" fmla="*/ 1004 h 1029"/>
                  <a:gd name="T10" fmla="*/ 1967 w 2472"/>
                  <a:gd name="T11" fmla="*/ 1018 h 1029"/>
                  <a:gd name="T12" fmla="*/ 1956 w 2472"/>
                  <a:gd name="T13" fmla="*/ 1027 h 1029"/>
                  <a:gd name="T14" fmla="*/ 1937 w 2472"/>
                  <a:gd name="T15" fmla="*/ 1029 h 1029"/>
                  <a:gd name="T16" fmla="*/ 23 w 2472"/>
                  <a:gd name="T17" fmla="*/ 1029 h 1029"/>
                  <a:gd name="T18" fmla="*/ 17 w 2472"/>
                  <a:gd name="T19" fmla="*/ 1027 h 1029"/>
                  <a:gd name="T20" fmla="*/ 9 w 2472"/>
                  <a:gd name="T21" fmla="*/ 1027 h 1029"/>
                  <a:gd name="T22" fmla="*/ 0 w 2472"/>
                  <a:gd name="T23" fmla="*/ 1027 h 1029"/>
                  <a:gd name="T24" fmla="*/ 48 w 2472"/>
                  <a:gd name="T25" fmla="*/ 938 h 1029"/>
                  <a:gd name="T26" fmla="*/ 100 w 2472"/>
                  <a:gd name="T27" fmla="*/ 852 h 1029"/>
                  <a:gd name="T28" fmla="*/ 152 w 2472"/>
                  <a:gd name="T29" fmla="*/ 767 h 1029"/>
                  <a:gd name="T30" fmla="*/ 210 w 2472"/>
                  <a:gd name="T31" fmla="*/ 683 h 1029"/>
                  <a:gd name="T32" fmla="*/ 270 w 2472"/>
                  <a:gd name="T33" fmla="*/ 606 h 1029"/>
                  <a:gd name="T34" fmla="*/ 334 w 2472"/>
                  <a:gd name="T35" fmla="*/ 531 h 1029"/>
                  <a:gd name="T36" fmla="*/ 404 w 2472"/>
                  <a:gd name="T37" fmla="*/ 461 h 1029"/>
                  <a:gd name="T38" fmla="*/ 479 w 2472"/>
                  <a:gd name="T39" fmla="*/ 396 h 1029"/>
                  <a:gd name="T40" fmla="*/ 560 w 2472"/>
                  <a:gd name="T41" fmla="*/ 336 h 1029"/>
                  <a:gd name="T42" fmla="*/ 647 w 2472"/>
                  <a:gd name="T43" fmla="*/ 284 h 1029"/>
                  <a:gd name="T44" fmla="*/ 744 w 2472"/>
                  <a:gd name="T45" fmla="*/ 235 h 1029"/>
                  <a:gd name="T46" fmla="*/ 842 w 2472"/>
                  <a:gd name="T47" fmla="*/ 195 h 1029"/>
                  <a:gd name="T48" fmla="*/ 941 w 2472"/>
                  <a:gd name="T49" fmla="*/ 162 h 1029"/>
                  <a:gd name="T50" fmla="*/ 1043 w 2472"/>
                  <a:gd name="T51" fmla="*/ 133 h 1029"/>
                  <a:gd name="T52" fmla="*/ 1148 w 2472"/>
                  <a:gd name="T53" fmla="*/ 108 h 1029"/>
                  <a:gd name="T54" fmla="*/ 1320 w 2472"/>
                  <a:gd name="T55" fmla="*/ 75 h 1029"/>
                  <a:gd name="T56" fmla="*/ 1492 w 2472"/>
                  <a:gd name="T57" fmla="*/ 50 h 1029"/>
                  <a:gd name="T58" fmla="*/ 1666 w 2472"/>
                  <a:gd name="T59" fmla="*/ 32 h 1029"/>
                  <a:gd name="T60" fmla="*/ 1842 w 2472"/>
                  <a:gd name="T61" fmla="*/ 21 h 1029"/>
                  <a:gd name="T62" fmla="*/ 2138 w 2472"/>
                  <a:gd name="T63" fmla="*/ 9 h 1029"/>
                  <a:gd name="T64" fmla="*/ 2433 w 2472"/>
                  <a:gd name="T65" fmla="*/ 0 h 1029"/>
                  <a:gd name="T66" fmla="*/ 2451 w 2472"/>
                  <a:gd name="T67" fmla="*/ 0 h 10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72" h="1029">
                    <a:moveTo>
                      <a:pt x="2451" y="0"/>
                    </a:moveTo>
                    <a:lnTo>
                      <a:pt x="2472" y="0"/>
                    </a:lnTo>
                    <a:lnTo>
                      <a:pt x="2426" y="94"/>
                    </a:lnTo>
                    <a:lnTo>
                      <a:pt x="2379" y="185"/>
                    </a:lnTo>
                    <a:lnTo>
                      <a:pt x="1977" y="1004"/>
                    </a:lnTo>
                    <a:lnTo>
                      <a:pt x="1967" y="1018"/>
                    </a:lnTo>
                    <a:lnTo>
                      <a:pt x="1956" y="1027"/>
                    </a:lnTo>
                    <a:lnTo>
                      <a:pt x="1937" y="1029"/>
                    </a:lnTo>
                    <a:lnTo>
                      <a:pt x="23" y="1029"/>
                    </a:lnTo>
                    <a:lnTo>
                      <a:pt x="17" y="1027"/>
                    </a:lnTo>
                    <a:lnTo>
                      <a:pt x="9" y="1027"/>
                    </a:lnTo>
                    <a:lnTo>
                      <a:pt x="0" y="1027"/>
                    </a:lnTo>
                    <a:lnTo>
                      <a:pt x="48" y="938"/>
                    </a:lnTo>
                    <a:lnTo>
                      <a:pt x="100" y="852"/>
                    </a:lnTo>
                    <a:lnTo>
                      <a:pt x="152" y="767"/>
                    </a:lnTo>
                    <a:lnTo>
                      <a:pt x="210" y="683"/>
                    </a:lnTo>
                    <a:lnTo>
                      <a:pt x="270" y="606"/>
                    </a:lnTo>
                    <a:lnTo>
                      <a:pt x="334" y="531"/>
                    </a:lnTo>
                    <a:lnTo>
                      <a:pt x="404" y="461"/>
                    </a:lnTo>
                    <a:lnTo>
                      <a:pt x="479" y="396"/>
                    </a:lnTo>
                    <a:lnTo>
                      <a:pt x="560" y="336"/>
                    </a:lnTo>
                    <a:lnTo>
                      <a:pt x="647" y="284"/>
                    </a:lnTo>
                    <a:lnTo>
                      <a:pt x="744" y="235"/>
                    </a:lnTo>
                    <a:lnTo>
                      <a:pt x="842" y="195"/>
                    </a:lnTo>
                    <a:lnTo>
                      <a:pt x="941" y="162"/>
                    </a:lnTo>
                    <a:lnTo>
                      <a:pt x="1043" y="133"/>
                    </a:lnTo>
                    <a:lnTo>
                      <a:pt x="1148" y="108"/>
                    </a:lnTo>
                    <a:lnTo>
                      <a:pt x="1320" y="75"/>
                    </a:lnTo>
                    <a:lnTo>
                      <a:pt x="1492" y="50"/>
                    </a:lnTo>
                    <a:lnTo>
                      <a:pt x="1666" y="32"/>
                    </a:lnTo>
                    <a:lnTo>
                      <a:pt x="1842" y="21"/>
                    </a:lnTo>
                    <a:lnTo>
                      <a:pt x="2138" y="9"/>
                    </a:lnTo>
                    <a:lnTo>
                      <a:pt x="2433" y="0"/>
                    </a:lnTo>
                    <a:lnTo>
                      <a:pt x="2451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 sz="1801"/>
              </a:p>
            </p:txBody>
          </p:sp>
        </p:grpSp>
      </p:grpSp>
      <p:sp>
        <p:nvSpPr>
          <p:cNvPr id="17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9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197E883-74D9-DD49-9664-52FC49ABA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520828"/>
            <a:ext cx="11176000" cy="42846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69" y="6495906"/>
            <a:ext cx="472889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215"/>
            <a:fld id="{B9D7DBFB-DCE9-42BC-A361-A0671D12ADFC}" type="slidenum">
              <a:rPr lang="it-IT" sz="1001" smtClean="0">
                <a:solidFill>
                  <a:schemeClr val="tx2"/>
                </a:solidFill>
              </a:rPr>
              <a:pPr defTabSz="1219215"/>
              <a:t>‹N›</a:t>
            </a:fld>
            <a:endParaRPr lang="it-IT" sz="1001">
              <a:solidFill>
                <a:schemeClr val="tx2"/>
              </a:solidFill>
            </a:endParaRPr>
          </a:p>
        </p:txBody>
      </p:sp>
      <p:sp>
        <p:nvSpPr>
          <p:cNvPr id="3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3" y="6414802"/>
            <a:ext cx="1210268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215"/>
            <a:r>
              <a:rPr lang="it-IT"/>
              <a:t>Formato data GG/MM/AAAA</a:t>
            </a:r>
          </a:p>
        </p:txBody>
      </p:sp>
      <p:sp>
        <p:nvSpPr>
          <p:cNvPr id="3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62" y="6551995"/>
            <a:ext cx="84657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215"/>
            <a:r>
              <a:rPr lang="en-GB"/>
              <a:t>Titolo presentazione   I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845414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SSO1_COPY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0"/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8169" y="0"/>
            <a:ext cx="472889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1"/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6077" y="90427"/>
            <a:ext cx="346160" cy="234428"/>
            <a:chOff x="-560" y="-1287"/>
            <a:chExt cx="6379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 sz="1801"/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 sz="1801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 sz="1801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 sz="1801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 sz="1801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 sz="1801"/>
            </a:p>
          </p:txBody>
        </p:sp>
      </p:grp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69" y="6495906"/>
            <a:ext cx="472889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215"/>
            <a:fld id="{B9D7DBFB-DCE9-42BC-A361-A0671D12ADFC}" type="slidenum">
              <a:rPr lang="it-IT" sz="1001" smtClean="0">
                <a:solidFill>
                  <a:schemeClr val="tx2"/>
                </a:solidFill>
              </a:rPr>
              <a:pPr defTabSz="1219215"/>
              <a:t>‹N›</a:t>
            </a:fld>
            <a:endParaRPr lang="it-IT" sz="1001">
              <a:solidFill>
                <a:schemeClr val="tx2"/>
              </a:solidFill>
            </a:endParaRP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3"/>
            <a:ext cx="11176000" cy="490378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  <p:sp>
        <p:nvSpPr>
          <p:cNvPr id="1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3" y="6414802"/>
            <a:ext cx="1210268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215"/>
            <a:r>
              <a:rPr lang="it-IT"/>
              <a:t>Formato data GG/MM/AAAA</a:t>
            </a:r>
          </a:p>
        </p:txBody>
      </p:sp>
      <p:sp>
        <p:nvSpPr>
          <p:cNvPr id="1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62" y="6551995"/>
            <a:ext cx="84657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215"/>
            <a:r>
              <a:rPr lang="en-GB"/>
              <a:t>Titolo presentazione   I   Nome relatore</a:t>
            </a:r>
          </a:p>
        </p:txBody>
      </p:sp>
      <p:pic>
        <p:nvPicPr>
          <p:cNvPr id="18" name="Immagine 17"/>
          <p:cNvPicPr>
            <a:picLocks noChangeAspect="1"/>
          </p:cNvPicPr>
          <p:nvPr userDrawn="1"/>
        </p:nvPicPr>
        <p:blipFill>
          <a:blip r:embed="rId2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69" y="6300000"/>
            <a:ext cx="1237294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6422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28ACBD-F73B-41EC-96DB-CBC845CD96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2860DA-88B8-4FC3-8BD8-ACA15EA3100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7154892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577975"/>
            <a:ext cx="11176621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3295199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5"/>
            <a:ext cx="11176620" cy="422751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6325418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9819959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magin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  <p:sp>
        <p:nvSpPr>
          <p:cNvPr id="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1"/>
            <a:ext cx="11176000" cy="203199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383545514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2613875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4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7122959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0370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8538232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7337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0" y="1552575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015145481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88" y="1521699"/>
            <a:ext cx="5688012" cy="4283789"/>
          </a:xfrm>
        </p:spPr>
        <p:txBody>
          <a:bodyPr/>
          <a:lstStyle/>
          <a:p>
            <a:pPr lvl="0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16233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0" y="19034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0" y="26520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0" y="29321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36807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0" y="39608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094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0" y="49895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72715236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40124133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magin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  <p:sp>
        <p:nvSpPr>
          <p:cNvPr id="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1"/>
            <a:ext cx="11176000" cy="203199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158454279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4956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9932025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60352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4121489422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0041140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4956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6000871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87367044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8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8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3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3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19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19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2991239236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8083571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SO1_Titolo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" name="Rettangolo 1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466584B-8BD1-48B2-BD0C-DC7DD5380BEF}"/>
                </a:ext>
              </a:extLst>
            </p:cNvPr>
            <p:cNvSpPr/>
            <p:nvPr userDrawn="1"/>
          </p:nvSpPr>
          <p:spPr>
            <a:xfrm>
              <a:off x="11718170" y="0"/>
              <a:ext cx="47288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93527B5-7425-47AC-89C0-2B32AE60168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1786074" y="90427"/>
              <a:ext cx="346160" cy="234428"/>
              <a:chOff x="-560" y="-1287"/>
              <a:chExt cx="6379" cy="4320"/>
            </a:xfrm>
          </p:grpSpPr>
          <p:sp>
            <p:nvSpPr>
              <p:cNvPr id="24" name="AutoShape 3">
                <a:extLst>
                  <a:ext uri="{FF2B5EF4-FFF2-40B4-BE49-F238E27FC236}">
                    <a16:creationId xmlns:a16="http://schemas.microsoft.com/office/drawing/2014/main" id="{85DBAE22-A53B-46F6-A1C2-9F9E40807B3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B355A452-2788-4C68-9C15-CC51FD59A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B83AE660-1A7F-4C22-9AF1-535B2E94E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" y="423"/>
                <a:ext cx="5536" cy="2610"/>
              </a:xfrm>
              <a:custGeom>
                <a:avLst/>
                <a:gdLst>
                  <a:gd name="T0" fmla="*/ 5536 w 5536"/>
                  <a:gd name="T1" fmla="*/ 0 h 2610"/>
                  <a:gd name="T2" fmla="*/ 5470 w 5536"/>
                  <a:gd name="T3" fmla="*/ 127 h 2610"/>
                  <a:gd name="T4" fmla="*/ 5449 w 5536"/>
                  <a:gd name="T5" fmla="*/ 139 h 2610"/>
                  <a:gd name="T6" fmla="*/ 5061 w 5536"/>
                  <a:gd name="T7" fmla="*/ 164 h 2610"/>
                  <a:gd name="T8" fmla="*/ 4881 w 5536"/>
                  <a:gd name="T9" fmla="*/ 189 h 2610"/>
                  <a:gd name="T10" fmla="*/ 4722 w 5536"/>
                  <a:gd name="T11" fmla="*/ 247 h 2610"/>
                  <a:gd name="T12" fmla="*/ 4585 w 5536"/>
                  <a:gd name="T13" fmla="*/ 336 h 2610"/>
                  <a:gd name="T14" fmla="*/ 4471 w 5536"/>
                  <a:gd name="T15" fmla="*/ 460 h 2610"/>
                  <a:gd name="T16" fmla="*/ 4380 w 5536"/>
                  <a:gd name="T17" fmla="*/ 618 h 2610"/>
                  <a:gd name="T18" fmla="*/ 4338 w 5536"/>
                  <a:gd name="T19" fmla="*/ 757 h 2610"/>
                  <a:gd name="T20" fmla="*/ 4318 w 5536"/>
                  <a:gd name="T21" fmla="*/ 902 h 2610"/>
                  <a:gd name="T22" fmla="*/ 4305 w 5536"/>
                  <a:gd name="T23" fmla="*/ 1107 h 2610"/>
                  <a:gd name="T24" fmla="*/ 4278 w 5536"/>
                  <a:gd name="T25" fmla="*/ 1312 h 2610"/>
                  <a:gd name="T26" fmla="*/ 4208 w 5536"/>
                  <a:gd name="T27" fmla="*/ 1538 h 2610"/>
                  <a:gd name="T28" fmla="*/ 4100 w 5536"/>
                  <a:gd name="T29" fmla="*/ 1768 h 2610"/>
                  <a:gd name="T30" fmla="*/ 3963 w 5536"/>
                  <a:gd name="T31" fmla="*/ 1971 h 2610"/>
                  <a:gd name="T32" fmla="*/ 3800 w 5536"/>
                  <a:gd name="T33" fmla="*/ 2146 h 2610"/>
                  <a:gd name="T34" fmla="*/ 3609 w 5536"/>
                  <a:gd name="T35" fmla="*/ 2293 h 2610"/>
                  <a:gd name="T36" fmla="*/ 3391 w 5536"/>
                  <a:gd name="T37" fmla="*/ 2413 h 2610"/>
                  <a:gd name="T38" fmla="*/ 3145 w 5536"/>
                  <a:gd name="T39" fmla="*/ 2504 h 2610"/>
                  <a:gd name="T40" fmla="*/ 2911 w 5536"/>
                  <a:gd name="T41" fmla="*/ 2552 h 2610"/>
                  <a:gd name="T42" fmla="*/ 2671 w 5536"/>
                  <a:gd name="T43" fmla="*/ 2585 h 2610"/>
                  <a:gd name="T44" fmla="*/ 2378 w 5536"/>
                  <a:gd name="T45" fmla="*/ 2608 h 2610"/>
                  <a:gd name="T46" fmla="*/ 2084 w 5536"/>
                  <a:gd name="T47" fmla="*/ 2608 h 2610"/>
                  <a:gd name="T48" fmla="*/ 54 w 5536"/>
                  <a:gd name="T49" fmla="*/ 2608 h 2610"/>
                  <a:gd name="T50" fmla="*/ 0 w 5536"/>
                  <a:gd name="T51" fmla="*/ 2608 h 2610"/>
                  <a:gd name="T52" fmla="*/ 64 w 5536"/>
                  <a:gd name="T53" fmla="*/ 2477 h 2610"/>
                  <a:gd name="T54" fmla="*/ 93 w 5536"/>
                  <a:gd name="T55" fmla="*/ 2436 h 2610"/>
                  <a:gd name="T56" fmla="*/ 143 w 5536"/>
                  <a:gd name="T57" fmla="*/ 2426 h 2610"/>
                  <a:gd name="T58" fmla="*/ 1098 w 5536"/>
                  <a:gd name="T59" fmla="*/ 2419 h 2610"/>
                  <a:gd name="T60" fmla="*/ 1469 w 5536"/>
                  <a:gd name="T61" fmla="*/ 2396 h 2610"/>
                  <a:gd name="T62" fmla="*/ 1753 w 5536"/>
                  <a:gd name="T63" fmla="*/ 2368 h 2610"/>
                  <a:gd name="T64" fmla="*/ 1947 w 5536"/>
                  <a:gd name="T65" fmla="*/ 2336 h 2610"/>
                  <a:gd name="T66" fmla="*/ 2155 w 5536"/>
                  <a:gd name="T67" fmla="*/ 2268 h 2610"/>
                  <a:gd name="T68" fmla="*/ 2362 w 5536"/>
                  <a:gd name="T69" fmla="*/ 2162 h 2610"/>
                  <a:gd name="T70" fmla="*/ 2540 w 5536"/>
                  <a:gd name="T71" fmla="*/ 2028 h 2610"/>
                  <a:gd name="T72" fmla="*/ 2687 w 5536"/>
                  <a:gd name="T73" fmla="*/ 1866 h 2610"/>
                  <a:gd name="T74" fmla="*/ 2807 w 5536"/>
                  <a:gd name="T75" fmla="*/ 1675 h 2610"/>
                  <a:gd name="T76" fmla="*/ 2896 w 5536"/>
                  <a:gd name="T77" fmla="*/ 1453 h 2610"/>
                  <a:gd name="T78" fmla="*/ 3064 w 5536"/>
                  <a:gd name="T79" fmla="*/ 881 h 2610"/>
                  <a:gd name="T80" fmla="*/ 3108 w 5536"/>
                  <a:gd name="T81" fmla="*/ 732 h 2610"/>
                  <a:gd name="T82" fmla="*/ 3170 w 5536"/>
                  <a:gd name="T83" fmla="*/ 591 h 2610"/>
                  <a:gd name="T84" fmla="*/ 3290 w 5536"/>
                  <a:gd name="T85" fmla="*/ 423 h 2610"/>
                  <a:gd name="T86" fmla="*/ 3431 w 5536"/>
                  <a:gd name="T87" fmla="*/ 288 h 2610"/>
                  <a:gd name="T88" fmla="*/ 3595 w 5536"/>
                  <a:gd name="T89" fmla="*/ 187 h 2610"/>
                  <a:gd name="T90" fmla="*/ 3785 w 5536"/>
                  <a:gd name="T91" fmla="*/ 122 h 2610"/>
                  <a:gd name="T92" fmla="*/ 4003 w 5536"/>
                  <a:gd name="T93" fmla="*/ 91 h 2610"/>
                  <a:gd name="T94" fmla="*/ 4235 w 5536"/>
                  <a:gd name="T95" fmla="*/ 79 h 2610"/>
                  <a:gd name="T96" fmla="*/ 5498 w 5536"/>
                  <a:gd name="T97" fmla="*/ 0 h 2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536" h="2610">
                    <a:moveTo>
                      <a:pt x="5515" y="0"/>
                    </a:moveTo>
                    <a:lnTo>
                      <a:pt x="5536" y="0"/>
                    </a:lnTo>
                    <a:lnTo>
                      <a:pt x="5503" y="66"/>
                    </a:lnTo>
                    <a:lnTo>
                      <a:pt x="5470" y="127"/>
                    </a:lnTo>
                    <a:lnTo>
                      <a:pt x="5463" y="135"/>
                    </a:lnTo>
                    <a:lnTo>
                      <a:pt x="5449" y="139"/>
                    </a:lnTo>
                    <a:lnTo>
                      <a:pt x="5436" y="141"/>
                    </a:lnTo>
                    <a:lnTo>
                      <a:pt x="5061" y="164"/>
                    </a:lnTo>
                    <a:lnTo>
                      <a:pt x="4968" y="172"/>
                    </a:lnTo>
                    <a:lnTo>
                      <a:pt x="4881" y="189"/>
                    </a:lnTo>
                    <a:lnTo>
                      <a:pt x="4798" y="214"/>
                    </a:lnTo>
                    <a:lnTo>
                      <a:pt x="4722" y="247"/>
                    </a:lnTo>
                    <a:lnTo>
                      <a:pt x="4651" y="288"/>
                    </a:lnTo>
                    <a:lnTo>
                      <a:pt x="4585" y="336"/>
                    </a:lnTo>
                    <a:lnTo>
                      <a:pt x="4525" y="394"/>
                    </a:lnTo>
                    <a:lnTo>
                      <a:pt x="4471" y="460"/>
                    </a:lnTo>
                    <a:lnTo>
                      <a:pt x="4423" y="535"/>
                    </a:lnTo>
                    <a:lnTo>
                      <a:pt x="4380" y="618"/>
                    </a:lnTo>
                    <a:lnTo>
                      <a:pt x="4353" y="686"/>
                    </a:lnTo>
                    <a:lnTo>
                      <a:pt x="4338" y="757"/>
                    </a:lnTo>
                    <a:lnTo>
                      <a:pt x="4326" y="829"/>
                    </a:lnTo>
                    <a:lnTo>
                      <a:pt x="4318" y="902"/>
                    </a:lnTo>
                    <a:lnTo>
                      <a:pt x="4311" y="1004"/>
                    </a:lnTo>
                    <a:lnTo>
                      <a:pt x="4305" y="1107"/>
                    </a:lnTo>
                    <a:lnTo>
                      <a:pt x="4295" y="1209"/>
                    </a:lnTo>
                    <a:lnTo>
                      <a:pt x="4278" y="1312"/>
                    </a:lnTo>
                    <a:lnTo>
                      <a:pt x="4253" y="1412"/>
                    </a:lnTo>
                    <a:lnTo>
                      <a:pt x="4208" y="1538"/>
                    </a:lnTo>
                    <a:lnTo>
                      <a:pt x="4158" y="1656"/>
                    </a:lnTo>
                    <a:lnTo>
                      <a:pt x="4100" y="1768"/>
                    </a:lnTo>
                    <a:lnTo>
                      <a:pt x="4034" y="1872"/>
                    </a:lnTo>
                    <a:lnTo>
                      <a:pt x="3963" y="1971"/>
                    </a:lnTo>
                    <a:lnTo>
                      <a:pt x="3885" y="2061"/>
                    </a:lnTo>
                    <a:lnTo>
                      <a:pt x="3800" y="2146"/>
                    </a:lnTo>
                    <a:lnTo>
                      <a:pt x="3708" y="2224"/>
                    </a:lnTo>
                    <a:lnTo>
                      <a:pt x="3609" y="2293"/>
                    </a:lnTo>
                    <a:lnTo>
                      <a:pt x="3503" y="2357"/>
                    </a:lnTo>
                    <a:lnTo>
                      <a:pt x="3391" y="2413"/>
                    </a:lnTo>
                    <a:lnTo>
                      <a:pt x="3271" y="2461"/>
                    </a:lnTo>
                    <a:lnTo>
                      <a:pt x="3145" y="2504"/>
                    </a:lnTo>
                    <a:lnTo>
                      <a:pt x="3029" y="2533"/>
                    </a:lnTo>
                    <a:lnTo>
                      <a:pt x="2911" y="2552"/>
                    </a:lnTo>
                    <a:lnTo>
                      <a:pt x="2791" y="2569"/>
                    </a:lnTo>
                    <a:lnTo>
                      <a:pt x="2671" y="2585"/>
                    </a:lnTo>
                    <a:lnTo>
                      <a:pt x="2525" y="2602"/>
                    </a:lnTo>
                    <a:lnTo>
                      <a:pt x="2378" y="2608"/>
                    </a:lnTo>
                    <a:lnTo>
                      <a:pt x="2231" y="2610"/>
                    </a:lnTo>
                    <a:lnTo>
                      <a:pt x="2084" y="2608"/>
                    </a:lnTo>
                    <a:lnTo>
                      <a:pt x="1937" y="2608"/>
                    </a:lnTo>
                    <a:lnTo>
                      <a:pt x="54" y="2608"/>
                    </a:lnTo>
                    <a:lnTo>
                      <a:pt x="0" y="2608"/>
                    </a:lnTo>
                    <a:lnTo>
                      <a:pt x="0" y="2608"/>
                    </a:lnTo>
                    <a:lnTo>
                      <a:pt x="33" y="2540"/>
                    </a:lnTo>
                    <a:lnTo>
                      <a:pt x="64" y="2477"/>
                    </a:lnTo>
                    <a:lnTo>
                      <a:pt x="75" y="2452"/>
                    </a:lnTo>
                    <a:lnTo>
                      <a:pt x="93" y="2436"/>
                    </a:lnTo>
                    <a:lnTo>
                      <a:pt x="114" y="2428"/>
                    </a:lnTo>
                    <a:lnTo>
                      <a:pt x="143" y="2426"/>
                    </a:lnTo>
                    <a:lnTo>
                      <a:pt x="621" y="2426"/>
                    </a:lnTo>
                    <a:lnTo>
                      <a:pt x="1098" y="2419"/>
                    </a:lnTo>
                    <a:lnTo>
                      <a:pt x="1284" y="2409"/>
                    </a:lnTo>
                    <a:lnTo>
                      <a:pt x="1469" y="2396"/>
                    </a:lnTo>
                    <a:lnTo>
                      <a:pt x="1655" y="2378"/>
                    </a:lnTo>
                    <a:lnTo>
                      <a:pt x="1753" y="2368"/>
                    </a:lnTo>
                    <a:lnTo>
                      <a:pt x="1850" y="2355"/>
                    </a:lnTo>
                    <a:lnTo>
                      <a:pt x="1947" y="2336"/>
                    </a:lnTo>
                    <a:lnTo>
                      <a:pt x="2043" y="2311"/>
                    </a:lnTo>
                    <a:lnTo>
                      <a:pt x="2155" y="2268"/>
                    </a:lnTo>
                    <a:lnTo>
                      <a:pt x="2264" y="2218"/>
                    </a:lnTo>
                    <a:lnTo>
                      <a:pt x="2362" y="2162"/>
                    </a:lnTo>
                    <a:lnTo>
                      <a:pt x="2455" y="2098"/>
                    </a:lnTo>
                    <a:lnTo>
                      <a:pt x="2540" y="2028"/>
                    </a:lnTo>
                    <a:lnTo>
                      <a:pt x="2617" y="1951"/>
                    </a:lnTo>
                    <a:lnTo>
                      <a:pt x="2687" y="1866"/>
                    </a:lnTo>
                    <a:lnTo>
                      <a:pt x="2751" y="1773"/>
                    </a:lnTo>
                    <a:lnTo>
                      <a:pt x="2807" y="1675"/>
                    </a:lnTo>
                    <a:lnTo>
                      <a:pt x="2855" y="1569"/>
                    </a:lnTo>
                    <a:lnTo>
                      <a:pt x="2896" y="1453"/>
                    </a:lnTo>
                    <a:lnTo>
                      <a:pt x="2983" y="1167"/>
                    </a:lnTo>
                    <a:lnTo>
                      <a:pt x="3064" y="881"/>
                    </a:lnTo>
                    <a:lnTo>
                      <a:pt x="3085" y="805"/>
                    </a:lnTo>
                    <a:lnTo>
                      <a:pt x="3108" y="732"/>
                    </a:lnTo>
                    <a:lnTo>
                      <a:pt x="3135" y="661"/>
                    </a:lnTo>
                    <a:lnTo>
                      <a:pt x="3170" y="591"/>
                    </a:lnTo>
                    <a:lnTo>
                      <a:pt x="3226" y="502"/>
                    </a:lnTo>
                    <a:lnTo>
                      <a:pt x="3290" y="423"/>
                    </a:lnTo>
                    <a:lnTo>
                      <a:pt x="3358" y="351"/>
                    </a:lnTo>
                    <a:lnTo>
                      <a:pt x="3431" y="288"/>
                    </a:lnTo>
                    <a:lnTo>
                      <a:pt x="3510" y="234"/>
                    </a:lnTo>
                    <a:lnTo>
                      <a:pt x="3595" y="187"/>
                    </a:lnTo>
                    <a:lnTo>
                      <a:pt x="3688" y="151"/>
                    </a:lnTo>
                    <a:lnTo>
                      <a:pt x="3785" y="122"/>
                    </a:lnTo>
                    <a:lnTo>
                      <a:pt x="3887" y="102"/>
                    </a:lnTo>
                    <a:lnTo>
                      <a:pt x="4003" y="91"/>
                    </a:lnTo>
                    <a:lnTo>
                      <a:pt x="4119" y="85"/>
                    </a:lnTo>
                    <a:lnTo>
                      <a:pt x="4235" y="79"/>
                    </a:lnTo>
                    <a:lnTo>
                      <a:pt x="4923" y="35"/>
                    </a:lnTo>
                    <a:lnTo>
                      <a:pt x="5498" y="0"/>
                    </a:lnTo>
                    <a:lnTo>
                      <a:pt x="5515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BE6F8E9-24BA-47B8-9CCD-E18AD0A4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" y="-1283"/>
                <a:ext cx="4960" cy="1437"/>
              </a:xfrm>
              <a:custGeom>
                <a:avLst/>
                <a:gdLst>
                  <a:gd name="T0" fmla="*/ 4896 w 4960"/>
                  <a:gd name="T1" fmla="*/ 0 h 1437"/>
                  <a:gd name="T2" fmla="*/ 4960 w 4960"/>
                  <a:gd name="T3" fmla="*/ 0 h 1437"/>
                  <a:gd name="T4" fmla="*/ 4935 w 4960"/>
                  <a:gd name="T5" fmla="*/ 46 h 1437"/>
                  <a:gd name="T6" fmla="*/ 4912 w 4960"/>
                  <a:gd name="T7" fmla="*/ 89 h 1437"/>
                  <a:gd name="T8" fmla="*/ 4892 w 4960"/>
                  <a:gd name="T9" fmla="*/ 131 h 1437"/>
                  <a:gd name="T10" fmla="*/ 4879 w 4960"/>
                  <a:gd name="T11" fmla="*/ 162 h 1437"/>
                  <a:gd name="T12" fmla="*/ 4860 w 4960"/>
                  <a:gd name="T13" fmla="*/ 181 h 1437"/>
                  <a:gd name="T14" fmla="*/ 4838 w 4960"/>
                  <a:gd name="T15" fmla="*/ 195 h 1437"/>
                  <a:gd name="T16" fmla="*/ 4809 w 4960"/>
                  <a:gd name="T17" fmla="*/ 201 h 1437"/>
                  <a:gd name="T18" fmla="*/ 4776 w 4960"/>
                  <a:gd name="T19" fmla="*/ 203 h 1437"/>
                  <a:gd name="T20" fmla="*/ 4287 w 4960"/>
                  <a:gd name="T21" fmla="*/ 201 h 1437"/>
                  <a:gd name="T22" fmla="*/ 3798 w 4960"/>
                  <a:gd name="T23" fmla="*/ 203 h 1437"/>
                  <a:gd name="T24" fmla="*/ 3590 w 4960"/>
                  <a:gd name="T25" fmla="*/ 207 h 1437"/>
                  <a:gd name="T26" fmla="*/ 3381 w 4960"/>
                  <a:gd name="T27" fmla="*/ 216 h 1437"/>
                  <a:gd name="T28" fmla="*/ 3172 w 4960"/>
                  <a:gd name="T29" fmla="*/ 234 h 1437"/>
                  <a:gd name="T30" fmla="*/ 2965 w 4960"/>
                  <a:gd name="T31" fmla="*/ 261 h 1437"/>
                  <a:gd name="T32" fmla="*/ 2826 w 4960"/>
                  <a:gd name="T33" fmla="*/ 284 h 1437"/>
                  <a:gd name="T34" fmla="*/ 2689 w 4960"/>
                  <a:gd name="T35" fmla="*/ 313 h 1437"/>
                  <a:gd name="T36" fmla="*/ 2554 w 4960"/>
                  <a:gd name="T37" fmla="*/ 350 h 1437"/>
                  <a:gd name="T38" fmla="*/ 2420 w 4960"/>
                  <a:gd name="T39" fmla="*/ 394 h 1437"/>
                  <a:gd name="T40" fmla="*/ 2289 w 4960"/>
                  <a:gd name="T41" fmla="*/ 446 h 1437"/>
                  <a:gd name="T42" fmla="*/ 2161 w 4960"/>
                  <a:gd name="T43" fmla="*/ 508 h 1437"/>
                  <a:gd name="T44" fmla="*/ 2047 w 4960"/>
                  <a:gd name="T45" fmla="*/ 576 h 1437"/>
                  <a:gd name="T46" fmla="*/ 1941 w 4960"/>
                  <a:gd name="T47" fmla="*/ 651 h 1437"/>
                  <a:gd name="T48" fmla="*/ 1840 w 4960"/>
                  <a:gd name="T49" fmla="*/ 734 h 1437"/>
                  <a:gd name="T50" fmla="*/ 1746 w 4960"/>
                  <a:gd name="T51" fmla="*/ 823 h 1437"/>
                  <a:gd name="T52" fmla="*/ 1660 w 4960"/>
                  <a:gd name="T53" fmla="*/ 921 h 1437"/>
                  <a:gd name="T54" fmla="*/ 1579 w 4960"/>
                  <a:gd name="T55" fmla="*/ 1026 h 1437"/>
                  <a:gd name="T56" fmla="*/ 1496 w 4960"/>
                  <a:gd name="T57" fmla="*/ 1151 h 1437"/>
                  <a:gd name="T58" fmla="*/ 1417 w 4960"/>
                  <a:gd name="T59" fmla="*/ 1281 h 1437"/>
                  <a:gd name="T60" fmla="*/ 1338 w 4960"/>
                  <a:gd name="T61" fmla="*/ 1410 h 1437"/>
                  <a:gd name="T62" fmla="*/ 1326 w 4960"/>
                  <a:gd name="T63" fmla="*/ 1426 h 1437"/>
                  <a:gd name="T64" fmla="*/ 1313 w 4960"/>
                  <a:gd name="T65" fmla="*/ 1433 h 1437"/>
                  <a:gd name="T66" fmla="*/ 1295 w 4960"/>
                  <a:gd name="T67" fmla="*/ 1437 h 1437"/>
                  <a:gd name="T68" fmla="*/ 37 w 4960"/>
                  <a:gd name="T69" fmla="*/ 1437 h 1437"/>
                  <a:gd name="T70" fmla="*/ 21 w 4960"/>
                  <a:gd name="T71" fmla="*/ 1435 h 1437"/>
                  <a:gd name="T72" fmla="*/ 0 w 4960"/>
                  <a:gd name="T73" fmla="*/ 1435 h 1437"/>
                  <a:gd name="T74" fmla="*/ 64 w 4960"/>
                  <a:gd name="T75" fmla="*/ 1310 h 1437"/>
                  <a:gd name="T76" fmla="*/ 126 w 4960"/>
                  <a:gd name="T77" fmla="*/ 1186 h 1437"/>
                  <a:gd name="T78" fmla="*/ 186 w 4960"/>
                  <a:gd name="T79" fmla="*/ 1061 h 1437"/>
                  <a:gd name="T80" fmla="*/ 247 w 4960"/>
                  <a:gd name="T81" fmla="*/ 937 h 1437"/>
                  <a:gd name="T82" fmla="*/ 315 w 4960"/>
                  <a:gd name="T83" fmla="*/ 817 h 1437"/>
                  <a:gd name="T84" fmla="*/ 389 w 4960"/>
                  <a:gd name="T85" fmla="*/ 701 h 1437"/>
                  <a:gd name="T86" fmla="*/ 458 w 4960"/>
                  <a:gd name="T87" fmla="*/ 607 h 1437"/>
                  <a:gd name="T88" fmla="*/ 533 w 4960"/>
                  <a:gd name="T89" fmla="*/ 520 h 1437"/>
                  <a:gd name="T90" fmla="*/ 615 w 4960"/>
                  <a:gd name="T91" fmla="*/ 440 h 1437"/>
                  <a:gd name="T92" fmla="*/ 700 w 4960"/>
                  <a:gd name="T93" fmla="*/ 367 h 1437"/>
                  <a:gd name="T94" fmla="*/ 791 w 4960"/>
                  <a:gd name="T95" fmla="*/ 301 h 1437"/>
                  <a:gd name="T96" fmla="*/ 887 w 4960"/>
                  <a:gd name="T97" fmla="*/ 243 h 1437"/>
                  <a:gd name="T98" fmla="*/ 990 w 4960"/>
                  <a:gd name="T99" fmla="*/ 191 h 1437"/>
                  <a:gd name="T100" fmla="*/ 1096 w 4960"/>
                  <a:gd name="T101" fmla="*/ 147 h 1437"/>
                  <a:gd name="T102" fmla="*/ 1206 w 4960"/>
                  <a:gd name="T103" fmla="*/ 108 h 1437"/>
                  <a:gd name="T104" fmla="*/ 1351 w 4960"/>
                  <a:gd name="T105" fmla="*/ 69 h 1437"/>
                  <a:gd name="T106" fmla="*/ 1496 w 4960"/>
                  <a:gd name="T107" fmla="*/ 40 h 1437"/>
                  <a:gd name="T108" fmla="*/ 1645 w 4960"/>
                  <a:gd name="T109" fmla="*/ 21 h 1437"/>
                  <a:gd name="T110" fmla="*/ 1794 w 4960"/>
                  <a:gd name="T111" fmla="*/ 10 h 1437"/>
                  <a:gd name="T112" fmla="*/ 1954 w 4960"/>
                  <a:gd name="T113" fmla="*/ 4 h 1437"/>
                  <a:gd name="T114" fmla="*/ 2117 w 4960"/>
                  <a:gd name="T115" fmla="*/ 2 h 1437"/>
                  <a:gd name="T116" fmla="*/ 4896 w 4960"/>
                  <a:gd name="T117" fmla="*/ 0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60" h="1437">
                    <a:moveTo>
                      <a:pt x="4896" y="0"/>
                    </a:moveTo>
                    <a:lnTo>
                      <a:pt x="4960" y="0"/>
                    </a:lnTo>
                    <a:lnTo>
                      <a:pt x="4935" y="46"/>
                    </a:lnTo>
                    <a:lnTo>
                      <a:pt x="4912" y="89"/>
                    </a:lnTo>
                    <a:lnTo>
                      <a:pt x="4892" y="131"/>
                    </a:lnTo>
                    <a:lnTo>
                      <a:pt x="4879" y="162"/>
                    </a:lnTo>
                    <a:lnTo>
                      <a:pt x="4860" y="181"/>
                    </a:lnTo>
                    <a:lnTo>
                      <a:pt x="4838" y="195"/>
                    </a:lnTo>
                    <a:lnTo>
                      <a:pt x="4809" y="201"/>
                    </a:lnTo>
                    <a:lnTo>
                      <a:pt x="4776" y="203"/>
                    </a:lnTo>
                    <a:lnTo>
                      <a:pt x="4287" y="201"/>
                    </a:lnTo>
                    <a:lnTo>
                      <a:pt x="3798" y="203"/>
                    </a:lnTo>
                    <a:lnTo>
                      <a:pt x="3590" y="207"/>
                    </a:lnTo>
                    <a:lnTo>
                      <a:pt x="3381" y="216"/>
                    </a:lnTo>
                    <a:lnTo>
                      <a:pt x="3172" y="234"/>
                    </a:lnTo>
                    <a:lnTo>
                      <a:pt x="2965" y="261"/>
                    </a:lnTo>
                    <a:lnTo>
                      <a:pt x="2826" y="284"/>
                    </a:lnTo>
                    <a:lnTo>
                      <a:pt x="2689" y="313"/>
                    </a:lnTo>
                    <a:lnTo>
                      <a:pt x="2554" y="350"/>
                    </a:lnTo>
                    <a:lnTo>
                      <a:pt x="2420" y="394"/>
                    </a:lnTo>
                    <a:lnTo>
                      <a:pt x="2289" y="446"/>
                    </a:lnTo>
                    <a:lnTo>
                      <a:pt x="2161" y="508"/>
                    </a:lnTo>
                    <a:lnTo>
                      <a:pt x="2047" y="576"/>
                    </a:lnTo>
                    <a:lnTo>
                      <a:pt x="1941" y="651"/>
                    </a:lnTo>
                    <a:lnTo>
                      <a:pt x="1840" y="734"/>
                    </a:lnTo>
                    <a:lnTo>
                      <a:pt x="1746" y="823"/>
                    </a:lnTo>
                    <a:lnTo>
                      <a:pt x="1660" y="921"/>
                    </a:lnTo>
                    <a:lnTo>
                      <a:pt x="1579" y="1026"/>
                    </a:lnTo>
                    <a:lnTo>
                      <a:pt x="1496" y="1151"/>
                    </a:lnTo>
                    <a:lnTo>
                      <a:pt x="1417" y="1281"/>
                    </a:lnTo>
                    <a:lnTo>
                      <a:pt x="1338" y="1410"/>
                    </a:lnTo>
                    <a:lnTo>
                      <a:pt x="1326" y="1426"/>
                    </a:lnTo>
                    <a:lnTo>
                      <a:pt x="1313" y="1433"/>
                    </a:lnTo>
                    <a:lnTo>
                      <a:pt x="1295" y="1437"/>
                    </a:lnTo>
                    <a:lnTo>
                      <a:pt x="37" y="1437"/>
                    </a:lnTo>
                    <a:lnTo>
                      <a:pt x="21" y="1435"/>
                    </a:lnTo>
                    <a:lnTo>
                      <a:pt x="0" y="1435"/>
                    </a:lnTo>
                    <a:lnTo>
                      <a:pt x="64" y="1310"/>
                    </a:lnTo>
                    <a:lnTo>
                      <a:pt x="126" y="1186"/>
                    </a:lnTo>
                    <a:lnTo>
                      <a:pt x="186" y="1061"/>
                    </a:lnTo>
                    <a:lnTo>
                      <a:pt x="247" y="937"/>
                    </a:lnTo>
                    <a:lnTo>
                      <a:pt x="315" y="817"/>
                    </a:lnTo>
                    <a:lnTo>
                      <a:pt x="389" y="701"/>
                    </a:lnTo>
                    <a:lnTo>
                      <a:pt x="458" y="607"/>
                    </a:lnTo>
                    <a:lnTo>
                      <a:pt x="533" y="520"/>
                    </a:lnTo>
                    <a:lnTo>
                      <a:pt x="615" y="440"/>
                    </a:lnTo>
                    <a:lnTo>
                      <a:pt x="700" y="367"/>
                    </a:lnTo>
                    <a:lnTo>
                      <a:pt x="791" y="301"/>
                    </a:lnTo>
                    <a:lnTo>
                      <a:pt x="887" y="243"/>
                    </a:lnTo>
                    <a:lnTo>
                      <a:pt x="990" y="191"/>
                    </a:lnTo>
                    <a:lnTo>
                      <a:pt x="1096" y="147"/>
                    </a:lnTo>
                    <a:lnTo>
                      <a:pt x="1206" y="108"/>
                    </a:lnTo>
                    <a:lnTo>
                      <a:pt x="1351" y="69"/>
                    </a:lnTo>
                    <a:lnTo>
                      <a:pt x="1496" y="40"/>
                    </a:lnTo>
                    <a:lnTo>
                      <a:pt x="1645" y="21"/>
                    </a:lnTo>
                    <a:lnTo>
                      <a:pt x="1794" y="10"/>
                    </a:lnTo>
                    <a:lnTo>
                      <a:pt x="1954" y="4"/>
                    </a:lnTo>
                    <a:lnTo>
                      <a:pt x="2117" y="2"/>
                    </a:lnTo>
                    <a:lnTo>
                      <a:pt x="4896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61144228-6360-4B55-95F5-F9B22AED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5" y="643"/>
                <a:ext cx="2316" cy="1988"/>
              </a:xfrm>
              <a:custGeom>
                <a:avLst/>
                <a:gdLst>
                  <a:gd name="T0" fmla="*/ 2297 w 2316"/>
                  <a:gd name="T1" fmla="*/ 0 h 1988"/>
                  <a:gd name="T2" fmla="*/ 2316 w 2316"/>
                  <a:gd name="T3" fmla="*/ 0 h 1988"/>
                  <a:gd name="T4" fmla="*/ 2250 w 2316"/>
                  <a:gd name="T5" fmla="*/ 124 h 1988"/>
                  <a:gd name="T6" fmla="*/ 2185 w 2316"/>
                  <a:gd name="T7" fmla="*/ 245 h 1988"/>
                  <a:gd name="T8" fmla="*/ 2038 w 2316"/>
                  <a:gd name="T9" fmla="*/ 510 h 1988"/>
                  <a:gd name="T10" fmla="*/ 1885 w 2316"/>
                  <a:gd name="T11" fmla="*/ 771 h 1988"/>
                  <a:gd name="T12" fmla="*/ 1726 w 2316"/>
                  <a:gd name="T13" fmla="*/ 1028 h 1988"/>
                  <a:gd name="T14" fmla="*/ 1560 w 2316"/>
                  <a:gd name="T15" fmla="*/ 1281 h 1988"/>
                  <a:gd name="T16" fmla="*/ 1496 w 2316"/>
                  <a:gd name="T17" fmla="*/ 1368 h 1988"/>
                  <a:gd name="T18" fmla="*/ 1431 w 2316"/>
                  <a:gd name="T19" fmla="*/ 1455 h 1988"/>
                  <a:gd name="T20" fmla="*/ 1361 w 2316"/>
                  <a:gd name="T21" fmla="*/ 1536 h 1988"/>
                  <a:gd name="T22" fmla="*/ 1286 w 2316"/>
                  <a:gd name="T23" fmla="*/ 1613 h 1988"/>
                  <a:gd name="T24" fmla="*/ 1205 w 2316"/>
                  <a:gd name="T25" fmla="*/ 1685 h 1988"/>
                  <a:gd name="T26" fmla="*/ 1118 w 2316"/>
                  <a:gd name="T27" fmla="*/ 1751 h 1988"/>
                  <a:gd name="T28" fmla="*/ 1036 w 2316"/>
                  <a:gd name="T29" fmla="*/ 1803 h 1988"/>
                  <a:gd name="T30" fmla="*/ 951 w 2316"/>
                  <a:gd name="T31" fmla="*/ 1847 h 1988"/>
                  <a:gd name="T32" fmla="*/ 864 w 2316"/>
                  <a:gd name="T33" fmla="*/ 1884 h 1988"/>
                  <a:gd name="T34" fmla="*/ 773 w 2316"/>
                  <a:gd name="T35" fmla="*/ 1913 h 1988"/>
                  <a:gd name="T36" fmla="*/ 683 w 2316"/>
                  <a:gd name="T37" fmla="*/ 1936 h 1988"/>
                  <a:gd name="T38" fmla="*/ 586 w 2316"/>
                  <a:gd name="T39" fmla="*/ 1953 h 1988"/>
                  <a:gd name="T40" fmla="*/ 449 w 2316"/>
                  <a:gd name="T41" fmla="*/ 1971 h 1988"/>
                  <a:gd name="T42" fmla="*/ 311 w 2316"/>
                  <a:gd name="T43" fmla="*/ 1980 h 1988"/>
                  <a:gd name="T44" fmla="*/ 172 w 2316"/>
                  <a:gd name="T45" fmla="*/ 1986 h 1988"/>
                  <a:gd name="T46" fmla="*/ 33 w 2316"/>
                  <a:gd name="T47" fmla="*/ 1988 h 1988"/>
                  <a:gd name="T48" fmla="*/ 18 w 2316"/>
                  <a:gd name="T49" fmla="*/ 1988 h 1988"/>
                  <a:gd name="T50" fmla="*/ 0 w 2316"/>
                  <a:gd name="T51" fmla="*/ 1988 h 1988"/>
                  <a:gd name="T52" fmla="*/ 8 w 2316"/>
                  <a:gd name="T53" fmla="*/ 1969 h 1988"/>
                  <a:gd name="T54" fmla="*/ 14 w 2316"/>
                  <a:gd name="T55" fmla="*/ 1955 h 1988"/>
                  <a:gd name="T56" fmla="*/ 916 w 2316"/>
                  <a:gd name="T57" fmla="*/ 168 h 1988"/>
                  <a:gd name="T58" fmla="*/ 928 w 2316"/>
                  <a:gd name="T59" fmla="*/ 149 h 1988"/>
                  <a:gd name="T60" fmla="*/ 945 w 2316"/>
                  <a:gd name="T61" fmla="*/ 137 h 1988"/>
                  <a:gd name="T62" fmla="*/ 967 w 2316"/>
                  <a:gd name="T63" fmla="*/ 133 h 1988"/>
                  <a:gd name="T64" fmla="*/ 1753 w 2316"/>
                  <a:gd name="T65" fmla="*/ 54 h 1988"/>
                  <a:gd name="T66" fmla="*/ 2281 w 2316"/>
                  <a:gd name="T67" fmla="*/ 0 h 1988"/>
                  <a:gd name="T68" fmla="*/ 2297 w 2316"/>
                  <a:gd name="T69" fmla="*/ 0 h 1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16" h="1988">
                    <a:moveTo>
                      <a:pt x="2297" y="0"/>
                    </a:moveTo>
                    <a:lnTo>
                      <a:pt x="2316" y="0"/>
                    </a:lnTo>
                    <a:lnTo>
                      <a:pt x="2250" y="124"/>
                    </a:lnTo>
                    <a:lnTo>
                      <a:pt x="2185" y="245"/>
                    </a:lnTo>
                    <a:lnTo>
                      <a:pt x="2038" y="510"/>
                    </a:lnTo>
                    <a:lnTo>
                      <a:pt x="1885" y="771"/>
                    </a:lnTo>
                    <a:lnTo>
                      <a:pt x="1726" y="1028"/>
                    </a:lnTo>
                    <a:lnTo>
                      <a:pt x="1560" y="1281"/>
                    </a:lnTo>
                    <a:lnTo>
                      <a:pt x="1496" y="1368"/>
                    </a:lnTo>
                    <a:lnTo>
                      <a:pt x="1431" y="1455"/>
                    </a:lnTo>
                    <a:lnTo>
                      <a:pt x="1361" y="1536"/>
                    </a:lnTo>
                    <a:lnTo>
                      <a:pt x="1286" y="1613"/>
                    </a:lnTo>
                    <a:lnTo>
                      <a:pt x="1205" y="1685"/>
                    </a:lnTo>
                    <a:lnTo>
                      <a:pt x="1118" y="1751"/>
                    </a:lnTo>
                    <a:lnTo>
                      <a:pt x="1036" y="1803"/>
                    </a:lnTo>
                    <a:lnTo>
                      <a:pt x="951" y="1847"/>
                    </a:lnTo>
                    <a:lnTo>
                      <a:pt x="864" y="1884"/>
                    </a:lnTo>
                    <a:lnTo>
                      <a:pt x="773" y="1913"/>
                    </a:lnTo>
                    <a:lnTo>
                      <a:pt x="683" y="1936"/>
                    </a:lnTo>
                    <a:lnTo>
                      <a:pt x="586" y="1953"/>
                    </a:lnTo>
                    <a:lnTo>
                      <a:pt x="449" y="1971"/>
                    </a:lnTo>
                    <a:lnTo>
                      <a:pt x="311" y="1980"/>
                    </a:lnTo>
                    <a:lnTo>
                      <a:pt x="172" y="1986"/>
                    </a:lnTo>
                    <a:lnTo>
                      <a:pt x="33" y="1988"/>
                    </a:lnTo>
                    <a:lnTo>
                      <a:pt x="18" y="1988"/>
                    </a:lnTo>
                    <a:lnTo>
                      <a:pt x="0" y="1988"/>
                    </a:lnTo>
                    <a:lnTo>
                      <a:pt x="8" y="1969"/>
                    </a:lnTo>
                    <a:lnTo>
                      <a:pt x="14" y="1955"/>
                    </a:lnTo>
                    <a:lnTo>
                      <a:pt x="916" y="168"/>
                    </a:lnTo>
                    <a:lnTo>
                      <a:pt x="928" y="149"/>
                    </a:lnTo>
                    <a:lnTo>
                      <a:pt x="945" y="137"/>
                    </a:lnTo>
                    <a:lnTo>
                      <a:pt x="967" y="133"/>
                    </a:lnTo>
                    <a:lnTo>
                      <a:pt x="1753" y="54"/>
                    </a:lnTo>
                    <a:lnTo>
                      <a:pt x="2281" y="0"/>
                    </a:lnTo>
                    <a:lnTo>
                      <a:pt x="2297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88DFCB77-4787-41C9-BEEE-C96E24C9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" y="-875"/>
                <a:ext cx="2472" cy="1029"/>
              </a:xfrm>
              <a:custGeom>
                <a:avLst/>
                <a:gdLst>
                  <a:gd name="T0" fmla="*/ 2451 w 2472"/>
                  <a:gd name="T1" fmla="*/ 0 h 1029"/>
                  <a:gd name="T2" fmla="*/ 2472 w 2472"/>
                  <a:gd name="T3" fmla="*/ 0 h 1029"/>
                  <a:gd name="T4" fmla="*/ 2426 w 2472"/>
                  <a:gd name="T5" fmla="*/ 94 h 1029"/>
                  <a:gd name="T6" fmla="*/ 2379 w 2472"/>
                  <a:gd name="T7" fmla="*/ 185 h 1029"/>
                  <a:gd name="T8" fmla="*/ 1977 w 2472"/>
                  <a:gd name="T9" fmla="*/ 1004 h 1029"/>
                  <a:gd name="T10" fmla="*/ 1967 w 2472"/>
                  <a:gd name="T11" fmla="*/ 1018 h 1029"/>
                  <a:gd name="T12" fmla="*/ 1956 w 2472"/>
                  <a:gd name="T13" fmla="*/ 1027 h 1029"/>
                  <a:gd name="T14" fmla="*/ 1937 w 2472"/>
                  <a:gd name="T15" fmla="*/ 1029 h 1029"/>
                  <a:gd name="T16" fmla="*/ 23 w 2472"/>
                  <a:gd name="T17" fmla="*/ 1029 h 1029"/>
                  <a:gd name="T18" fmla="*/ 17 w 2472"/>
                  <a:gd name="T19" fmla="*/ 1027 h 1029"/>
                  <a:gd name="T20" fmla="*/ 9 w 2472"/>
                  <a:gd name="T21" fmla="*/ 1027 h 1029"/>
                  <a:gd name="T22" fmla="*/ 0 w 2472"/>
                  <a:gd name="T23" fmla="*/ 1027 h 1029"/>
                  <a:gd name="T24" fmla="*/ 48 w 2472"/>
                  <a:gd name="T25" fmla="*/ 938 h 1029"/>
                  <a:gd name="T26" fmla="*/ 100 w 2472"/>
                  <a:gd name="T27" fmla="*/ 852 h 1029"/>
                  <a:gd name="T28" fmla="*/ 152 w 2472"/>
                  <a:gd name="T29" fmla="*/ 767 h 1029"/>
                  <a:gd name="T30" fmla="*/ 210 w 2472"/>
                  <a:gd name="T31" fmla="*/ 683 h 1029"/>
                  <a:gd name="T32" fmla="*/ 270 w 2472"/>
                  <a:gd name="T33" fmla="*/ 606 h 1029"/>
                  <a:gd name="T34" fmla="*/ 334 w 2472"/>
                  <a:gd name="T35" fmla="*/ 531 h 1029"/>
                  <a:gd name="T36" fmla="*/ 404 w 2472"/>
                  <a:gd name="T37" fmla="*/ 461 h 1029"/>
                  <a:gd name="T38" fmla="*/ 479 w 2472"/>
                  <a:gd name="T39" fmla="*/ 396 h 1029"/>
                  <a:gd name="T40" fmla="*/ 560 w 2472"/>
                  <a:gd name="T41" fmla="*/ 336 h 1029"/>
                  <a:gd name="T42" fmla="*/ 647 w 2472"/>
                  <a:gd name="T43" fmla="*/ 284 h 1029"/>
                  <a:gd name="T44" fmla="*/ 744 w 2472"/>
                  <a:gd name="T45" fmla="*/ 235 h 1029"/>
                  <a:gd name="T46" fmla="*/ 842 w 2472"/>
                  <a:gd name="T47" fmla="*/ 195 h 1029"/>
                  <a:gd name="T48" fmla="*/ 941 w 2472"/>
                  <a:gd name="T49" fmla="*/ 162 h 1029"/>
                  <a:gd name="T50" fmla="*/ 1043 w 2472"/>
                  <a:gd name="T51" fmla="*/ 133 h 1029"/>
                  <a:gd name="T52" fmla="*/ 1148 w 2472"/>
                  <a:gd name="T53" fmla="*/ 108 h 1029"/>
                  <a:gd name="T54" fmla="*/ 1320 w 2472"/>
                  <a:gd name="T55" fmla="*/ 75 h 1029"/>
                  <a:gd name="T56" fmla="*/ 1492 w 2472"/>
                  <a:gd name="T57" fmla="*/ 50 h 1029"/>
                  <a:gd name="T58" fmla="*/ 1666 w 2472"/>
                  <a:gd name="T59" fmla="*/ 32 h 1029"/>
                  <a:gd name="T60" fmla="*/ 1842 w 2472"/>
                  <a:gd name="T61" fmla="*/ 21 h 1029"/>
                  <a:gd name="T62" fmla="*/ 2138 w 2472"/>
                  <a:gd name="T63" fmla="*/ 9 h 1029"/>
                  <a:gd name="T64" fmla="*/ 2433 w 2472"/>
                  <a:gd name="T65" fmla="*/ 0 h 1029"/>
                  <a:gd name="T66" fmla="*/ 2451 w 2472"/>
                  <a:gd name="T67" fmla="*/ 0 h 10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72" h="1029">
                    <a:moveTo>
                      <a:pt x="2451" y="0"/>
                    </a:moveTo>
                    <a:lnTo>
                      <a:pt x="2472" y="0"/>
                    </a:lnTo>
                    <a:lnTo>
                      <a:pt x="2426" y="94"/>
                    </a:lnTo>
                    <a:lnTo>
                      <a:pt x="2379" y="185"/>
                    </a:lnTo>
                    <a:lnTo>
                      <a:pt x="1977" y="1004"/>
                    </a:lnTo>
                    <a:lnTo>
                      <a:pt x="1967" y="1018"/>
                    </a:lnTo>
                    <a:lnTo>
                      <a:pt x="1956" y="1027"/>
                    </a:lnTo>
                    <a:lnTo>
                      <a:pt x="1937" y="1029"/>
                    </a:lnTo>
                    <a:lnTo>
                      <a:pt x="23" y="1029"/>
                    </a:lnTo>
                    <a:lnTo>
                      <a:pt x="17" y="1027"/>
                    </a:lnTo>
                    <a:lnTo>
                      <a:pt x="9" y="1027"/>
                    </a:lnTo>
                    <a:lnTo>
                      <a:pt x="0" y="1027"/>
                    </a:lnTo>
                    <a:lnTo>
                      <a:pt x="48" y="938"/>
                    </a:lnTo>
                    <a:lnTo>
                      <a:pt x="100" y="852"/>
                    </a:lnTo>
                    <a:lnTo>
                      <a:pt x="152" y="767"/>
                    </a:lnTo>
                    <a:lnTo>
                      <a:pt x="210" y="683"/>
                    </a:lnTo>
                    <a:lnTo>
                      <a:pt x="270" y="606"/>
                    </a:lnTo>
                    <a:lnTo>
                      <a:pt x="334" y="531"/>
                    </a:lnTo>
                    <a:lnTo>
                      <a:pt x="404" y="461"/>
                    </a:lnTo>
                    <a:lnTo>
                      <a:pt x="479" y="396"/>
                    </a:lnTo>
                    <a:lnTo>
                      <a:pt x="560" y="336"/>
                    </a:lnTo>
                    <a:lnTo>
                      <a:pt x="647" y="284"/>
                    </a:lnTo>
                    <a:lnTo>
                      <a:pt x="744" y="235"/>
                    </a:lnTo>
                    <a:lnTo>
                      <a:pt x="842" y="195"/>
                    </a:lnTo>
                    <a:lnTo>
                      <a:pt x="941" y="162"/>
                    </a:lnTo>
                    <a:lnTo>
                      <a:pt x="1043" y="133"/>
                    </a:lnTo>
                    <a:lnTo>
                      <a:pt x="1148" y="108"/>
                    </a:lnTo>
                    <a:lnTo>
                      <a:pt x="1320" y="75"/>
                    </a:lnTo>
                    <a:lnTo>
                      <a:pt x="1492" y="50"/>
                    </a:lnTo>
                    <a:lnTo>
                      <a:pt x="1666" y="32"/>
                    </a:lnTo>
                    <a:lnTo>
                      <a:pt x="1842" y="21"/>
                    </a:lnTo>
                    <a:lnTo>
                      <a:pt x="2138" y="9"/>
                    </a:lnTo>
                    <a:lnTo>
                      <a:pt x="2433" y="0"/>
                    </a:lnTo>
                    <a:lnTo>
                      <a:pt x="2451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</p:grpSp>
      </p:grpSp>
      <p:sp>
        <p:nvSpPr>
          <p:cNvPr id="17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197E883-74D9-DD49-9664-52FC49ABA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520825"/>
            <a:ext cx="11176000" cy="42846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>
              <a:solidFill>
                <a:schemeClr val="tx2"/>
              </a:solidFill>
            </a:endParaRPr>
          </a:p>
        </p:txBody>
      </p:sp>
      <p:sp>
        <p:nvSpPr>
          <p:cNvPr id="3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</a:p>
        </p:txBody>
      </p:sp>
      <p:sp>
        <p:nvSpPr>
          <p:cNvPr id="3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err="1"/>
              <a:t>Titolo</a:t>
            </a:r>
            <a:r>
              <a:rPr lang="en-GB"/>
              <a:t> </a:t>
            </a:r>
            <a:r>
              <a:rPr lang="en-GB" err="1"/>
              <a:t>presentazione</a:t>
            </a:r>
            <a:r>
              <a:rPr lang="en-GB"/>
              <a:t>   I   Nome </a:t>
            </a:r>
            <a:r>
              <a:rPr lang="en-GB" err="1"/>
              <a:t>relatore</a:t>
            </a:r>
            <a:endParaRPr lang="en-GB"/>
          </a:p>
        </p:txBody>
      </p:sp>
      <p:pic>
        <p:nvPicPr>
          <p:cNvPr id="41" name="Immagine 4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4803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SSO1_COPY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0"/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8170" y="0"/>
            <a:ext cx="472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6074" y="90427"/>
            <a:ext cx="346160" cy="234428"/>
            <a:chOff x="-560" y="-1287"/>
            <a:chExt cx="6379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>
              <a:solidFill>
                <a:schemeClr val="tx2"/>
              </a:solidFill>
            </a:endParaRP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0"/>
            <a:ext cx="11176000" cy="490378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  <p:sp>
        <p:nvSpPr>
          <p:cNvPr id="1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</a:p>
        </p:txBody>
      </p:sp>
      <p:sp>
        <p:nvSpPr>
          <p:cNvPr id="1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err="1"/>
              <a:t>Titolo</a:t>
            </a:r>
            <a:r>
              <a:rPr lang="en-GB"/>
              <a:t> </a:t>
            </a:r>
            <a:r>
              <a:rPr lang="en-GB" err="1"/>
              <a:t>presentazione</a:t>
            </a:r>
            <a:r>
              <a:rPr lang="en-GB"/>
              <a:t>   I   Nome </a:t>
            </a:r>
            <a:r>
              <a:rPr lang="en-GB" err="1"/>
              <a:t>relatore</a:t>
            </a:r>
            <a:endParaRPr lang="en-GB"/>
          </a:p>
        </p:txBody>
      </p:sp>
      <p:pic>
        <p:nvPicPr>
          <p:cNvPr id="31" name="Immagine 3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9365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6026414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>
              <a:defRPr sz="1020" b="0" i="0">
                <a:solidFill>
                  <a:schemeClr val="tx1"/>
                </a:solidFill>
                <a:latin typeface="Calibri"/>
                <a:cs typeface="Calibri"/>
              </a:defRPr>
            </a:lvl1pPr>
          </a:lstStyle>
          <a:p>
            <a:pPr marL="12951">
              <a:lnSpc>
                <a:spcPts val="1066"/>
              </a:lnSpc>
            </a:pPr>
            <a:r>
              <a:rPr lang="it-IT" spc="-5"/>
              <a:t>Informazione</a:t>
            </a:r>
            <a:r>
              <a:rPr lang="it-IT" spc="-15"/>
              <a:t> </a:t>
            </a:r>
            <a:r>
              <a:rPr lang="it-IT"/>
              <a:t>ad</a:t>
            </a:r>
            <a:r>
              <a:rPr lang="it-IT" spc="-15"/>
              <a:t> </a:t>
            </a:r>
            <a:r>
              <a:rPr lang="it-IT" spc="-10"/>
              <a:t>uso</a:t>
            </a:r>
            <a:r>
              <a:rPr lang="it-IT" spc="-15"/>
              <a:t> </a:t>
            </a:r>
            <a:r>
              <a:rPr lang="it-IT" spc="-5"/>
              <a:t>interno</a:t>
            </a: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/18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11828701" y="6563812"/>
            <a:ext cx="208599" cy="287724"/>
          </a:xfrm>
          <a:prstGeom prst="rect">
            <a:avLst/>
          </a:prstGeom>
        </p:spPr>
        <p:txBody>
          <a:bodyPr lIns="0" tIns="0" rIns="0" bIns="0"/>
          <a:lstStyle>
            <a:lvl1pPr>
              <a:defRPr sz="1020" b="0" i="0">
                <a:solidFill>
                  <a:schemeClr val="bg1"/>
                </a:solidFill>
                <a:latin typeface="Calibri"/>
                <a:cs typeface="Calibri"/>
              </a:defRPr>
            </a:lvl1pPr>
          </a:lstStyle>
          <a:p>
            <a:pPr marL="38854">
              <a:lnSpc>
                <a:spcPts val="1066"/>
              </a:lnSpc>
            </a:pPr>
            <a:fld id="{81D60167-4931-47E6-BA6A-407CBD079E47}" type="slidenum">
              <a:rPr lang="it-IT" spc="-5" smtClean="0"/>
              <a:pPr marL="38854">
                <a:lnSpc>
                  <a:spcPts val="1066"/>
                </a:lnSpc>
              </a:pPr>
              <a:t>‹N›</a:t>
            </a:fld>
            <a:endParaRPr lang="it-IT" spc="-5"/>
          </a:p>
        </p:txBody>
      </p:sp>
    </p:spTree>
    <p:extLst>
      <p:ext uri="{BB962C8B-B14F-4D97-AF65-F5344CB8AC3E}">
        <p14:creationId xmlns:p14="http://schemas.microsoft.com/office/powerpoint/2010/main" val="1327174566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iusu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3C53505-DA61-448D-80C5-D220BD0FC3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3C53505-DA61-448D-80C5-D220BD0FC3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B995BBC-9B2A-4867-BADF-2302E92418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01" y="6356350"/>
            <a:ext cx="5487988" cy="123111"/>
          </a:xfrm>
        </p:spPr>
        <p:txBody>
          <a:bodyPr/>
          <a:lstStyle/>
          <a:p>
            <a:endParaRPr lang="en-US"/>
          </a:p>
        </p:txBody>
      </p:sp>
      <p:sp>
        <p:nvSpPr>
          <p:cNvPr id="7" name="Titolo 1">
            <a:extLst>
              <a:ext uri="{FF2B5EF4-FFF2-40B4-BE49-F238E27FC236}">
                <a16:creationId xmlns:a16="http://schemas.microsoft.com/office/drawing/2014/main" id="{27FEE3EB-3FF6-4ADB-A869-994695B7E2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9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8" name="Segnaposto contenuto 2">
            <a:extLst>
              <a:ext uri="{FF2B5EF4-FFF2-40B4-BE49-F238E27FC236}">
                <a16:creationId xmlns:a16="http://schemas.microsoft.com/office/drawing/2014/main" id="{19893C14-23F3-4765-A412-64738529A76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9" y="866368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pic>
        <p:nvPicPr>
          <p:cNvPr id="10" name="Immagine 25">
            <a:extLst>
              <a:ext uri="{FF2B5EF4-FFF2-40B4-BE49-F238E27FC236}">
                <a16:creationId xmlns:a16="http://schemas.microsoft.com/office/drawing/2014/main" id="{A81A6285-6FA3-4734-9765-B052E069140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5649" y="6342599"/>
            <a:ext cx="1262446" cy="367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45340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10196" y="274499"/>
            <a:ext cx="10971609" cy="1142505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10196" y="1599508"/>
            <a:ext cx="10971609" cy="452699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2547730816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577975"/>
            <a:ext cx="11176621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9698960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60352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96054360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5"/>
            <a:ext cx="11176620" cy="422751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1394814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879734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8184988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4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883668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0370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7796503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7337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0" y="1552575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4194825250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88" y="1521699"/>
            <a:ext cx="5688012" cy="4283789"/>
          </a:xfrm>
        </p:spPr>
        <p:txBody>
          <a:bodyPr/>
          <a:lstStyle/>
          <a:p>
            <a:pPr lvl="0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16233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0" y="19034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0" y="26520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0" y="29321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36807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0" y="39608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094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0" y="49895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04533053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430524327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magin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  <p:sp>
        <p:nvSpPr>
          <p:cNvPr id="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1"/>
            <a:ext cx="11176000" cy="203199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417451986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4956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3560784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985139131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60352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34932700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092854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29941777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8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8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3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3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19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19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3851814681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64434892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SO1_Titolo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" name="Rettangolo 1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466584B-8BD1-48B2-BD0C-DC7DD5380BEF}"/>
                </a:ext>
              </a:extLst>
            </p:cNvPr>
            <p:cNvSpPr/>
            <p:nvPr userDrawn="1"/>
          </p:nvSpPr>
          <p:spPr>
            <a:xfrm>
              <a:off x="11718170" y="0"/>
              <a:ext cx="47288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93527B5-7425-47AC-89C0-2B32AE60168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1786074" y="90427"/>
              <a:ext cx="346160" cy="234428"/>
              <a:chOff x="-560" y="-1287"/>
              <a:chExt cx="6379" cy="4320"/>
            </a:xfrm>
          </p:grpSpPr>
          <p:sp>
            <p:nvSpPr>
              <p:cNvPr id="24" name="AutoShape 3">
                <a:extLst>
                  <a:ext uri="{FF2B5EF4-FFF2-40B4-BE49-F238E27FC236}">
                    <a16:creationId xmlns:a16="http://schemas.microsoft.com/office/drawing/2014/main" id="{85DBAE22-A53B-46F6-A1C2-9F9E40807B3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B355A452-2788-4C68-9C15-CC51FD59A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B83AE660-1A7F-4C22-9AF1-535B2E94E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" y="423"/>
                <a:ext cx="5536" cy="2610"/>
              </a:xfrm>
              <a:custGeom>
                <a:avLst/>
                <a:gdLst>
                  <a:gd name="T0" fmla="*/ 5536 w 5536"/>
                  <a:gd name="T1" fmla="*/ 0 h 2610"/>
                  <a:gd name="T2" fmla="*/ 5470 w 5536"/>
                  <a:gd name="T3" fmla="*/ 127 h 2610"/>
                  <a:gd name="T4" fmla="*/ 5449 w 5536"/>
                  <a:gd name="T5" fmla="*/ 139 h 2610"/>
                  <a:gd name="T6" fmla="*/ 5061 w 5536"/>
                  <a:gd name="T7" fmla="*/ 164 h 2610"/>
                  <a:gd name="T8" fmla="*/ 4881 w 5536"/>
                  <a:gd name="T9" fmla="*/ 189 h 2610"/>
                  <a:gd name="T10" fmla="*/ 4722 w 5536"/>
                  <a:gd name="T11" fmla="*/ 247 h 2610"/>
                  <a:gd name="T12" fmla="*/ 4585 w 5536"/>
                  <a:gd name="T13" fmla="*/ 336 h 2610"/>
                  <a:gd name="T14" fmla="*/ 4471 w 5536"/>
                  <a:gd name="T15" fmla="*/ 460 h 2610"/>
                  <a:gd name="T16" fmla="*/ 4380 w 5536"/>
                  <a:gd name="T17" fmla="*/ 618 h 2610"/>
                  <a:gd name="T18" fmla="*/ 4338 w 5536"/>
                  <a:gd name="T19" fmla="*/ 757 h 2610"/>
                  <a:gd name="T20" fmla="*/ 4318 w 5536"/>
                  <a:gd name="T21" fmla="*/ 902 h 2610"/>
                  <a:gd name="T22" fmla="*/ 4305 w 5536"/>
                  <a:gd name="T23" fmla="*/ 1107 h 2610"/>
                  <a:gd name="T24" fmla="*/ 4278 w 5536"/>
                  <a:gd name="T25" fmla="*/ 1312 h 2610"/>
                  <a:gd name="T26" fmla="*/ 4208 w 5536"/>
                  <a:gd name="T27" fmla="*/ 1538 h 2610"/>
                  <a:gd name="T28" fmla="*/ 4100 w 5536"/>
                  <a:gd name="T29" fmla="*/ 1768 h 2610"/>
                  <a:gd name="T30" fmla="*/ 3963 w 5536"/>
                  <a:gd name="T31" fmla="*/ 1971 h 2610"/>
                  <a:gd name="T32" fmla="*/ 3800 w 5536"/>
                  <a:gd name="T33" fmla="*/ 2146 h 2610"/>
                  <a:gd name="T34" fmla="*/ 3609 w 5536"/>
                  <a:gd name="T35" fmla="*/ 2293 h 2610"/>
                  <a:gd name="T36" fmla="*/ 3391 w 5536"/>
                  <a:gd name="T37" fmla="*/ 2413 h 2610"/>
                  <a:gd name="T38" fmla="*/ 3145 w 5536"/>
                  <a:gd name="T39" fmla="*/ 2504 h 2610"/>
                  <a:gd name="T40" fmla="*/ 2911 w 5536"/>
                  <a:gd name="T41" fmla="*/ 2552 h 2610"/>
                  <a:gd name="T42" fmla="*/ 2671 w 5536"/>
                  <a:gd name="T43" fmla="*/ 2585 h 2610"/>
                  <a:gd name="T44" fmla="*/ 2378 w 5536"/>
                  <a:gd name="T45" fmla="*/ 2608 h 2610"/>
                  <a:gd name="T46" fmla="*/ 2084 w 5536"/>
                  <a:gd name="T47" fmla="*/ 2608 h 2610"/>
                  <a:gd name="T48" fmla="*/ 54 w 5536"/>
                  <a:gd name="T49" fmla="*/ 2608 h 2610"/>
                  <a:gd name="T50" fmla="*/ 0 w 5536"/>
                  <a:gd name="T51" fmla="*/ 2608 h 2610"/>
                  <a:gd name="T52" fmla="*/ 64 w 5536"/>
                  <a:gd name="T53" fmla="*/ 2477 h 2610"/>
                  <a:gd name="T54" fmla="*/ 93 w 5536"/>
                  <a:gd name="T55" fmla="*/ 2436 h 2610"/>
                  <a:gd name="T56" fmla="*/ 143 w 5536"/>
                  <a:gd name="T57" fmla="*/ 2426 h 2610"/>
                  <a:gd name="T58" fmla="*/ 1098 w 5536"/>
                  <a:gd name="T59" fmla="*/ 2419 h 2610"/>
                  <a:gd name="T60" fmla="*/ 1469 w 5536"/>
                  <a:gd name="T61" fmla="*/ 2396 h 2610"/>
                  <a:gd name="T62" fmla="*/ 1753 w 5536"/>
                  <a:gd name="T63" fmla="*/ 2368 h 2610"/>
                  <a:gd name="T64" fmla="*/ 1947 w 5536"/>
                  <a:gd name="T65" fmla="*/ 2336 h 2610"/>
                  <a:gd name="T66" fmla="*/ 2155 w 5536"/>
                  <a:gd name="T67" fmla="*/ 2268 h 2610"/>
                  <a:gd name="T68" fmla="*/ 2362 w 5536"/>
                  <a:gd name="T69" fmla="*/ 2162 h 2610"/>
                  <a:gd name="T70" fmla="*/ 2540 w 5536"/>
                  <a:gd name="T71" fmla="*/ 2028 h 2610"/>
                  <a:gd name="T72" fmla="*/ 2687 w 5536"/>
                  <a:gd name="T73" fmla="*/ 1866 h 2610"/>
                  <a:gd name="T74" fmla="*/ 2807 w 5536"/>
                  <a:gd name="T75" fmla="*/ 1675 h 2610"/>
                  <a:gd name="T76" fmla="*/ 2896 w 5536"/>
                  <a:gd name="T77" fmla="*/ 1453 h 2610"/>
                  <a:gd name="T78" fmla="*/ 3064 w 5536"/>
                  <a:gd name="T79" fmla="*/ 881 h 2610"/>
                  <a:gd name="T80" fmla="*/ 3108 w 5536"/>
                  <a:gd name="T81" fmla="*/ 732 h 2610"/>
                  <a:gd name="T82" fmla="*/ 3170 w 5536"/>
                  <a:gd name="T83" fmla="*/ 591 h 2610"/>
                  <a:gd name="T84" fmla="*/ 3290 w 5536"/>
                  <a:gd name="T85" fmla="*/ 423 h 2610"/>
                  <a:gd name="T86" fmla="*/ 3431 w 5536"/>
                  <a:gd name="T87" fmla="*/ 288 h 2610"/>
                  <a:gd name="T88" fmla="*/ 3595 w 5536"/>
                  <a:gd name="T89" fmla="*/ 187 h 2610"/>
                  <a:gd name="T90" fmla="*/ 3785 w 5536"/>
                  <a:gd name="T91" fmla="*/ 122 h 2610"/>
                  <a:gd name="T92" fmla="*/ 4003 w 5536"/>
                  <a:gd name="T93" fmla="*/ 91 h 2610"/>
                  <a:gd name="T94" fmla="*/ 4235 w 5536"/>
                  <a:gd name="T95" fmla="*/ 79 h 2610"/>
                  <a:gd name="T96" fmla="*/ 5498 w 5536"/>
                  <a:gd name="T97" fmla="*/ 0 h 2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536" h="2610">
                    <a:moveTo>
                      <a:pt x="5515" y="0"/>
                    </a:moveTo>
                    <a:lnTo>
                      <a:pt x="5536" y="0"/>
                    </a:lnTo>
                    <a:lnTo>
                      <a:pt x="5503" y="66"/>
                    </a:lnTo>
                    <a:lnTo>
                      <a:pt x="5470" y="127"/>
                    </a:lnTo>
                    <a:lnTo>
                      <a:pt x="5463" y="135"/>
                    </a:lnTo>
                    <a:lnTo>
                      <a:pt x="5449" y="139"/>
                    </a:lnTo>
                    <a:lnTo>
                      <a:pt x="5436" y="141"/>
                    </a:lnTo>
                    <a:lnTo>
                      <a:pt x="5061" y="164"/>
                    </a:lnTo>
                    <a:lnTo>
                      <a:pt x="4968" y="172"/>
                    </a:lnTo>
                    <a:lnTo>
                      <a:pt x="4881" y="189"/>
                    </a:lnTo>
                    <a:lnTo>
                      <a:pt x="4798" y="214"/>
                    </a:lnTo>
                    <a:lnTo>
                      <a:pt x="4722" y="247"/>
                    </a:lnTo>
                    <a:lnTo>
                      <a:pt x="4651" y="288"/>
                    </a:lnTo>
                    <a:lnTo>
                      <a:pt x="4585" y="336"/>
                    </a:lnTo>
                    <a:lnTo>
                      <a:pt x="4525" y="394"/>
                    </a:lnTo>
                    <a:lnTo>
                      <a:pt x="4471" y="460"/>
                    </a:lnTo>
                    <a:lnTo>
                      <a:pt x="4423" y="535"/>
                    </a:lnTo>
                    <a:lnTo>
                      <a:pt x="4380" y="618"/>
                    </a:lnTo>
                    <a:lnTo>
                      <a:pt x="4353" y="686"/>
                    </a:lnTo>
                    <a:lnTo>
                      <a:pt x="4338" y="757"/>
                    </a:lnTo>
                    <a:lnTo>
                      <a:pt x="4326" y="829"/>
                    </a:lnTo>
                    <a:lnTo>
                      <a:pt x="4318" y="902"/>
                    </a:lnTo>
                    <a:lnTo>
                      <a:pt x="4311" y="1004"/>
                    </a:lnTo>
                    <a:lnTo>
                      <a:pt x="4305" y="1107"/>
                    </a:lnTo>
                    <a:lnTo>
                      <a:pt x="4295" y="1209"/>
                    </a:lnTo>
                    <a:lnTo>
                      <a:pt x="4278" y="1312"/>
                    </a:lnTo>
                    <a:lnTo>
                      <a:pt x="4253" y="1412"/>
                    </a:lnTo>
                    <a:lnTo>
                      <a:pt x="4208" y="1538"/>
                    </a:lnTo>
                    <a:lnTo>
                      <a:pt x="4158" y="1656"/>
                    </a:lnTo>
                    <a:lnTo>
                      <a:pt x="4100" y="1768"/>
                    </a:lnTo>
                    <a:lnTo>
                      <a:pt x="4034" y="1872"/>
                    </a:lnTo>
                    <a:lnTo>
                      <a:pt x="3963" y="1971"/>
                    </a:lnTo>
                    <a:lnTo>
                      <a:pt x="3885" y="2061"/>
                    </a:lnTo>
                    <a:lnTo>
                      <a:pt x="3800" y="2146"/>
                    </a:lnTo>
                    <a:lnTo>
                      <a:pt x="3708" y="2224"/>
                    </a:lnTo>
                    <a:lnTo>
                      <a:pt x="3609" y="2293"/>
                    </a:lnTo>
                    <a:lnTo>
                      <a:pt x="3503" y="2357"/>
                    </a:lnTo>
                    <a:lnTo>
                      <a:pt x="3391" y="2413"/>
                    </a:lnTo>
                    <a:lnTo>
                      <a:pt x="3271" y="2461"/>
                    </a:lnTo>
                    <a:lnTo>
                      <a:pt x="3145" y="2504"/>
                    </a:lnTo>
                    <a:lnTo>
                      <a:pt x="3029" y="2533"/>
                    </a:lnTo>
                    <a:lnTo>
                      <a:pt x="2911" y="2552"/>
                    </a:lnTo>
                    <a:lnTo>
                      <a:pt x="2791" y="2569"/>
                    </a:lnTo>
                    <a:lnTo>
                      <a:pt x="2671" y="2585"/>
                    </a:lnTo>
                    <a:lnTo>
                      <a:pt x="2525" y="2602"/>
                    </a:lnTo>
                    <a:lnTo>
                      <a:pt x="2378" y="2608"/>
                    </a:lnTo>
                    <a:lnTo>
                      <a:pt x="2231" y="2610"/>
                    </a:lnTo>
                    <a:lnTo>
                      <a:pt x="2084" y="2608"/>
                    </a:lnTo>
                    <a:lnTo>
                      <a:pt x="1937" y="2608"/>
                    </a:lnTo>
                    <a:lnTo>
                      <a:pt x="54" y="2608"/>
                    </a:lnTo>
                    <a:lnTo>
                      <a:pt x="0" y="2608"/>
                    </a:lnTo>
                    <a:lnTo>
                      <a:pt x="0" y="2608"/>
                    </a:lnTo>
                    <a:lnTo>
                      <a:pt x="33" y="2540"/>
                    </a:lnTo>
                    <a:lnTo>
                      <a:pt x="64" y="2477"/>
                    </a:lnTo>
                    <a:lnTo>
                      <a:pt x="75" y="2452"/>
                    </a:lnTo>
                    <a:lnTo>
                      <a:pt x="93" y="2436"/>
                    </a:lnTo>
                    <a:lnTo>
                      <a:pt x="114" y="2428"/>
                    </a:lnTo>
                    <a:lnTo>
                      <a:pt x="143" y="2426"/>
                    </a:lnTo>
                    <a:lnTo>
                      <a:pt x="621" y="2426"/>
                    </a:lnTo>
                    <a:lnTo>
                      <a:pt x="1098" y="2419"/>
                    </a:lnTo>
                    <a:lnTo>
                      <a:pt x="1284" y="2409"/>
                    </a:lnTo>
                    <a:lnTo>
                      <a:pt x="1469" y="2396"/>
                    </a:lnTo>
                    <a:lnTo>
                      <a:pt x="1655" y="2378"/>
                    </a:lnTo>
                    <a:lnTo>
                      <a:pt x="1753" y="2368"/>
                    </a:lnTo>
                    <a:lnTo>
                      <a:pt x="1850" y="2355"/>
                    </a:lnTo>
                    <a:lnTo>
                      <a:pt x="1947" y="2336"/>
                    </a:lnTo>
                    <a:lnTo>
                      <a:pt x="2043" y="2311"/>
                    </a:lnTo>
                    <a:lnTo>
                      <a:pt x="2155" y="2268"/>
                    </a:lnTo>
                    <a:lnTo>
                      <a:pt x="2264" y="2218"/>
                    </a:lnTo>
                    <a:lnTo>
                      <a:pt x="2362" y="2162"/>
                    </a:lnTo>
                    <a:lnTo>
                      <a:pt x="2455" y="2098"/>
                    </a:lnTo>
                    <a:lnTo>
                      <a:pt x="2540" y="2028"/>
                    </a:lnTo>
                    <a:lnTo>
                      <a:pt x="2617" y="1951"/>
                    </a:lnTo>
                    <a:lnTo>
                      <a:pt x="2687" y="1866"/>
                    </a:lnTo>
                    <a:lnTo>
                      <a:pt x="2751" y="1773"/>
                    </a:lnTo>
                    <a:lnTo>
                      <a:pt x="2807" y="1675"/>
                    </a:lnTo>
                    <a:lnTo>
                      <a:pt x="2855" y="1569"/>
                    </a:lnTo>
                    <a:lnTo>
                      <a:pt x="2896" y="1453"/>
                    </a:lnTo>
                    <a:lnTo>
                      <a:pt x="2983" y="1167"/>
                    </a:lnTo>
                    <a:lnTo>
                      <a:pt x="3064" y="881"/>
                    </a:lnTo>
                    <a:lnTo>
                      <a:pt x="3085" y="805"/>
                    </a:lnTo>
                    <a:lnTo>
                      <a:pt x="3108" y="732"/>
                    </a:lnTo>
                    <a:lnTo>
                      <a:pt x="3135" y="661"/>
                    </a:lnTo>
                    <a:lnTo>
                      <a:pt x="3170" y="591"/>
                    </a:lnTo>
                    <a:lnTo>
                      <a:pt x="3226" y="502"/>
                    </a:lnTo>
                    <a:lnTo>
                      <a:pt x="3290" y="423"/>
                    </a:lnTo>
                    <a:lnTo>
                      <a:pt x="3358" y="351"/>
                    </a:lnTo>
                    <a:lnTo>
                      <a:pt x="3431" y="288"/>
                    </a:lnTo>
                    <a:lnTo>
                      <a:pt x="3510" y="234"/>
                    </a:lnTo>
                    <a:lnTo>
                      <a:pt x="3595" y="187"/>
                    </a:lnTo>
                    <a:lnTo>
                      <a:pt x="3688" y="151"/>
                    </a:lnTo>
                    <a:lnTo>
                      <a:pt x="3785" y="122"/>
                    </a:lnTo>
                    <a:lnTo>
                      <a:pt x="3887" y="102"/>
                    </a:lnTo>
                    <a:lnTo>
                      <a:pt x="4003" y="91"/>
                    </a:lnTo>
                    <a:lnTo>
                      <a:pt x="4119" y="85"/>
                    </a:lnTo>
                    <a:lnTo>
                      <a:pt x="4235" y="79"/>
                    </a:lnTo>
                    <a:lnTo>
                      <a:pt x="4923" y="35"/>
                    </a:lnTo>
                    <a:lnTo>
                      <a:pt x="5498" y="0"/>
                    </a:lnTo>
                    <a:lnTo>
                      <a:pt x="5515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BE6F8E9-24BA-47B8-9CCD-E18AD0A4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" y="-1283"/>
                <a:ext cx="4960" cy="1437"/>
              </a:xfrm>
              <a:custGeom>
                <a:avLst/>
                <a:gdLst>
                  <a:gd name="T0" fmla="*/ 4896 w 4960"/>
                  <a:gd name="T1" fmla="*/ 0 h 1437"/>
                  <a:gd name="T2" fmla="*/ 4960 w 4960"/>
                  <a:gd name="T3" fmla="*/ 0 h 1437"/>
                  <a:gd name="T4" fmla="*/ 4935 w 4960"/>
                  <a:gd name="T5" fmla="*/ 46 h 1437"/>
                  <a:gd name="T6" fmla="*/ 4912 w 4960"/>
                  <a:gd name="T7" fmla="*/ 89 h 1437"/>
                  <a:gd name="T8" fmla="*/ 4892 w 4960"/>
                  <a:gd name="T9" fmla="*/ 131 h 1437"/>
                  <a:gd name="T10" fmla="*/ 4879 w 4960"/>
                  <a:gd name="T11" fmla="*/ 162 h 1437"/>
                  <a:gd name="T12" fmla="*/ 4860 w 4960"/>
                  <a:gd name="T13" fmla="*/ 181 h 1437"/>
                  <a:gd name="T14" fmla="*/ 4838 w 4960"/>
                  <a:gd name="T15" fmla="*/ 195 h 1437"/>
                  <a:gd name="T16" fmla="*/ 4809 w 4960"/>
                  <a:gd name="T17" fmla="*/ 201 h 1437"/>
                  <a:gd name="T18" fmla="*/ 4776 w 4960"/>
                  <a:gd name="T19" fmla="*/ 203 h 1437"/>
                  <a:gd name="T20" fmla="*/ 4287 w 4960"/>
                  <a:gd name="T21" fmla="*/ 201 h 1437"/>
                  <a:gd name="T22" fmla="*/ 3798 w 4960"/>
                  <a:gd name="T23" fmla="*/ 203 h 1437"/>
                  <a:gd name="T24" fmla="*/ 3590 w 4960"/>
                  <a:gd name="T25" fmla="*/ 207 h 1437"/>
                  <a:gd name="T26" fmla="*/ 3381 w 4960"/>
                  <a:gd name="T27" fmla="*/ 216 h 1437"/>
                  <a:gd name="T28" fmla="*/ 3172 w 4960"/>
                  <a:gd name="T29" fmla="*/ 234 h 1437"/>
                  <a:gd name="T30" fmla="*/ 2965 w 4960"/>
                  <a:gd name="T31" fmla="*/ 261 h 1437"/>
                  <a:gd name="T32" fmla="*/ 2826 w 4960"/>
                  <a:gd name="T33" fmla="*/ 284 h 1437"/>
                  <a:gd name="T34" fmla="*/ 2689 w 4960"/>
                  <a:gd name="T35" fmla="*/ 313 h 1437"/>
                  <a:gd name="T36" fmla="*/ 2554 w 4960"/>
                  <a:gd name="T37" fmla="*/ 350 h 1437"/>
                  <a:gd name="T38" fmla="*/ 2420 w 4960"/>
                  <a:gd name="T39" fmla="*/ 394 h 1437"/>
                  <a:gd name="T40" fmla="*/ 2289 w 4960"/>
                  <a:gd name="T41" fmla="*/ 446 h 1437"/>
                  <a:gd name="T42" fmla="*/ 2161 w 4960"/>
                  <a:gd name="T43" fmla="*/ 508 h 1437"/>
                  <a:gd name="T44" fmla="*/ 2047 w 4960"/>
                  <a:gd name="T45" fmla="*/ 576 h 1437"/>
                  <a:gd name="T46" fmla="*/ 1941 w 4960"/>
                  <a:gd name="T47" fmla="*/ 651 h 1437"/>
                  <a:gd name="T48" fmla="*/ 1840 w 4960"/>
                  <a:gd name="T49" fmla="*/ 734 h 1437"/>
                  <a:gd name="T50" fmla="*/ 1746 w 4960"/>
                  <a:gd name="T51" fmla="*/ 823 h 1437"/>
                  <a:gd name="T52" fmla="*/ 1660 w 4960"/>
                  <a:gd name="T53" fmla="*/ 921 h 1437"/>
                  <a:gd name="T54" fmla="*/ 1579 w 4960"/>
                  <a:gd name="T55" fmla="*/ 1026 h 1437"/>
                  <a:gd name="T56" fmla="*/ 1496 w 4960"/>
                  <a:gd name="T57" fmla="*/ 1151 h 1437"/>
                  <a:gd name="T58" fmla="*/ 1417 w 4960"/>
                  <a:gd name="T59" fmla="*/ 1281 h 1437"/>
                  <a:gd name="T60" fmla="*/ 1338 w 4960"/>
                  <a:gd name="T61" fmla="*/ 1410 h 1437"/>
                  <a:gd name="T62" fmla="*/ 1326 w 4960"/>
                  <a:gd name="T63" fmla="*/ 1426 h 1437"/>
                  <a:gd name="T64" fmla="*/ 1313 w 4960"/>
                  <a:gd name="T65" fmla="*/ 1433 h 1437"/>
                  <a:gd name="T66" fmla="*/ 1295 w 4960"/>
                  <a:gd name="T67" fmla="*/ 1437 h 1437"/>
                  <a:gd name="T68" fmla="*/ 37 w 4960"/>
                  <a:gd name="T69" fmla="*/ 1437 h 1437"/>
                  <a:gd name="T70" fmla="*/ 21 w 4960"/>
                  <a:gd name="T71" fmla="*/ 1435 h 1437"/>
                  <a:gd name="T72" fmla="*/ 0 w 4960"/>
                  <a:gd name="T73" fmla="*/ 1435 h 1437"/>
                  <a:gd name="T74" fmla="*/ 64 w 4960"/>
                  <a:gd name="T75" fmla="*/ 1310 h 1437"/>
                  <a:gd name="T76" fmla="*/ 126 w 4960"/>
                  <a:gd name="T77" fmla="*/ 1186 h 1437"/>
                  <a:gd name="T78" fmla="*/ 186 w 4960"/>
                  <a:gd name="T79" fmla="*/ 1061 h 1437"/>
                  <a:gd name="T80" fmla="*/ 247 w 4960"/>
                  <a:gd name="T81" fmla="*/ 937 h 1437"/>
                  <a:gd name="T82" fmla="*/ 315 w 4960"/>
                  <a:gd name="T83" fmla="*/ 817 h 1437"/>
                  <a:gd name="T84" fmla="*/ 389 w 4960"/>
                  <a:gd name="T85" fmla="*/ 701 h 1437"/>
                  <a:gd name="T86" fmla="*/ 458 w 4960"/>
                  <a:gd name="T87" fmla="*/ 607 h 1437"/>
                  <a:gd name="T88" fmla="*/ 533 w 4960"/>
                  <a:gd name="T89" fmla="*/ 520 h 1437"/>
                  <a:gd name="T90" fmla="*/ 615 w 4960"/>
                  <a:gd name="T91" fmla="*/ 440 h 1437"/>
                  <a:gd name="T92" fmla="*/ 700 w 4960"/>
                  <a:gd name="T93" fmla="*/ 367 h 1437"/>
                  <a:gd name="T94" fmla="*/ 791 w 4960"/>
                  <a:gd name="T95" fmla="*/ 301 h 1437"/>
                  <a:gd name="T96" fmla="*/ 887 w 4960"/>
                  <a:gd name="T97" fmla="*/ 243 h 1437"/>
                  <a:gd name="T98" fmla="*/ 990 w 4960"/>
                  <a:gd name="T99" fmla="*/ 191 h 1437"/>
                  <a:gd name="T100" fmla="*/ 1096 w 4960"/>
                  <a:gd name="T101" fmla="*/ 147 h 1437"/>
                  <a:gd name="T102" fmla="*/ 1206 w 4960"/>
                  <a:gd name="T103" fmla="*/ 108 h 1437"/>
                  <a:gd name="T104" fmla="*/ 1351 w 4960"/>
                  <a:gd name="T105" fmla="*/ 69 h 1437"/>
                  <a:gd name="T106" fmla="*/ 1496 w 4960"/>
                  <a:gd name="T107" fmla="*/ 40 h 1437"/>
                  <a:gd name="T108" fmla="*/ 1645 w 4960"/>
                  <a:gd name="T109" fmla="*/ 21 h 1437"/>
                  <a:gd name="T110" fmla="*/ 1794 w 4960"/>
                  <a:gd name="T111" fmla="*/ 10 h 1437"/>
                  <a:gd name="T112" fmla="*/ 1954 w 4960"/>
                  <a:gd name="T113" fmla="*/ 4 h 1437"/>
                  <a:gd name="T114" fmla="*/ 2117 w 4960"/>
                  <a:gd name="T115" fmla="*/ 2 h 1437"/>
                  <a:gd name="T116" fmla="*/ 4896 w 4960"/>
                  <a:gd name="T117" fmla="*/ 0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60" h="1437">
                    <a:moveTo>
                      <a:pt x="4896" y="0"/>
                    </a:moveTo>
                    <a:lnTo>
                      <a:pt x="4960" y="0"/>
                    </a:lnTo>
                    <a:lnTo>
                      <a:pt x="4935" y="46"/>
                    </a:lnTo>
                    <a:lnTo>
                      <a:pt x="4912" y="89"/>
                    </a:lnTo>
                    <a:lnTo>
                      <a:pt x="4892" y="131"/>
                    </a:lnTo>
                    <a:lnTo>
                      <a:pt x="4879" y="162"/>
                    </a:lnTo>
                    <a:lnTo>
                      <a:pt x="4860" y="181"/>
                    </a:lnTo>
                    <a:lnTo>
                      <a:pt x="4838" y="195"/>
                    </a:lnTo>
                    <a:lnTo>
                      <a:pt x="4809" y="201"/>
                    </a:lnTo>
                    <a:lnTo>
                      <a:pt x="4776" y="203"/>
                    </a:lnTo>
                    <a:lnTo>
                      <a:pt x="4287" y="201"/>
                    </a:lnTo>
                    <a:lnTo>
                      <a:pt x="3798" y="203"/>
                    </a:lnTo>
                    <a:lnTo>
                      <a:pt x="3590" y="207"/>
                    </a:lnTo>
                    <a:lnTo>
                      <a:pt x="3381" y="216"/>
                    </a:lnTo>
                    <a:lnTo>
                      <a:pt x="3172" y="234"/>
                    </a:lnTo>
                    <a:lnTo>
                      <a:pt x="2965" y="261"/>
                    </a:lnTo>
                    <a:lnTo>
                      <a:pt x="2826" y="284"/>
                    </a:lnTo>
                    <a:lnTo>
                      <a:pt x="2689" y="313"/>
                    </a:lnTo>
                    <a:lnTo>
                      <a:pt x="2554" y="350"/>
                    </a:lnTo>
                    <a:lnTo>
                      <a:pt x="2420" y="394"/>
                    </a:lnTo>
                    <a:lnTo>
                      <a:pt x="2289" y="446"/>
                    </a:lnTo>
                    <a:lnTo>
                      <a:pt x="2161" y="508"/>
                    </a:lnTo>
                    <a:lnTo>
                      <a:pt x="2047" y="576"/>
                    </a:lnTo>
                    <a:lnTo>
                      <a:pt x="1941" y="651"/>
                    </a:lnTo>
                    <a:lnTo>
                      <a:pt x="1840" y="734"/>
                    </a:lnTo>
                    <a:lnTo>
                      <a:pt x="1746" y="823"/>
                    </a:lnTo>
                    <a:lnTo>
                      <a:pt x="1660" y="921"/>
                    </a:lnTo>
                    <a:lnTo>
                      <a:pt x="1579" y="1026"/>
                    </a:lnTo>
                    <a:lnTo>
                      <a:pt x="1496" y="1151"/>
                    </a:lnTo>
                    <a:lnTo>
                      <a:pt x="1417" y="1281"/>
                    </a:lnTo>
                    <a:lnTo>
                      <a:pt x="1338" y="1410"/>
                    </a:lnTo>
                    <a:lnTo>
                      <a:pt x="1326" y="1426"/>
                    </a:lnTo>
                    <a:lnTo>
                      <a:pt x="1313" y="1433"/>
                    </a:lnTo>
                    <a:lnTo>
                      <a:pt x="1295" y="1437"/>
                    </a:lnTo>
                    <a:lnTo>
                      <a:pt x="37" y="1437"/>
                    </a:lnTo>
                    <a:lnTo>
                      <a:pt x="21" y="1435"/>
                    </a:lnTo>
                    <a:lnTo>
                      <a:pt x="0" y="1435"/>
                    </a:lnTo>
                    <a:lnTo>
                      <a:pt x="64" y="1310"/>
                    </a:lnTo>
                    <a:lnTo>
                      <a:pt x="126" y="1186"/>
                    </a:lnTo>
                    <a:lnTo>
                      <a:pt x="186" y="1061"/>
                    </a:lnTo>
                    <a:lnTo>
                      <a:pt x="247" y="937"/>
                    </a:lnTo>
                    <a:lnTo>
                      <a:pt x="315" y="817"/>
                    </a:lnTo>
                    <a:lnTo>
                      <a:pt x="389" y="701"/>
                    </a:lnTo>
                    <a:lnTo>
                      <a:pt x="458" y="607"/>
                    </a:lnTo>
                    <a:lnTo>
                      <a:pt x="533" y="520"/>
                    </a:lnTo>
                    <a:lnTo>
                      <a:pt x="615" y="440"/>
                    </a:lnTo>
                    <a:lnTo>
                      <a:pt x="700" y="367"/>
                    </a:lnTo>
                    <a:lnTo>
                      <a:pt x="791" y="301"/>
                    </a:lnTo>
                    <a:lnTo>
                      <a:pt x="887" y="243"/>
                    </a:lnTo>
                    <a:lnTo>
                      <a:pt x="990" y="191"/>
                    </a:lnTo>
                    <a:lnTo>
                      <a:pt x="1096" y="147"/>
                    </a:lnTo>
                    <a:lnTo>
                      <a:pt x="1206" y="108"/>
                    </a:lnTo>
                    <a:lnTo>
                      <a:pt x="1351" y="69"/>
                    </a:lnTo>
                    <a:lnTo>
                      <a:pt x="1496" y="40"/>
                    </a:lnTo>
                    <a:lnTo>
                      <a:pt x="1645" y="21"/>
                    </a:lnTo>
                    <a:lnTo>
                      <a:pt x="1794" y="10"/>
                    </a:lnTo>
                    <a:lnTo>
                      <a:pt x="1954" y="4"/>
                    </a:lnTo>
                    <a:lnTo>
                      <a:pt x="2117" y="2"/>
                    </a:lnTo>
                    <a:lnTo>
                      <a:pt x="4896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61144228-6360-4B55-95F5-F9B22AED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5" y="643"/>
                <a:ext cx="2316" cy="1988"/>
              </a:xfrm>
              <a:custGeom>
                <a:avLst/>
                <a:gdLst>
                  <a:gd name="T0" fmla="*/ 2297 w 2316"/>
                  <a:gd name="T1" fmla="*/ 0 h 1988"/>
                  <a:gd name="T2" fmla="*/ 2316 w 2316"/>
                  <a:gd name="T3" fmla="*/ 0 h 1988"/>
                  <a:gd name="T4" fmla="*/ 2250 w 2316"/>
                  <a:gd name="T5" fmla="*/ 124 h 1988"/>
                  <a:gd name="T6" fmla="*/ 2185 w 2316"/>
                  <a:gd name="T7" fmla="*/ 245 h 1988"/>
                  <a:gd name="T8" fmla="*/ 2038 w 2316"/>
                  <a:gd name="T9" fmla="*/ 510 h 1988"/>
                  <a:gd name="T10" fmla="*/ 1885 w 2316"/>
                  <a:gd name="T11" fmla="*/ 771 h 1988"/>
                  <a:gd name="T12" fmla="*/ 1726 w 2316"/>
                  <a:gd name="T13" fmla="*/ 1028 h 1988"/>
                  <a:gd name="T14" fmla="*/ 1560 w 2316"/>
                  <a:gd name="T15" fmla="*/ 1281 h 1988"/>
                  <a:gd name="T16" fmla="*/ 1496 w 2316"/>
                  <a:gd name="T17" fmla="*/ 1368 h 1988"/>
                  <a:gd name="T18" fmla="*/ 1431 w 2316"/>
                  <a:gd name="T19" fmla="*/ 1455 h 1988"/>
                  <a:gd name="T20" fmla="*/ 1361 w 2316"/>
                  <a:gd name="T21" fmla="*/ 1536 h 1988"/>
                  <a:gd name="T22" fmla="*/ 1286 w 2316"/>
                  <a:gd name="T23" fmla="*/ 1613 h 1988"/>
                  <a:gd name="T24" fmla="*/ 1205 w 2316"/>
                  <a:gd name="T25" fmla="*/ 1685 h 1988"/>
                  <a:gd name="T26" fmla="*/ 1118 w 2316"/>
                  <a:gd name="T27" fmla="*/ 1751 h 1988"/>
                  <a:gd name="T28" fmla="*/ 1036 w 2316"/>
                  <a:gd name="T29" fmla="*/ 1803 h 1988"/>
                  <a:gd name="T30" fmla="*/ 951 w 2316"/>
                  <a:gd name="T31" fmla="*/ 1847 h 1988"/>
                  <a:gd name="T32" fmla="*/ 864 w 2316"/>
                  <a:gd name="T33" fmla="*/ 1884 h 1988"/>
                  <a:gd name="T34" fmla="*/ 773 w 2316"/>
                  <a:gd name="T35" fmla="*/ 1913 h 1988"/>
                  <a:gd name="T36" fmla="*/ 683 w 2316"/>
                  <a:gd name="T37" fmla="*/ 1936 h 1988"/>
                  <a:gd name="T38" fmla="*/ 586 w 2316"/>
                  <a:gd name="T39" fmla="*/ 1953 h 1988"/>
                  <a:gd name="T40" fmla="*/ 449 w 2316"/>
                  <a:gd name="T41" fmla="*/ 1971 h 1988"/>
                  <a:gd name="T42" fmla="*/ 311 w 2316"/>
                  <a:gd name="T43" fmla="*/ 1980 h 1988"/>
                  <a:gd name="T44" fmla="*/ 172 w 2316"/>
                  <a:gd name="T45" fmla="*/ 1986 h 1988"/>
                  <a:gd name="T46" fmla="*/ 33 w 2316"/>
                  <a:gd name="T47" fmla="*/ 1988 h 1988"/>
                  <a:gd name="T48" fmla="*/ 18 w 2316"/>
                  <a:gd name="T49" fmla="*/ 1988 h 1988"/>
                  <a:gd name="T50" fmla="*/ 0 w 2316"/>
                  <a:gd name="T51" fmla="*/ 1988 h 1988"/>
                  <a:gd name="T52" fmla="*/ 8 w 2316"/>
                  <a:gd name="T53" fmla="*/ 1969 h 1988"/>
                  <a:gd name="T54" fmla="*/ 14 w 2316"/>
                  <a:gd name="T55" fmla="*/ 1955 h 1988"/>
                  <a:gd name="T56" fmla="*/ 916 w 2316"/>
                  <a:gd name="T57" fmla="*/ 168 h 1988"/>
                  <a:gd name="T58" fmla="*/ 928 w 2316"/>
                  <a:gd name="T59" fmla="*/ 149 h 1988"/>
                  <a:gd name="T60" fmla="*/ 945 w 2316"/>
                  <a:gd name="T61" fmla="*/ 137 h 1988"/>
                  <a:gd name="T62" fmla="*/ 967 w 2316"/>
                  <a:gd name="T63" fmla="*/ 133 h 1988"/>
                  <a:gd name="T64" fmla="*/ 1753 w 2316"/>
                  <a:gd name="T65" fmla="*/ 54 h 1988"/>
                  <a:gd name="T66" fmla="*/ 2281 w 2316"/>
                  <a:gd name="T67" fmla="*/ 0 h 1988"/>
                  <a:gd name="T68" fmla="*/ 2297 w 2316"/>
                  <a:gd name="T69" fmla="*/ 0 h 1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16" h="1988">
                    <a:moveTo>
                      <a:pt x="2297" y="0"/>
                    </a:moveTo>
                    <a:lnTo>
                      <a:pt x="2316" y="0"/>
                    </a:lnTo>
                    <a:lnTo>
                      <a:pt x="2250" y="124"/>
                    </a:lnTo>
                    <a:lnTo>
                      <a:pt x="2185" y="245"/>
                    </a:lnTo>
                    <a:lnTo>
                      <a:pt x="2038" y="510"/>
                    </a:lnTo>
                    <a:lnTo>
                      <a:pt x="1885" y="771"/>
                    </a:lnTo>
                    <a:lnTo>
                      <a:pt x="1726" y="1028"/>
                    </a:lnTo>
                    <a:lnTo>
                      <a:pt x="1560" y="1281"/>
                    </a:lnTo>
                    <a:lnTo>
                      <a:pt x="1496" y="1368"/>
                    </a:lnTo>
                    <a:lnTo>
                      <a:pt x="1431" y="1455"/>
                    </a:lnTo>
                    <a:lnTo>
                      <a:pt x="1361" y="1536"/>
                    </a:lnTo>
                    <a:lnTo>
                      <a:pt x="1286" y="1613"/>
                    </a:lnTo>
                    <a:lnTo>
                      <a:pt x="1205" y="1685"/>
                    </a:lnTo>
                    <a:lnTo>
                      <a:pt x="1118" y="1751"/>
                    </a:lnTo>
                    <a:lnTo>
                      <a:pt x="1036" y="1803"/>
                    </a:lnTo>
                    <a:lnTo>
                      <a:pt x="951" y="1847"/>
                    </a:lnTo>
                    <a:lnTo>
                      <a:pt x="864" y="1884"/>
                    </a:lnTo>
                    <a:lnTo>
                      <a:pt x="773" y="1913"/>
                    </a:lnTo>
                    <a:lnTo>
                      <a:pt x="683" y="1936"/>
                    </a:lnTo>
                    <a:lnTo>
                      <a:pt x="586" y="1953"/>
                    </a:lnTo>
                    <a:lnTo>
                      <a:pt x="449" y="1971"/>
                    </a:lnTo>
                    <a:lnTo>
                      <a:pt x="311" y="1980"/>
                    </a:lnTo>
                    <a:lnTo>
                      <a:pt x="172" y="1986"/>
                    </a:lnTo>
                    <a:lnTo>
                      <a:pt x="33" y="1988"/>
                    </a:lnTo>
                    <a:lnTo>
                      <a:pt x="18" y="1988"/>
                    </a:lnTo>
                    <a:lnTo>
                      <a:pt x="0" y="1988"/>
                    </a:lnTo>
                    <a:lnTo>
                      <a:pt x="8" y="1969"/>
                    </a:lnTo>
                    <a:lnTo>
                      <a:pt x="14" y="1955"/>
                    </a:lnTo>
                    <a:lnTo>
                      <a:pt x="916" y="168"/>
                    </a:lnTo>
                    <a:lnTo>
                      <a:pt x="928" y="149"/>
                    </a:lnTo>
                    <a:lnTo>
                      <a:pt x="945" y="137"/>
                    </a:lnTo>
                    <a:lnTo>
                      <a:pt x="967" y="133"/>
                    </a:lnTo>
                    <a:lnTo>
                      <a:pt x="1753" y="54"/>
                    </a:lnTo>
                    <a:lnTo>
                      <a:pt x="2281" y="0"/>
                    </a:lnTo>
                    <a:lnTo>
                      <a:pt x="2297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88DFCB77-4787-41C9-BEEE-C96E24C9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" y="-875"/>
                <a:ext cx="2472" cy="1029"/>
              </a:xfrm>
              <a:custGeom>
                <a:avLst/>
                <a:gdLst>
                  <a:gd name="T0" fmla="*/ 2451 w 2472"/>
                  <a:gd name="T1" fmla="*/ 0 h 1029"/>
                  <a:gd name="T2" fmla="*/ 2472 w 2472"/>
                  <a:gd name="T3" fmla="*/ 0 h 1029"/>
                  <a:gd name="T4" fmla="*/ 2426 w 2472"/>
                  <a:gd name="T5" fmla="*/ 94 h 1029"/>
                  <a:gd name="T6" fmla="*/ 2379 w 2472"/>
                  <a:gd name="T7" fmla="*/ 185 h 1029"/>
                  <a:gd name="T8" fmla="*/ 1977 w 2472"/>
                  <a:gd name="T9" fmla="*/ 1004 h 1029"/>
                  <a:gd name="T10" fmla="*/ 1967 w 2472"/>
                  <a:gd name="T11" fmla="*/ 1018 h 1029"/>
                  <a:gd name="T12" fmla="*/ 1956 w 2472"/>
                  <a:gd name="T13" fmla="*/ 1027 h 1029"/>
                  <a:gd name="T14" fmla="*/ 1937 w 2472"/>
                  <a:gd name="T15" fmla="*/ 1029 h 1029"/>
                  <a:gd name="T16" fmla="*/ 23 w 2472"/>
                  <a:gd name="T17" fmla="*/ 1029 h 1029"/>
                  <a:gd name="T18" fmla="*/ 17 w 2472"/>
                  <a:gd name="T19" fmla="*/ 1027 h 1029"/>
                  <a:gd name="T20" fmla="*/ 9 w 2472"/>
                  <a:gd name="T21" fmla="*/ 1027 h 1029"/>
                  <a:gd name="T22" fmla="*/ 0 w 2472"/>
                  <a:gd name="T23" fmla="*/ 1027 h 1029"/>
                  <a:gd name="T24" fmla="*/ 48 w 2472"/>
                  <a:gd name="T25" fmla="*/ 938 h 1029"/>
                  <a:gd name="T26" fmla="*/ 100 w 2472"/>
                  <a:gd name="T27" fmla="*/ 852 h 1029"/>
                  <a:gd name="T28" fmla="*/ 152 w 2472"/>
                  <a:gd name="T29" fmla="*/ 767 h 1029"/>
                  <a:gd name="T30" fmla="*/ 210 w 2472"/>
                  <a:gd name="T31" fmla="*/ 683 h 1029"/>
                  <a:gd name="T32" fmla="*/ 270 w 2472"/>
                  <a:gd name="T33" fmla="*/ 606 h 1029"/>
                  <a:gd name="T34" fmla="*/ 334 w 2472"/>
                  <a:gd name="T35" fmla="*/ 531 h 1029"/>
                  <a:gd name="T36" fmla="*/ 404 w 2472"/>
                  <a:gd name="T37" fmla="*/ 461 h 1029"/>
                  <a:gd name="T38" fmla="*/ 479 w 2472"/>
                  <a:gd name="T39" fmla="*/ 396 h 1029"/>
                  <a:gd name="T40" fmla="*/ 560 w 2472"/>
                  <a:gd name="T41" fmla="*/ 336 h 1029"/>
                  <a:gd name="T42" fmla="*/ 647 w 2472"/>
                  <a:gd name="T43" fmla="*/ 284 h 1029"/>
                  <a:gd name="T44" fmla="*/ 744 w 2472"/>
                  <a:gd name="T45" fmla="*/ 235 h 1029"/>
                  <a:gd name="T46" fmla="*/ 842 w 2472"/>
                  <a:gd name="T47" fmla="*/ 195 h 1029"/>
                  <a:gd name="T48" fmla="*/ 941 w 2472"/>
                  <a:gd name="T49" fmla="*/ 162 h 1029"/>
                  <a:gd name="T50" fmla="*/ 1043 w 2472"/>
                  <a:gd name="T51" fmla="*/ 133 h 1029"/>
                  <a:gd name="T52" fmla="*/ 1148 w 2472"/>
                  <a:gd name="T53" fmla="*/ 108 h 1029"/>
                  <a:gd name="T54" fmla="*/ 1320 w 2472"/>
                  <a:gd name="T55" fmla="*/ 75 h 1029"/>
                  <a:gd name="T56" fmla="*/ 1492 w 2472"/>
                  <a:gd name="T57" fmla="*/ 50 h 1029"/>
                  <a:gd name="T58" fmla="*/ 1666 w 2472"/>
                  <a:gd name="T59" fmla="*/ 32 h 1029"/>
                  <a:gd name="T60" fmla="*/ 1842 w 2472"/>
                  <a:gd name="T61" fmla="*/ 21 h 1029"/>
                  <a:gd name="T62" fmla="*/ 2138 w 2472"/>
                  <a:gd name="T63" fmla="*/ 9 h 1029"/>
                  <a:gd name="T64" fmla="*/ 2433 w 2472"/>
                  <a:gd name="T65" fmla="*/ 0 h 1029"/>
                  <a:gd name="T66" fmla="*/ 2451 w 2472"/>
                  <a:gd name="T67" fmla="*/ 0 h 10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72" h="1029">
                    <a:moveTo>
                      <a:pt x="2451" y="0"/>
                    </a:moveTo>
                    <a:lnTo>
                      <a:pt x="2472" y="0"/>
                    </a:lnTo>
                    <a:lnTo>
                      <a:pt x="2426" y="94"/>
                    </a:lnTo>
                    <a:lnTo>
                      <a:pt x="2379" y="185"/>
                    </a:lnTo>
                    <a:lnTo>
                      <a:pt x="1977" y="1004"/>
                    </a:lnTo>
                    <a:lnTo>
                      <a:pt x="1967" y="1018"/>
                    </a:lnTo>
                    <a:lnTo>
                      <a:pt x="1956" y="1027"/>
                    </a:lnTo>
                    <a:lnTo>
                      <a:pt x="1937" y="1029"/>
                    </a:lnTo>
                    <a:lnTo>
                      <a:pt x="23" y="1029"/>
                    </a:lnTo>
                    <a:lnTo>
                      <a:pt x="17" y="1027"/>
                    </a:lnTo>
                    <a:lnTo>
                      <a:pt x="9" y="1027"/>
                    </a:lnTo>
                    <a:lnTo>
                      <a:pt x="0" y="1027"/>
                    </a:lnTo>
                    <a:lnTo>
                      <a:pt x="48" y="938"/>
                    </a:lnTo>
                    <a:lnTo>
                      <a:pt x="100" y="852"/>
                    </a:lnTo>
                    <a:lnTo>
                      <a:pt x="152" y="767"/>
                    </a:lnTo>
                    <a:lnTo>
                      <a:pt x="210" y="683"/>
                    </a:lnTo>
                    <a:lnTo>
                      <a:pt x="270" y="606"/>
                    </a:lnTo>
                    <a:lnTo>
                      <a:pt x="334" y="531"/>
                    </a:lnTo>
                    <a:lnTo>
                      <a:pt x="404" y="461"/>
                    </a:lnTo>
                    <a:lnTo>
                      <a:pt x="479" y="396"/>
                    </a:lnTo>
                    <a:lnTo>
                      <a:pt x="560" y="336"/>
                    </a:lnTo>
                    <a:lnTo>
                      <a:pt x="647" y="284"/>
                    </a:lnTo>
                    <a:lnTo>
                      <a:pt x="744" y="235"/>
                    </a:lnTo>
                    <a:lnTo>
                      <a:pt x="842" y="195"/>
                    </a:lnTo>
                    <a:lnTo>
                      <a:pt x="941" y="162"/>
                    </a:lnTo>
                    <a:lnTo>
                      <a:pt x="1043" y="133"/>
                    </a:lnTo>
                    <a:lnTo>
                      <a:pt x="1148" y="108"/>
                    </a:lnTo>
                    <a:lnTo>
                      <a:pt x="1320" y="75"/>
                    </a:lnTo>
                    <a:lnTo>
                      <a:pt x="1492" y="50"/>
                    </a:lnTo>
                    <a:lnTo>
                      <a:pt x="1666" y="32"/>
                    </a:lnTo>
                    <a:lnTo>
                      <a:pt x="1842" y="21"/>
                    </a:lnTo>
                    <a:lnTo>
                      <a:pt x="2138" y="9"/>
                    </a:lnTo>
                    <a:lnTo>
                      <a:pt x="2433" y="0"/>
                    </a:lnTo>
                    <a:lnTo>
                      <a:pt x="2451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</p:grpSp>
      </p:grpSp>
      <p:sp>
        <p:nvSpPr>
          <p:cNvPr id="17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197E883-74D9-DD49-9664-52FC49ABA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520825"/>
            <a:ext cx="11176000" cy="42846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>
              <a:solidFill>
                <a:schemeClr val="tx2"/>
              </a:solidFill>
            </a:endParaRPr>
          </a:p>
        </p:txBody>
      </p:sp>
      <p:sp>
        <p:nvSpPr>
          <p:cNvPr id="3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</a:p>
        </p:txBody>
      </p:sp>
      <p:sp>
        <p:nvSpPr>
          <p:cNvPr id="3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err="1"/>
              <a:t>Titolo</a:t>
            </a:r>
            <a:r>
              <a:rPr lang="en-GB"/>
              <a:t> </a:t>
            </a:r>
            <a:r>
              <a:rPr lang="en-GB" err="1"/>
              <a:t>presentazione</a:t>
            </a:r>
            <a:r>
              <a:rPr lang="en-GB"/>
              <a:t>   I   Nome </a:t>
            </a:r>
            <a:r>
              <a:rPr lang="en-GB" err="1"/>
              <a:t>relatore</a:t>
            </a:r>
            <a:endParaRPr lang="en-GB"/>
          </a:p>
        </p:txBody>
      </p:sp>
      <p:pic>
        <p:nvPicPr>
          <p:cNvPr id="41" name="Immagine 4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4520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SSO1_COPY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0"/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8170" y="0"/>
            <a:ext cx="472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6074" y="90427"/>
            <a:ext cx="346160" cy="234428"/>
            <a:chOff x="-560" y="-1287"/>
            <a:chExt cx="6379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>
              <a:solidFill>
                <a:schemeClr val="tx2"/>
              </a:solidFill>
            </a:endParaRP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0"/>
            <a:ext cx="11176000" cy="490378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  <p:sp>
        <p:nvSpPr>
          <p:cNvPr id="1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</a:p>
        </p:txBody>
      </p:sp>
      <p:sp>
        <p:nvSpPr>
          <p:cNvPr id="1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err="1"/>
              <a:t>Titolo</a:t>
            </a:r>
            <a:r>
              <a:rPr lang="en-GB"/>
              <a:t> </a:t>
            </a:r>
            <a:r>
              <a:rPr lang="en-GB" err="1"/>
              <a:t>presentazione</a:t>
            </a:r>
            <a:r>
              <a:rPr lang="en-GB"/>
              <a:t>   I   Nome </a:t>
            </a:r>
            <a:r>
              <a:rPr lang="en-GB" err="1"/>
              <a:t>relatore</a:t>
            </a:r>
            <a:endParaRPr lang="en-GB"/>
          </a:p>
        </p:txBody>
      </p:sp>
      <p:pic>
        <p:nvPicPr>
          <p:cNvPr id="31" name="Immagine 3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295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pertina Sottosezione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13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6136667" y="2020033"/>
            <a:ext cx="5185489" cy="63477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defRPr lang="it-IT" sz="32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ct val="0"/>
              </a:spcBef>
            </a:pPr>
            <a:r>
              <a:rPr lang="it-IT"/>
              <a:t>Sottotitolo</a:t>
            </a:r>
          </a:p>
        </p:txBody>
      </p:sp>
      <p:sp>
        <p:nvSpPr>
          <p:cNvPr id="2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7705" y="1222782"/>
            <a:ext cx="7324451" cy="79725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lnSpc>
                <a:spcPct val="80000"/>
              </a:lnSpc>
              <a:defRPr lang="it-IT" sz="4800"/>
            </a:lvl1pPr>
          </a:lstStyle>
          <a:p>
            <a:pPr lvl="0"/>
            <a:r>
              <a:rPr lang="it-IT"/>
              <a:t>Copertina sezione - alt 1</a:t>
            </a:r>
          </a:p>
        </p:txBody>
      </p:sp>
    </p:spTree>
    <p:extLst>
      <p:ext uri="{BB962C8B-B14F-4D97-AF65-F5344CB8AC3E}">
        <p14:creationId xmlns:p14="http://schemas.microsoft.com/office/powerpoint/2010/main" val="1506209015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2303463" y="6021388"/>
            <a:ext cx="1824037" cy="68421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it-IT"/>
          </a:p>
        </p:txBody>
      </p:sp>
      <p:sp>
        <p:nvSpPr>
          <p:cNvPr id="3" name="Segnaposto numero diapositiva 3"/>
          <p:cNvSpPr>
            <a:spLocks noGrp="1"/>
          </p:cNvSpPr>
          <p:nvPr>
            <p:ph type="sldNum" sz="quarter" idx="10"/>
          </p:nvPr>
        </p:nvSpPr>
        <p:spPr>
          <a:xfrm>
            <a:off x="8737600" y="6356350"/>
            <a:ext cx="28448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="1" i="1"/>
            </a:lvl1pPr>
          </a:lstStyle>
          <a:p>
            <a:fld id="{1EFAF0CA-0BF1-472D-88E7-5DAF340D40E5}" type="slidenum">
              <a:rPr lang="it-IT" altLang="it-IT"/>
              <a:pPr/>
              <a:t>‹N›</a:t>
            </a:fld>
            <a:endParaRPr lang="it-IT" altLang="it-IT"/>
          </a:p>
        </p:txBody>
      </p:sp>
    </p:spTree>
    <p:extLst>
      <p:ext uri="{BB962C8B-B14F-4D97-AF65-F5344CB8AC3E}">
        <p14:creationId xmlns:p14="http://schemas.microsoft.com/office/powerpoint/2010/main" val="39471955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38311699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8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8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3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3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19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19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28444646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pertina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9112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0" name="Titolo 1"/>
          <p:cNvSpPr>
            <a:spLocks noGrp="1"/>
          </p:cNvSpPr>
          <p:nvPr>
            <p:ph type="title" hasCustomPrompt="1"/>
          </p:nvPr>
        </p:nvSpPr>
        <p:spPr>
          <a:xfrm>
            <a:off x="407988" y="1789113"/>
            <a:ext cx="5430838" cy="2511691"/>
          </a:xfrm>
          <a:prstGeom prst="rect">
            <a:avLst/>
          </a:prstGeom>
        </p:spPr>
        <p:txBody>
          <a:bodyPr anchor="ctr" anchorCtr="0"/>
          <a:lstStyle>
            <a:lvl1pPr algn="r">
              <a:defRPr sz="5400">
                <a:solidFill>
                  <a:schemeClr val="bg1"/>
                </a:solidFill>
              </a:defRPr>
            </a:lvl1pPr>
          </a:lstStyle>
          <a:p>
            <a:r>
              <a:rPr lang="it-IT"/>
              <a:t>Copertina sezione - alt 2</a:t>
            </a:r>
          </a:p>
        </p:txBody>
      </p:sp>
      <p:sp>
        <p:nvSpPr>
          <p:cNvPr id="21" name="Segnaposto testo 2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4350048"/>
            <a:ext cx="5430838" cy="585527"/>
          </a:xfrm>
          <a:prstGeom prst="rect">
            <a:avLst/>
          </a:prstGeom>
        </p:spPr>
        <p:txBody>
          <a:bodyPr anchor="ctr" anchorCtr="0"/>
          <a:lstStyle>
            <a:lvl1pPr algn="r">
              <a:defRPr sz="3200">
                <a:solidFill>
                  <a:schemeClr val="bg1"/>
                </a:solidFill>
              </a:defRPr>
            </a:lvl1pPr>
          </a:lstStyle>
          <a:p>
            <a:r>
              <a:rPr lang="it-IT"/>
              <a:t>Sottotitolo</a:t>
            </a:r>
          </a:p>
        </p:txBody>
      </p:sp>
    </p:spTree>
    <p:extLst>
      <p:ext uri="{BB962C8B-B14F-4D97-AF65-F5344CB8AC3E}">
        <p14:creationId xmlns:p14="http://schemas.microsoft.com/office/powerpoint/2010/main" val="3714381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86062742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SO1_Titolo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" name="Rettangolo 1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466584B-8BD1-48B2-BD0C-DC7DD5380BEF}"/>
                </a:ext>
              </a:extLst>
            </p:cNvPr>
            <p:cNvSpPr/>
            <p:nvPr userDrawn="1"/>
          </p:nvSpPr>
          <p:spPr>
            <a:xfrm>
              <a:off x="11718170" y="0"/>
              <a:ext cx="47288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93527B5-7425-47AC-89C0-2B32AE60168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1786074" y="90427"/>
              <a:ext cx="346160" cy="234428"/>
              <a:chOff x="-560" y="-1287"/>
              <a:chExt cx="6379" cy="4320"/>
            </a:xfrm>
          </p:grpSpPr>
          <p:sp>
            <p:nvSpPr>
              <p:cNvPr id="24" name="AutoShape 3">
                <a:extLst>
                  <a:ext uri="{FF2B5EF4-FFF2-40B4-BE49-F238E27FC236}">
                    <a16:creationId xmlns:a16="http://schemas.microsoft.com/office/drawing/2014/main" id="{85DBAE22-A53B-46F6-A1C2-9F9E40807B3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B355A452-2788-4C68-9C15-CC51FD59A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B83AE660-1A7F-4C22-9AF1-535B2E94E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" y="423"/>
                <a:ext cx="5536" cy="2610"/>
              </a:xfrm>
              <a:custGeom>
                <a:avLst/>
                <a:gdLst>
                  <a:gd name="T0" fmla="*/ 5536 w 5536"/>
                  <a:gd name="T1" fmla="*/ 0 h 2610"/>
                  <a:gd name="T2" fmla="*/ 5470 w 5536"/>
                  <a:gd name="T3" fmla="*/ 127 h 2610"/>
                  <a:gd name="T4" fmla="*/ 5449 w 5536"/>
                  <a:gd name="T5" fmla="*/ 139 h 2610"/>
                  <a:gd name="T6" fmla="*/ 5061 w 5536"/>
                  <a:gd name="T7" fmla="*/ 164 h 2610"/>
                  <a:gd name="T8" fmla="*/ 4881 w 5536"/>
                  <a:gd name="T9" fmla="*/ 189 h 2610"/>
                  <a:gd name="T10" fmla="*/ 4722 w 5536"/>
                  <a:gd name="T11" fmla="*/ 247 h 2610"/>
                  <a:gd name="T12" fmla="*/ 4585 w 5536"/>
                  <a:gd name="T13" fmla="*/ 336 h 2610"/>
                  <a:gd name="T14" fmla="*/ 4471 w 5536"/>
                  <a:gd name="T15" fmla="*/ 460 h 2610"/>
                  <a:gd name="T16" fmla="*/ 4380 w 5536"/>
                  <a:gd name="T17" fmla="*/ 618 h 2610"/>
                  <a:gd name="T18" fmla="*/ 4338 w 5536"/>
                  <a:gd name="T19" fmla="*/ 757 h 2610"/>
                  <a:gd name="T20" fmla="*/ 4318 w 5536"/>
                  <a:gd name="T21" fmla="*/ 902 h 2610"/>
                  <a:gd name="T22" fmla="*/ 4305 w 5536"/>
                  <a:gd name="T23" fmla="*/ 1107 h 2610"/>
                  <a:gd name="T24" fmla="*/ 4278 w 5536"/>
                  <a:gd name="T25" fmla="*/ 1312 h 2610"/>
                  <a:gd name="T26" fmla="*/ 4208 w 5536"/>
                  <a:gd name="T27" fmla="*/ 1538 h 2610"/>
                  <a:gd name="T28" fmla="*/ 4100 w 5536"/>
                  <a:gd name="T29" fmla="*/ 1768 h 2610"/>
                  <a:gd name="T30" fmla="*/ 3963 w 5536"/>
                  <a:gd name="T31" fmla="*/ 1971 h 2610"/>
                  <a:gd name="T32" fmla="*/ 3800 w 5536"/>
                  <a:gd name="T33" fmla="*/ 2146 h 2610"/>
                  <a:gd name="T34" fmla="*/ 3609 w 5536"/>
                  <a:gd name="T35" fmla="*/ 2293 h 2610"/>
                  <a:gd name="T36" fmla="*/ 3391 w 5536"/>
                  <a:gd name="T37" fmla="*/ 2413 h 2610"/>
                  <a:gd name="T38" fmla="*/ 3145 w 5536"/>
                  <a:gd name="T39" fmla="*/ 2504 h 2610"/>
                  <a:gd name="T40" fmla="*/ 2911 w 5536"/>
                  <a:gd name="T41" fmla="*/ 2552 h 2610"/>
                  <a:gd name="T42" fmla="*/ 2671 w 5536"/>
                  <a:gd name="T43" fmla="*/ 2585 h 2610"/>
                  <a:gd name="T44" fmla="*/ 2378 w 5536"/>
                  <a:gd name="T45" fmla="*/ 2608 h 2610"/>
                  <a:gd name="T46" fmla="*/ 2084 w 5536"/>
                  <a:gd name="T47" fmla="*/ 2608 h 2610"/>
                  <a:gd name="T48" fmla="*/ 54 w 5536"/>
                  <a:gd name="T49" fmla="*/ 2608 h 2610"/>
                  <a:gd name="T50" fmla="*/ 0 w 5536"/>
                  <a:gd name="T51" fmla="*/ 2608 h 2610"/>
                  <a:gd name="T52" fmla="*/ 64 w 5536"/>
                  <a:gd name="T53" fmla="*/ 2477 h 2610"/>
                  <a:gd name="T54" fmla="*/ 93 w 5536"/>
                  <a:gd name="T55" fmla="*/ 2436 h 2610"/>
                  <a:gd name="T56" fmla="*/ 143 w 5536"/>
                  <a:gd name="T57" fmla="*/ 2426 h 2610"/>
                  <a:gd name="T58" fmla="*/ 1098 w 5536"/>
                  <a:gd name="T59" fmla="*/ 2419 h 2610"/>
                  <a:gd name="T60" fmla="*/ 1469 w 5536"/>
                  <a:gd name="T61" fmla="*/ 2396 h 2610"/>
                  <a:gd name="T62" fmla="*/ 1753 w 5536"/>
                  <a:gd name="T63" fmla="*/ 2368 h 2610"/>
                  <a:gd name="T64" fmla="*/ 1947 w 5536"/>
                  <a:gd name="T65" fmla="*/ 2336 h 2610"/>
                  <a:gd name="T66" fmla="*/ 2155 w 5536"/>
                  <a:gd name="T67" fmla="*/ 2268 h 2610"/>
                  <a:gd name="T68" fmla="*/ 2362 w 5536"/>
                  <a:gd name="T69" fmla="*/ 2162 h 2610"/>
                  <a:gd name="T70" fmla="*/ 2540 w 5536"/>
                  <a:gd name="T71" fmla="*/ 2028 h 2610"/>
                  <a:gd name="T72" fmla="*/ 2687 w 5536"/>
                  <a:gd name="T73" fmla="*/ 1866 h 2610"/>
                  <a:gd name="T74" fmla="*/ 2807 w 5536"/>
                  <a:gd name="T75" fmla="*/ 1675 h 2610"/>
                  <a:gd name="T76" fmla="*/ 2896 w 5536"/>
                  <a:gd name="T77" fmla="*/ 1453 h 2610"/>
                  <a:gd name="T78" fmla="*/ 3064 w 5536"/>
                  <a:gd name="T79" fmla="*/ 881 h 2610"/>
                  <a:gd name="T80" fmla="*/ 3108 w 5536"/>
                  <a:gd name="T81" fmla="*/ 732 h 2610"/>
                  <a:gd name="T82" fmla="*/ 3170 w 5536"/>
                  <a:gd name="T83" fmla="*/ 591 h 2610"/>
                  <a:gd name="T84" fmla="*/ 3290 w 5536"/>
                  <a:gd name="T85" fmla="*/ 423 h 2610"/>
                  <a:gd name="T86" fmla="*/ 3431 w 5536"/>
                  <a:gd name="T87" fmla="*/ 288 h 2610"/>
                  <a:gd name="T88" fmla="*/ 3595 w 5536"/>
                  <a:gd name="T89" fmla="*/ 187 h 2610"/>
                  <a:gd name="T90" fmla="*/ 3785 w 5536"/>
                  <a:gd name="T91" fmla="*/ 122 h 2610"/>
                  <a:gd name="T92" fmla="*/ 4003 w 5536"/>
                  <a:gd name="T93" fmla="*/ 91 h 2610"/>
                  <a:gd name="T94" fmla="*/ 4235 w 5536"/>
                  <a:gd name="T95" fmla="*/ 79 h 2610"/>
                  <a:gd name="T96" fmla="*/ 5498 w 5536"/>
                  <a:gd name="T97" fmla="*/ 0 h 2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536" h="2610">
                    <a:moveTo>
                      <a:pt x="5515" y="0"/>
                    </a:moveTo>
                    <a:lnTo>
                      <a:pt x="5536" y="0"/>
                    </a:lnTo>
                    <a:lnTo>
                      <a:pt x="5503" y="66"/>
                    </a:lnTo>
                    <a:lnTo>
                      <a:pt x="5470" y="127"/>
                    </a:lnTo>
                    <a:lnTo>
                      <a:pt x="5463" y="135"/>
                    </a:lnTo>
                    <a:lnTo>
                      <a:pt x="5449" y="139"/>
                    </a:lnTo>
                    <a:lnTo>
                      <a:pt x="5436" y="141"/>
                    </a:lnTo>
                    <a:lnTo>
                      <a:pt x="5061" y="164"/>
                    </a:lnTo>
                    <a:lnTo>
                      <a:pt x="4968" y="172"/>
                    </a:lnTo>
                    <a:lnTo>
                      <a:pt x="4881" y="189"/>
                    </a:lnTo>
                    <a:lnTo>
                      <a:pt x="4798" y="214"/>
                    </a:lnTo>
                    <a:lnTo>
                      <a:pt x="4722" y="247"/>
                    </a:lnTo>
                    <a:lnTo>
                      <a:pt x="4651" y="288"/>
                    </a:lnTo>
                    <a:lnTo>
                      <a:pt x="4585" y="336"/>
                    </a:lnTo>
                    <a:lnTo>
                      <a:pt x="4525" y="394"/>
                    </a:lnTo>
                    <a:lnTo>
                      <a:pt x="4471" y="460"/>
                    </a:lnTo>
                    <a:lnTo>
                      <a:pt x="4423" y="535"/>
                    </a:lnTo>
                    <a:lnTo>
                      <a:pt x="4380" y="618"/>
                    </a:lnTo>
                    <a:lnTo>
                      <a:pt x="4353" y="686"/>
                    </a:lnTo>
                    <a:lnTo>
                      <a:pt x="4338" y="757"/>
                    </a:lnTo>
                    <a:lnTo>
                      <a:pt x="4326" y="829"/>
                    </a:lnTo>
                    <a:lnTo>
                      <a:pt x="4318" y="902"/>
                    </a:lnTo>
                    <a:lnTo>
                      <a:pt x="4311" y="1004"/>
                    </a:lnTo>
                    <a:lnTo>
                      <a:pt x="4305" y="1107"/>
                    </a:lnTo>
                    <a:lnTo>
                      <a:pt x="4295" y="1209"/>
                    </a:lnTo>
                    <a:lnTo>
                      <a:pt x="4278" y="1312"/>
                    </a:lnTo>
                    <a:lnTo>
                      <a:pt x="4253" y="1412"/>
                    </a:lnTo>
                    <a:lnTo>
                      <a:pt x="4208" y="1538"/>
                    </a:lnTo>
                    <a:lnTo>
                      <a:pt x="4158" y="1656"/>
                    </a:lnTo>
                    <a:lnTo>
                      <a:pt x="4100" y="1768"/>
                    </a:lnTo>
                    <a:lnTo>
                      <a:pt x="4034" y="1872"/>
                    </a:lnTo>
                    <a:lnTo>
                      <a:pt x="3963" y="1971"/>
                    </a:lnTo>
                    <a:lnTo>
                      <a:pt x="3885" y="2061"/>
                    </a:lnTo>
                    <a:lnTo>
                      <a:pt x="3800" y="2146"/>
                    </a:lnTo>
                    <a:lnTo>
                      <a:pt x="3708" y="2224"/>
                    </a:lnTo>
                    <a:lnTo>
                      <a:pt x="3609" y="2293"/>
                    </a:lnTo>
                    <a:lnTo>
                      <a:pt x="3503" y="2357"/>
                    </a:lnTo>
                    <a:lnTo>
                      <a:pt x="3391" y="2413"/>
                    </a:lnTo>
                    <a:lnTo>
                      <a:pt x="3271" y="2461"/>
                    </a:lnTo>
                    <a:lnTo>
                      <a:pt x="3145" y="2504"/>
                    </a:lnTo>
                    <a:lnTo>
                      <a:pt x="3029" y="2533"/>
                    </a:lnTo>
                    <a:lnTo>
                      <a:pt x="2911" y="2552"/>
                    </a:lnTo>
                    <a:lnTo>
                      <a:pt x="2791" y="2569"/>
                    </a:lnTo>
                    <a:lnTo>
                      <a:pt x="2671" y="2585"/>
                    </a:lnTo>
                    <a:lnTo>
                      <a:pt x="2525" y="2602"/>
                    </a:lnTo>
                    <a:lnTo>
                      <a:pt x="2378" y="2608"/>
                    </a:lnTo>
                    <a:lnTo>
                      <a:pt x="2231" y="2610"/>
                    </a:lnTo>
                    <a:lnTo>
                      <a:pt x="2084" y="2608"/>
                    </a:lnTo>
                    <a:lnTo>
                      <a:pt x="1937" y="2608"/>
                    </a:lnTo>
                    <a:lnTo>
                      <a:pt x="54" y="2608"/>
                    </a:lnTo>
                    <a:lnTo>
                      <a:pt x="0" y="2608"/>
                    </a:lnTo>
                    <a:lnTo>
                      <a:pt x="0" y="2608"/>
                    </a:lnTo>
                    <a:lnTo>
                      <a:pt x="33" y="2540"/>
                    </a:lnTo>
                    <a:lnTo>
                      <a:pt x="64" y="2477"/>
                    </a:lnTo>
                    <a:lnTo>
                      <a:pt x="75" y="2452"/>
                    </a:lnTo>
                    <a:lnTo>
                      <a:pt x="93" y="2436"/>
                    </a:lnTo>
                    <a:lnTo>
                      <a:pt x="114" y="2428"/>
                    </a:lnTo>
                    <a:lnTo>
                      <a:pt x="143" y="2426"/>
                    </a:lnTo>
                    <a:lnTo>
                      <a:pt x="621" y="2426"/>
                    </a:lnTo>
                    <a:lnTo>
                      <a:pt x="1098" y="2419"/>
                    </a:lnTo>
                    <a:lnTo>
                      <a:pt x="1284" y="2409"/>
                    </a:lnTo>
                    <a:lnTo>
                      <a:pt x="1469" y="2396"/>
                    </a:lnTo>
                    <a:lnTo>
                      <a:pt x="1655" y="2378"/>
                    </a:lnTo>
                    <a:lnTo>
                      <a:pt x="1753" y="2368"/>
                    </a:lnTo>
                    <a:lnTo>
                      <a:pt x="1850" y="2355"/>
                    </a:lnTo>
                    <a:lnTo>
                      <a:pt x="1947" y="2336"/>
                    </a:lnTo>
                    <a:lnTo>
                      <a:pt x="2043" y="2311"/>
                    </a:lnTo>
                    <a:lnTo>
                      <a:pt x="2155" y="2268"/>
                    </a:lnTo>
                    <a:lnTo>
                      <a:pt x="2264" y="2218"/>
                    </a:lnTo>
                    <a:lnTo>
                      <a:pt x="2362" y="2162"/>
                    </a:lnTo>
                    <a:lnTo>
                      <a:pt x="2455" y="2098"/>
                    </a:lnTo>
                    <a:lnTo>
                      <a:pt x="2540" y="2028"/>
                    </a:lnTo>
                    <a:lnTo>
                      <a:pt x="2617" y="1951"/>
                    </a:lnTo>
                    <a:lnTo>
                      <a:pt x="2687" y="1866"/>
                    </a:lnTo>
                    <a:lnTo>
                      <a:pt x="2751" y="1773"/>
                    </a:lnTo>
                    <a:lnTo>
                      <a:pt x="2807" y="1675"/>
                    </a:lnTo>
                    <a:lnTo>
                      <a:pt x="2855" y="1569"/>
                    </a:lnTo>
                    <a:lnTo>
                      <a:pt x="2896" y="1453"/>
                    </a:lnTo>
                    <a:lnTo>
                      <a:pt x="2983" y="1167"/>
                    </a:lnTo>
                    <a:lnTo>
                      <a:pt x="3064" y="881"/>
                    </a:lnTo>
                    <a:lnTo>
                      <a:pt x="3085" y="805"/>
                    </a:lnTo>
                    <a:lnTo>
                      <a:pt x="3108" y="732"/>
                    </a:lnTo>
                    <a:lnTo>
                      <a:pt x="3135" y="661"/>
                    </a:lnTo>
                    <a:lnTo>
                      <a:pt x="3170" y="591"/>
                    </a:lnTo>
                    <a:lnTo>
                      <a:pt x="3226" y="502"/>
                    </a:lnTo>
                    <a:lnTo>
                      <a:pt x="3290" y="423"/>
                    </a:lnTo>
                    <a:lnTo>
                      <a:pt x="3358" y="351"/>
                    </a:lnTo>
                    <a:lnTo>
                      <a:pt x="3431" y="288"/>
                    </a:lnTo>
                    <a:lnTo>
                      <a:pt x="3510" y="234"/>
                    </a:lnTo>
                    <a:lnTo>
                      <a:pt x="3595" y="187"/>
                    </a:lnTo>
                    <a:lnTo>
                      <a:pt x="3688" y="151"/>
                    </a:lnTo>
                    <a:lnTo>
                      <a:pt x="3785" y="122"/>
                    </a:lnTo>
                    <a:lnTo>
                      <a:pt x="3887" y="102"/>
                    </a:lnTo>
                    <a:lnTo>
                      <a:pt x="4003" y="91"/>
                    </a:lnTo>
                    <a:lnTo>
                      <a:pt x="4119" y="85"/>
                    </a:lnTo>
                    <a:lnTo>
                      <a:pt x="4235" y="79"/>
                    </a:lnTo>
                    <a:lnTo>
                      <a:pt x="4923" y="35"/>
                    </a:lnTo>
                    <a:lnTo>
                      <a:pt x="5498" y="0"/>
                    </a:lnTo>
                    <a:lnTo>
                      <a:pt x="5515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BE6F8E9-24BA-47B8-9CCD-E18AD0A4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" y="-1283"/>
                <a:ext cx="4960" cy="1437"/>
              </a:xfrm>
              <a:custGeom>
                <a:avLst/>
                <a:gdLst>
                  <a:gd name="T0" fmla="*/ 4896 w 4960"/>
                  <a:gd name="T1" fmla="*/ 0 h 1437"/>
                  <a:gd name="T2" fmla="*/ 4960 w 4960"/>
                  <a:gd name="T3" fmla="*/ 0 h 1437"/>
                  <a:gd name="T4" fmla="*/ 4935 w 4960"/>
                  <a:gd name="T5" fmla="*/ 46 h 1437"/>
                  <a:gd name="T6" fmla="*/ 4912 w 4960"/>
                  <a:gd name="T7" fmla="*/ 89 h 1437"/>
                  <a:gd name="T8" fmla="*/ 4892 w 4960"/>
                  <a:gd name="T9" fmla="*/ 131 h 1437"/>
                  <a:gd name="T10" fmla="*/ 4879 w 4960"/>
                  <a:gd name="T11" fmla="*/ 162 h 1437"/>
                  <a:gd name="T12" fmla="*/ 4860 w 4960"/>
                  <a:gd name="T13" fmla="*/ 181 h 1437"/>
                  <a:gd name="T14" fmla="*/ 4838 w 4960"/>
                  <a:gd name="T15" fmla="*/ 195 h 1437"/>
                  <a:gd name="T16" fmla="*/ 4809 w 4960"/>
                  <a:gd name="T17" fmla="*/ 201 h 1437"/>
                  <a:gd name="T18" fmla="*/ 4776 w 4960"/>
                  <a:gd name="T19" fmla="*/ 203 h 1437"/>
                  <a:gd name="T20" fmla="*/ 4287 w 4960"/>
                  <a:gd name="T21" fmla="*/ 201 h 1437"/>
                  <a:gd name="T22" fmla="*/ 3798 w 4960"/>
                  <a:gd name="T23" fmla="*/ 203 h 1437"/>
                  <a:gd name="T24" fmla="*/ 3590 w 4960"/>
                  <a:gd name="T25" fmla="*/ 207 h 1437"/>
                  <a:gd name="T26" fmla="*/ 3381 w 4960"/>
                  <a:gd name="T27" fmla="*/ 216 h 1437"/>
                  <a:gd name="T28" fmla="*/ 3172 w 4960"/>
                  <a:gd name="T29" fmla="*/ 234 h 1437"/>
                  <a:gd name="T30" fmla="*/ 2965 w 4960"/>
                  <a:gd name="T31" fmla="*/ 261 h 1437"/>
                  <a:gd name="T32" fmla="*/ 2826 w 4960"/>
                  <a:gd name="T33" fmla="*/ 284 h 1437"/>
                  <a:gd name="T34" fmla="*/ 2689 w 4960"/>
                  <a:gd name="T35" fmla="*/ 313 h 1437"/>
                  <a:gd name="T36" fmla="*/ 2554 w 4960"/>
                  <a:gd name="T37" fmla="*/ 350 h 1437"/>
                  <a:gd name="T38" fmla="*/ 2420 w 4960"/>
                  <a:gd name="T39" fmla="*/ 394 h 1437"/>
                  <a:gd name="T40" fmla="*/ 2289 w 4960"/>
                  <a:gd name="T41" fmla="*/ 446 h 1437"/>
                  <a:gd name="T42" fmla="*/ 2161 w 4960"/>
                  <a:gd name="T43" fmla="*/ 508 h 1437"/>
                  <a:gd name="T44" fmla="*/ 2047 w 4960"/>
                  <a:gd name="T45" fmla="*/ 576 h 1437"/>
                  <a:gd name="T46" fmla="*/ 1941 w 4960"/>
                  <a:gd name="T47" fmla="*/ 651 h 1437"/>
                  <a:gd name="T48" fmla="*/ 1840 w 4960"/>
                  <a:gd name="T49" fmla="*/ 734 h 1437"/>
                  <a:gd name="T50" fmla="*/ 1746 w 4960"/>
                  <a:gd name="T51" fmla="*/ 823 h 1437"/>
                  <a:gd name="T52" fmla="*/ 1660 w 4960"/>
                  <a:gd name="T53" fmla="*/ 921 h 1437"/>
                  <a:gd name="T54" fmla="*/ 1579 w 4960"/>
                  <a:gd name="T55" fmla="*/ 1026 h 1437"/>
                  <a:gd name="T56" fmla="*/ 1496 w 4960"/>
                  <a:gd name="T57" fmla="*/ 1151 h 1437"/>
                  <a:gd name="T58" fmla="*/ 1417 w 4960"/>
                  <a:gd name="T59" fmla="*/ 1281 h 1437"/>
                  <a:gd name="T60" fmla="*/ 1338 w 4960"/>
                  <a:gd name="T61" fmla="*/ 1410 h 1437"/>
                  <a:gd name="T62" fmla="*/ 1326 w 4960"/>
                  <a:gd name="T63" fmla="*/ 1426 h 1437"/>
                  <a:gd name="T64" fmla="*/ 1313 w 4960"/>
                  <a:gd name="T65" fmla="*/ 1433 h 1437"/>
                  <a:gd name="T66" fmla="*/ 1295 w 4960"/>
                  <a:gd name="T67" fmla="*/ 1437 h 1437"/>
                  <a:gd name="T68" fmla="*/ 37 w 4960"/>
                  <a:gd name="T69" fmla="*/ 1437 h 1437"/>
                  <a:gd name="T70" fmla="*/ 21 w 4960"/>
                  <a:gd name="T71" fmla="*/ 1435 h 1437"/>
                  <a:gd name="T72" fmla="*/ 0 w 4960"/>
                  <a:gd name="T73" fmla="*/ 1435 h 1437"/>
                  <a:gd name="T74" fmla="*/ 64 w 4960"/>
                  <a:gd name="T75" fmla="*/ 1310 h 1437"/>
                  <a:gd name="T76" fmla="*/ 126 w 4960"/>
                  <a:gd name="T77" fmla="*/ 1186 h 1437"/>
                  <a:gd name="T78" fmla="*/ 186 w 4960"/>
                  <a:gd name="T79" fmla="*/ 1061 h 1437"/>
                  <a:gd name="T80" fmla="*/ 247 w 4960"/>
                  <a:gd name="T81" fmla="*/ 937 h 1437"/>
                  <a:gd name="T82" fmla="*/ 315 w 4960"/>
                  <a:gd name="T83" fmla="*/ 817 h 1437"/>
                  <a:gd name="T84" fmla="*/ 389 w 4960"/>
                  <a:gd name="T85" fmla="*/ 701 h 1437"/>
                  <a:gd name="T86" fmla="*/ 458 w 4960"/>
                  <a:gd name="T87" fmla="*/ 607 h 1437"/>
                  <a:gd name="T88" fmla="*/ 533 w 4960"/>
                  <a:gd name="T89" fmla="*/ 520 h 1437"/>
                  <a:gd name="T90" fmla="*/ 615 w 4960"/>
                  <a:gd name="T91" fmla="*/ 440 h 1437"/>
                  <a:gd name="T92" fmla="*/ 700 w 4960"/>
                  <a:gd name="T93" fmla="*/ 367 h 1437"/>
                  <a:gd name="T94" fmla="*/ 791 w 4960"/>
                  <a:gd name="T95" fmla="*/ 301 h 1437"/>
                  <a:gd name="T96" fmla="*/ 887 w 4960"/>
                  <a:gd name="T97" fmla="*/ 243 h 1437"/>
                  <a:gd name="T98" fmla="*/ 990 w 4960"/>
                  <a:gd name="T99" fmla="*/ 191 h 1437"/>
                  <a:gd name="T100" fmla="*/ 1096 w 4960"/>
                  <a:gd name="T101" fmla="*/ 147 h 1437"/>
                  <a:gd name="T102" fmla="*/ 1206 w 4960"/>
                  <a:gd name="T103" fmla="*/ 108 h 1437"/>
                  <a:gd name="T104" fmla="*/ 1351 w 4960"/>
                  <a:gd name="T105" fmla="*/ 69 h 1437"/>
                  <a:gd name="T106" fmla="*/ 1496 w 4960"/>
                  <a:gd name="T107" fmla="*/ 40 h 1437"/>
                  <a:gd name="T108" fmla="*/ 1645 w 4960"/>
                  <a:gd name="T109" fmla="*/ 21 h 1437"/>
                  <a:gd name="T110" fmla="*/ 1794 w 4960"/>
                  <a:gd name="T111" fmla="*/ 10 h 1437"/>
                  <a:gd name="T112" fmla="*/ 1954 w 4960"/>
                  <a:gd name="T113" fmla="*/ 4 h 1437"/>
                  <a:gd name="T114" fmla="*/ 2117 w 4960"/>
                  <a:gd name="T115" fmla="*/ 2 h 1437"/>
                  <a:gd name="T116" fmla="*/ 4896 w 4960"/>
                  <a:gd name="T117" fmla="*/ 0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60" h="1437">
                    <a:moveTo>
                      <a:pt x="4896" y="0"/>
                    </a:moveTo>
                    <a:lnTo>
                      <a:pt x="4960" y="0"/>
                    </a:lnTo>
                    <a:lnTo>
                      <a:pt x="4935" y="46"/>
                    </a:lnTo>
                    <a:lnTo>
                      <a:pt x="4912" y="89"/>
                    </a:lnTo>
                    <a:lnTo>
                      <a:pt x="4892" y="131"/>
                    </a:lnTo>
                    <a:lnTo>
                      <a:pt x="4879" y="162"/>
                    </a:lnTo>
                    <a:lnTo>
                      <a:pt x="4860" y="181"/>
                    </a:lnTo>
                    <a:lnTo>
                      <a:pt x="4838" y="195"/>
                    </a:lnTo>
                    <a:lnTo>
                      <a:pt x="4809" y="201"/>
                    </a:lnTo>
                    <a:lnTo>
                      <a:pt x="4776" y="203"/>
                    </a:lnTo>
                    <a:lnTo>
                      <a:pt x="4287" y="201"/>
                    </a:lnTo>
                    <a:lnTo>
                      <a:pt x="3798" y="203"/>
                    </a:lnTo>
                    <a:lnTo>
                      <a:pt x="3590" y="207"/>
                    </a:lnTo>
                    <a:lnTo>
                      <a:pt x="3381" y="216"/>
                    </a:lnTo>
                    <a:lnTo>
                      <a:pt x="3172" y="234"/>
                    </a:lnTo>
                    <a:lnTo>
                      <a:pt x="2965" y="261"/>
                    </a:lnTo>
                    <a:lnTo>
                      <a:pt x="2826" y="284"/>
                    </a:lnTo>
                    <a:lnTo>
                      <a:pt x="2689" y="313"/>
                    </a:lnTo>
                    <a:lnTo>
                      <a:pt x="2554" y="350"/>
                    </a:lnTo>
                    <a:lnTo>
                      <a:pt x="2420" y="394"/>
                    </a:lnTo>
                    <a:lnTo>
                      <a:pt x="2289" y="446"/>
                    </a:lnTo>
                    <a:lnTo>
                      <a:pt x="2161" y="508"/>
                    </a:lnTo>
                    <a:lnTo>
                      <a:pt x="2047" y="576"/>
                    </a:lnTo>
                    <a:lnTo>
                      <a:pt x="1941" y="651"/>
                    </a:lnTo>
                    <a:lnTo>
                      <a:pt x="1840" y="734"/>
                    </a:lnTo>
                    <a:lnTo>
                      <a:pt x="1746" y="823"/>
                    </a:lnTo>
                    <a:lnTo>
                      <a:pt x="1660" y="921"/>
                    </a:lnTo>
                    <a:lnTo>
                      <a:pt x="1579" y="1026"/>
                    </a:lnTo>
                    <a:lnTo>
                      <a:pt x="1496" y="1151"/>
                    </a:lnTo>
                    <a:lnTo>
                      <a:pt x="1417" y="1281"/>
                    </a:lnTo>
                    <a:lnTo>
                      <a:pt x="1338" y="1410"/>
                    </a:lnTo>
                    <a:lnTo>
                      <a:pt x="1326" y="1426"/>
                    </a:lnTo>
                    <a:lnTo>
                      <a:pt x="1313" y="1433"/>
                    </a:lnTo>
                    <a:lnTo>
                      <a:pt x="1295" y="1437"/>
                    </a:lnTo>
                    <a:lnTo>
                      <a:pt x="37" y="1437"/>
                    </a:lnTo>
                    <a:lnTo>
                      <a:pt x="21" y="1435"/>
                    </a:lnTo>
                    <a:lnTo>
                      <a:pt x="0" y="1435"/>
                    </a:lnTo>
                    <a:lnTo>
                      <a:pt x="64" y="1310"/>
                    </a:lnTo>
                    <a:lnTo>
                      <a:pt x="126" y="1186"/>
                    </a:lnTo>
                    <a:lnTo>
                      <a:pt x="186" y="1061"/>
                    </a:lnTo>
                    <a:lnTo>
                      <a:pt x="247" y="937"/>
                    </a:lnTo>
                    <a:lnTo>
                      <a:pt x="315" y="817"/>
                    </a:lnTo>
                    <a:lnTo>
                      <a:pt x="389" y="701"/>
                    </a:lnTo>
                    <a:lnTo>
                      <a:pt x="458" y="607"/>
                    </a:lnTo>
                    <a:lnTo>
                      <a:pt x="533" y="520"/>
                    </a:lnTo>
                    <a:lnTo>
                      <a:pt x="615" y="440"/>
                    </a:lnTo>
                    <a:lnTo>
                      <a:pt x="700" y="367"/>
                    </a:lnTo>
                    <a:lnTo>
                      <a:pt x="791" y="301"/>
                    </a:lnTo>
                    <a:lnTo>
                      <a:pt x="887" y="243"/>
                    </a:lnTo>
                    <a:lnTo>
                      <a:pt x="990" y="191"/>
                    </a:lnTo>
                    <a:lnTo>
                      <a:pt x="1096" y="147"/>
                    </a:lnTo>
                    <a:lnTo>
                      <a:pt x="1206" y="108"/>
                    </a:lnTo>
                    <a:lnTo>
                      <a:pt x="1351" y="69"/>
                    </a:lnTo>
                    <a:lnTo>
                      <a:pt x="1496" y="40"/>
                    </a:lnTo>
                    <a:lnTo>
                      <a:pt x="1645" y="21"/>
                    </a:lnTo>
                    <a:lnTo>
                      <a:pt x="1794" y="10"/>
                    </a:lnTo>
                    <a:lnTo>
                      <a:pt x="1954" y="4"/>
                    </a:lnTo>
                    <a:lnTo>
                      <a:pt x="2117" y="2"/>
                    </a:lnTo>
                    <a:lnTo>
                      <a:pt x="4896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61144228-6360-4B55-95F5-F9B22AED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5" y="643"/>
                <a:ext cx="2316" cy="1988"/>
              </a:xfrm>
              <a:custGeom>
                <a:avLst/>
                <a:gdLst>
                  <a:gd name="T0" fmla="*/ 2297 w 2316"/>
                  <a:gd name="T1" fmla="*/ 0 h 1988"/>
                  <a:gd name="T2" fmla="*/ 2316 w 2316"/>
                  <a:gd name="T3" fmla="*/ 0 h 1988"/>
                  <a:gd name="T4" fmla="*/ 2250 w 2316"/>
                  <a:gd name="T5" fmla="*/ 124 h 1988"/>
                  <a:gd name="T6" fmla="*/ 2185 w 2316"/>
                  <a:gd name="T7" fmla="*/ 245 h 1988"/>
                  <a:gd name="T8" fmla="*/ 2038 w 2316"/>
                  <a:gd name="T9" fmla="*/ 510 h 1988"/>
                  <a:gd name="T10" fmla="*/ 1885 w 2316"/>
                  <a:gd name="T11" fmla="*/ 771 h 1988"/>
                  <a:gd name="T12" fmla="*/ 1726 w 2316"/>
                  <a:gd name="T13" fmla="*/ 1028 h 1988"/>
                  <a:gd name="T14" fmla="*/ 1560 w 2316"/>
                  <a:gd name="T15" fmla="*/ 1281 h 1988"/>
                  <a:gd name="T16" fmla="*/ 1496 w 2316"/>
                  <a:gd name="T17" fmla="*/ 1368 h 1988"/>
                  <a:gd name="T18" fmla="*/ 1431 w 2316"/>
                  <a:gd name="T19" fmla="*/ 1455 h 1988"/>
                  <a:gd name="T20" fmla="*/ 1361 w 2316"/>
                  <a:gd name="T21" fmla="*/ 1536 h 1988"/>
                  <a:gd name="T22" fmla="*/ 1286 w 2316"/>
                  <a:gd name="T23" fmla="*/ 1613 h 1988"/>
                  <a:gd name="T24" fmla="*/ 1205 w 2316"/>
                  <a:gd name="T25" fmla="*/ 1685 h 1988"/>
                  <a:gd name="T26" fmla="*/ 1118 w 2316"/>
                  <a:gd name="T27" fmla="*/ 1751 h 1988"/>
                  <a:gd name="T28" fmla="*/ 1036 w 2316"/>
                  <a:gd name="T29" fmla="*/ 1803 h 1988"/>
                  <a:gd name="T30" fmla="*/ 951 w 2316"/>
                  <a:gd name="T31" fmla="*/ 1847 h 1988"/>
                  <a:gd name="T32" fmla="*/ 864 w 2316"/>
                  <a:gd name="T33" fmla="*/ 1884 h 1988"/>
                  <a:gd name="T34" fmla="*/ 773 w 2316"/>
                  <a:gd name="T35" fmla="*/ 1913 h 1988"/>
                  <a:gd name="T36" fmla="*/ 683 w 2316"/>
                  <a:gd name="T37" fmla="*/ 1936 h 1988"/>
                  <a:gd name="T38" fmla="*/ 586 w 2316"/>
                  <a:gd name="T39" fmla="*/ 1953 h 1988"/>
                  <a:gd name="T40" fmla="*/ 449 w 2316"/>
                  <a:gd name="T41" fmla="*/ 1971 h 1988"/>
                  <a:gd name="T42" fmla="*/ 311 w 2316"/>
                  <a:gd name="T43" fmla="*/ 1980 h 1988"/>
                  <a:gd name="T44" fmla="*/ 172 w 2316"/>
                  <a:gd name="T45" fmla="*/ 1986 h 1988"/>
                  <a:gd name="T46" fmla="*/ 33 w 2316"/>
                  <a:gd name="T47" fmla="*/ 1988 h 1988"/>
                  <a:gd name="T48" fmla="*/ 18 w 2316"/>
                  <a:gd name="T49" fmla="*/ 1988 h 1988"/>
                  <a:gd name="T50" fmla="*/ 0 w 2316"/>
                  <a:gd name="T51" fmla="*/ 1988 h 1988"/>
                  <a:gd name="T52" fmla="*/ 8 w 2316"/>
                  <a:gd name="T53" fmla="*/ 1969 h 1988"/>
                  <a:gd name="T54" fmla="*/ 14 w 2316"/>
                  <a:gd name="T55" fmla="*/ 1955 h 1988"/>
                  <a:gd name="T56" fmla="*/ 916 w 2316"/>
                  <a:gd name="T57" fmla="*/ 168 h 1988"/>
                  <a:gd name="T58" fmla="*/ 928 w 2316"/>
                  <a:gd name="T59" fmla="*/ 149 h 1988"/>
                  <a:gd name="T60" fmla="*/ 945 w 2316"/>
                  <a:gd name="T61" fmla="*/ 137 h 1988"/>
                  <a:gd name="T62" fmla="*/ 967 w 2316"/>
                  <a:gd name="T63" fmla="*/ 133 h 1988"/>
                  <a:gd name="T64" fmla="*/ 1753 w 2316"/>
                  <a:gd name="T65" fmla="*/ 54 h 1988"/>
                  <a:gd name="T66" fmla="*/ 2281 w 2316"/>
                  <a:gd name="T67" fmla="*/ 0 h 1988"/>
                  <a:gd name="T68" fmla="*/ 2297 w 2316"/>
                  <a:gd name="T69" fmla="*/ 0 h 1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16" h="1988">
                    <a:moveTo>
                      <a:pt x="2297" y="0"/>
                    </a:moveTo>
                    <a:lnTo>
                      <a:pt x="2316" y="0"/>
                    </a:lnTo>
                    <a:lnTo>
                      <a:pt x="2250" y="124"/>
                    </a:lnTo>
                    <a:lnTo>
                      <a:pt x="2185" y="245"/>
                    </a:lnTo>
                    <a:lnTo>
                      <a:pt x="2038" y="510"/>
                    </a:lnTo>
                    <a:lnTo>
                      <a:pt x="1885" y="771"/>
                    </a:lnTo>
                    <a:lnTo>
                      <a:pt x="1726" y="1028"/>
                    </a:lnTo>
                    <a:lnTo>
                      <a:pt x="1560" y="1281"/>
                    </a:lnTo>
                    <a:lnTo>
                      <a:pt x="1496" y="1368"/>
                    </a:lnTo>
                    <a:lnTo>
                      <a:pt x="1431" y="1455"/>
                    </a:lnTo>
                    <a:lnTo>
                      <a:pt x="1361" y="1536"/>
                    </a:lnTo>
                    <a:lnTo>
                      <a:pt x="1286" y="1613"/>
                    </a:lnTo>
                    <a:lnTo>
                      <a:pt x="1205" y="1685"/>
                    </a:lnTo>
                    <a:lnTo>
                      <a:pt x="1118" y="1751"/>
                    </a:lnTo>
                    <a:lnTo>
                      <a:pt x="1036" y="1803"/>
                    </a:lnTo>
                    <a:lnTo>
                      <a:pt x="951" y="1847"/>
                    </a:lnTo>
                    <a:lnTo>
                      <a:pt x="864" y="1884"/>
                    </a:lnTo>
                    <a:lnTo>
                      <a:pt x="773" y="1913"/>
                    </a:lnTo>
                    <a:lnTo>
                      <a:pt x="683" y="1936"/>
                    </a:lnTo>
                    <a:lnTo>
                      <a:pt x="586" y="1953"/>
                    </a:lnTo>
                    <a:lnTo>
                      <a:pt x="449" y="1971"/>
                    </a:lnTo>
                    <a:lnTo>
                      <a:pt x="311" y="1980"/>
                    </a:lnTo>
                    <a:lnTo>
                      <a:pt x="172" y="1986"/>
                    </a:lnTo>
                    <a:lnTo>
                      <a:pt x="33" y="1988"/>
                    </a:lnTo>
                    <a:lnTo>
                      <a:pt x="18" y="1988"/>
                    </a:lnTo>
                    <a:lnTo>
                      <a:pt x="0" y="1988"/>
                    </a:lnTo>
                    <a:lnTo>
                      <a:pt x="8" y="1969"/>
                    </a:lnTo>
                    <a:lnTo>
                      <a:pt x="14" y="1955"/>
                    </a:lnTo>
                    <a:lnTo>
                      <a:pt x="916" y="168"/>
                    </a:lnTo>
                    <a:lnTo>
                      <a:pt x="928" y="149"/>
                    </a:lnTo>
                    <a:lnTo>
                      <a:pt x="945" y="137"/>
                    </a:lnTo>
                    <a:lnTo>
                      <a:pt x="967" y="133"/>
                    </a:lnTo>
                    <a:lnTo>
                      <a:pt x="1753" y="54"/>
                    </a:lnTo>
                    <a:lnTo>
                      <a:pt x="2281" y="0"/>
                    </a:lnTo>
                    <a:lnTo>
                      <a:pt x="2297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88DFCB77-4787-41C9-BEEE-C96E24C9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" y="-875"/>
                <a:ext cx="2472" cy="1029"/>
              </a:xfrm>
              <a:custGeom>
                <a:avLst/>
                <a:gdLst>
                  <a:gd name="T0" fmla="*/ 2451 w 2472"/>
                  <a:gd name="T1" fmla="*/ 0 h 1029"/>
                  <a:gd name="T2" fmla="*/ 2472 w 2472"/>
                  <a:gd name="T3" fmla="*/ 0 h 1029"/>
                  <a:gd name="T4" fmla="*/ 2426 w 2472"/>
                  <a:gd name="T5" fmla="*/ 94 h 1029"/>
                  <a:gd name="T6" fmla="*/ 2379 w 2472"/>
                  <a:gd name="T7" fmla="*/ 185 h 1029"/>
                  <a:gd name="T8" fmla="*/ 1977 w 2472"/>
                  <a:gd name="T9" fmla="*/ 1004 h 1029"/>
                  <a:gd name="T10" fmla="*/ 1967 w 2472"/>
                  <a:gd name="T11" fmla="*/ 1018 h 1029"/>
                  <a:gd name="T12" fmla="*/ 1956 w 2472"/>
                  <a:gd name="T13" fmla="*/ 1027 h 1029"/>
                  <a:gd name="T14" fmla="*/ 1937 w 2472"/>
                  <a:gd name="T15" fmla="*/ 1029 h 1029"/>
                  <a:gd name="T16" fmla="*/ 23 w 2472"/>
                  <a:gd name="T17" fmla="*/ 1029 h 1029"/>
                  <a:gd name="T18" fmla="*/ 17 w 2472"/>
                  <a:gd name="T19" fmla="*/ 1027 h 1029"/>
                  <a:gd name="T20" fmla="*/ 9 w 2472"/>
                  <a:gd name="T21" fmla="*/ 1027 h 1029"/>
                  <a:gd name="T22" fmla="*/ 0 w 2472"/>
                  <a:gd name="T23" fmla="*/ 1027 h 1029"/>
                  <a:gd name="T24" fmla="*/ 48 w 2472"/>
                  <a:gd name="T25" fmla="*/ 938 h 1029"/>
                  <a:gd name="T26" fmla="*/ 100 w 2472"/>
                  <a:gd name="T27" fmla="*/ 852 h 1029"/>
                  <a:gd name="T28" fmla="*/ 152 w 2472"/>
                  <a:gd name="T29" fmla="*/ 767 h 1029"/>
                  <a:gd name="T30" fmla="*/ 210 w 2472"/>
                  <a:gd name="T31" fmla="*/ 683 h 1029"/>
                  <a:gd name="T32" fmla="*/ 270 w 2472"/>
                  <a:gd name="T33" fmla="*/ 606 h 1029"/>
                  <a:gd name="T34" fmla="*/ 334 w 2472"/>
                  <a:gd name="T35" fmla="*/ 531 h 1029"/>
                  <a:gd name="T36" fmla="*/ 404 w 2472"/>
                  <a:gd name="T37" fmla="*/ 461 h 1029"/>
                  <a:gd name="T38" fmla="*/ 479 w 2472"/>
                  <a:gd name="T39" fmla="*/ 396 h 1029"/>
                  <a:gd name="T40" fmla="*/ 560 w 2472"/>
                  <a:gd name="T41" fmla="*/ 336 h 1029"/>
                  <a:gd name="T42" fmla="*/ 647 w 2472"/>
                  <a:gd name="T43" fmla="*/ 284 h 1029"/>
                  <a:gd name="T44" fmla="*/ 744 w 2472"/>
                  <a:gd name="T45" fmla="*/ 235 h 1029"/>
                  <a:gd name="T46" fmla="*/ 842 w 2472"/>
                  <a:gd name="T47" fmla="*/ 195 h 1029"/>
                  <a:gd name="T48" fmla="*/ 941 w 2472"/>
                  <a:gd name="T49" fmla="*/ 162 h 1029"/>
                  <a:gd name="T50" fmla="*/ 1043 w 2472"/>
                  <a:gd name="T51" fmla="*/ 133 h 1029"/>
                  <a:gd name="T52" fmla="*/ 1148 w 2472"/>
                  <a:gd name="T53" fmla="*/ 108 h 1029"/>
                  <a:gd name="T54" fmla="*/ 1320 w 2472"/>
                  <a:gd name="T55" fmla="*/ 75 h 1029"/>
                  <a:gd name="T56" fmla="*/ 1492 w 2472"/>
                  <a:gd name="T57" fmla="*/ 50 h 1029"/>
                  <a:gd name="T58" fmla="*/ 1666 w 2472"/>
                  <a:gd name="T59" fmla="*/ 32 h 1029"/>
                  <a:gd name="T60" fmla="*/ 1842 w 2472"/>
                  <a:gd name="T61" fmla="*/ 21 h 1029"/>
                  <a:gd name="T62" fmla="*/ 2138 w 2472"/>
                  <a:gd name="T63" fmla="*/ 9 h 1029"/>
                  <a:gd name="T64" fmla="*/ 2433 w 2472"/>
                  <a:gd name="T65" fmla="*/ 0 h 1029"/>
                  <a:gd name="T66" fmla="*/ 2451 w 2472"/>
                  <a:gd name="T67" fmla="*/ 0 h 10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72" h="1029">
                    <a:moveTo>
                      <a:pt x="2451" y="0"/>
                    </a:moveTo>
                    <a:lnTo>
                      <a:pt x="2472" y="0"/>
                    </a:lnTo>
                    <a:lnTo>
                      <a:pt x="2426" y="94"/>
                    </a:lnTo>
                    <a:lnTo>
                      <a:pt x="2379" y="185"/>
                    </a:lnTo>
                    <a:lnTo>
                      <a:pt x="1977" y="1004"/>
                    </a:lnTo>
                    <a:lnTo>
                      <a:pt x="1967" y="1018"/>
                    </a:lnTo>
                    <a:lnTo>
                      <a:pt x="1956" y="1027"/>
                    </a:lnTo>
                    <a:lnTo>
                      <a:pt x="1937" y="1029"/>
                    </a:lnTo>
                    <a:lnTo>
                      <a:pt x="23" y="1029"/>
                    </a:lnTo>
                    <a:lnTo>
                      <a:pt x="17" y="1027"/>
                    </a:lnTo>
                    <a:lnTo>
                      <a:pt x="9" y="1027"/>
                    </a:lnTo>
                    <a:lnTo>
                      <a:pt x="0" y="1027"/>
                    </a:lnTo>
                    <a:lnTo>
                      <a:pt x="48" y="938"/>
                    </a:lnTo>
                    <a:lnTo>
                      <a:pt x="100" y="852"/>
                    </a:lnTo>
                    <a:lnTo>
                      <a:pt x="152" y="767"/>
                    </a:lnTo>
                    <a:lnTo>
                      <a:pt x="210" y="683"/>
                    </a:lnTo>
                    <a:lnTo>
                      <a:pt x="270" y="606"/>
                    </a:lnTo>
                    <a:lnTo>
                      <a:pt x="334" y="531"/>
                    </a:lnTo>
                    <a:lnTo>
                      <a:pt x="404" y="461"/>
                    </a:lnTo>
                    <a:lnTo>
                      <a:pt x="479" y="396"/>
                    </a:lnTo>
                    <a:lnTo>
                      <a:pt x="560" y="336"/>
                    </a:lnTo>
                    <a:lnTo>
                      <a:pt x="647" y="284"/>
                    </a:lnTo>
                    <a:lnTo>
                      <a:pt x="744" y="235"/>
                    </a:lnTo>
                    <a:lnTo>
                      <a:pt x="842" y="195"/>
                    </a:lnTo>
                    <a:lnTo>
                      <a:pt x="941" y="162"/>
                    </a:lnTo>
                    <a:lnTo>
                      <a:pt x="1043" y="133"/>
                    </a:lnTo>
                    <a:lnTo>
                      <a:pt x="1148" y="108"/>
                    </a:lnTo>
                    <a:lnTo>
                      <a:pt x="1320" y="75"/>
                    </a:lnTo>
                    <a:lnTo>
                      <a:pt x="1492" y="50"/>
                    </a:lnTo>
                    <a:lnTo>
                      <a:pt x="1666" y="32"/>
                    </a:lnTo>
                    <a:lnTo>
                      <a:pt x="1842" y="21"/>
                    </a:lnTo>
                    <a:lnTo>
                      <a:pt x="2138" y="9"/>
                    </a:lnTo>
                    <a:lnTo>
                      <a:pt x="2433" y="0"/>
                    </a:lnTo>
                    <a:lnTo>
                      <a:pt x="2451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</p:grpSp>
      </p:grpSp>
      <p:sp>
        <p:nvSpPr>
          <p:cNvPr id="17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197E883-74D9-DD49-9664-52FC49ABA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520825"/>
            <a:ext cx="11176000" cy="42846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>
              <a:solidFill>
                <a:schemeClr val="tx2"/>
              </a:solidFill>
            </a:endParaRPr>
          </a:p>
        </p:txBody>
      </p:sp>
      <p:sp>
        <p:nvSpPr>
          <p:cNvPr id="3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</a:p>
        </p:txBody>
      </p:sp>
      <p:sp>
        <p:nvSpPr>
          <p:cNvPr id="3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err="1"/>
              <a:t>Titolo</a:t>
            </a:r>
            <a:r>
              <a:rPr lang="en-GB"/>
              <a:t> </a:t>
            </a:r>
            <a:r>
              <a:rPr lang="en-GB" err="1"/>
              <a:t>presentazione</a:t>
            </a:r>
            <a:r>
              <a:rPr lang="en-GB"/>
              <a:t>   I   Nome </a:t>
            </a:r>
            <a:r>
              <a:rPr lang="en-GB" err="1"/>
              <a:t>relatore</a:t>
            </a:r>
            <a:endParaRPr lang="en-GB"/>
          </a:p>
        </p:txBody>
      </p:sp>
      <p:pic>
        <p:nvPicPr>
          <p:cNvPr id="41" name="Immagine 4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616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SSO1_COPY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0"/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8170" y="0"/>
            <a:ext cx="472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6074" y="90427"/>
            <a:ext cx="346160" cy="234428"/>
            <a:chOff x="-560" y="-1287"/>
            <a:chExt cx="6379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>
              <a:solidFill>
                <a:schemeClr val="tx2"/>
              </a:solidFill>
            </a:endParaRP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0"/>
            <a:ext cx="11176000" cy="490378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  <p:sp>
        <p:nvSpPr>
          <p:cNvPr id="1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</a:p>
        </p:txBody>
      </p:sp>
      <p:sp>
        <p:nvSpPr>
          <p:cNvPr id="1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err="1"/>
              <a:t>Titolo</a:t>
            </a:r>
            <a:r>
              <a:rPr lang="en-GB"/>
              <a:t> </a:t>
            </a:r>
            <a:r>
              <a:rPr lang="en-GB" err="1"/>
              <a:t>presentazione</a:t>
            </a:r>
            <a:r>
              <a:rPr lang="en-GB"/>
              <a:t>   I   Nome </a:t>
            </a:r>
            <a:r>
              <a:rPr lang="en-GB" err="1"/>
              <a:t>relatore</a:t>
            </a:r>
            <a:endParaRPr lang="en-GB"/>
          </a:p>
        </p:txBody>
      </p:sp>
      <p:pic>
        <p:nvPicPr>
          <p:cNvPr id="31" name="Immagine 3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9919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9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9" y="866368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7"/>
            <a:ext cx="11176621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26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28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2992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18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1" y="6414803"/>
            <a:ext cx="1210267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40"/>
            <a:r>
              <a:rPr lang="it-IT">
                <a:solidFill>
                  <a:srgbClr val="DC002E"/>
                </a:solidFill>
              </a:rPr>
              <a:t>Formato data GG/MM/AAAA</a:t>
            </a: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8" y="6551997"/>
            <a:ext cx="846570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4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8304604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9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9" y="866368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9" y="1577977"/>
            <a:ext cx="11176620" cy="4227513"/>
          </a:xfrm>
          <a:prstGeom prst="rect">
            <a:avLst/>
          </a:prstGeom>
        </p:spPr>
        <p:txBody>
          <a:bodyPr/>
          <a:lstStyle>
            <a:lvl1pPr marL="182558" indent="-182558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35" indent="-176209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2pPr>
            <a:lvl3pPr marL="1076298" indent="-180970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3962" indent="-180970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25" indent="-176209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1" y="6414803"/>
            <a:ext cx="1210267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40"/>
            <a:r>
              <a:rPr lang="it-IT">
                <a:solidFill>
                  <a:srgbClr val="DC002E"/>
                </a:solidFill>
              </a:rPr>
              <a:t>Formato data GG/MM/AAAA</a:t>
            </a:r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8" y="6551997"/>
            <a:ext cx="846570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4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8761082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9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26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28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2992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18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1" y="6414803"/>
            <a:ext cx="1210267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40"/>
            <a:r>
              <a:rPr lang="it-IT">
                <a:solidFill>
                  <a:srgbClr val="DC002E"/>
                </a:solidFill>
              </a:rPr>
              <a:t>Formato data GG/MM/AAAA</a:t>
            </a: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8" y="6551997"/>
            <a:ext cx="846570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4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4889946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9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9" y="866368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1" y="6414803"/>
            <a:ext cx="1210267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40"/>
            <a:r>
              <a:rPr lang="it-IT">
                <a:solidFill>
                  <a:srgbClr val="DC002E"/>
                </a:solidFill>
              </a:rPr>
              <a:t>Formato data GG/MM/AAAA</a:t>
            </a:r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8" y="6551997"/>
            <a:ext cx="846570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4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0221571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9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9" y="866368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9" y="1601786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0"/>
            </a:lvl1pPr>
            <a:lvl2pPr marL="452426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28" indent="0">
              <a:buClr>
                <a:schemeClr val="tx2"/>
              </a:buClr>
              <a:buSzPct val="140000"/>
              <a:buFontTx/>
              <a:buNone/>
              <a:defRPr sz="1400"/>
            </a:lvl3pPr>
            <a:lvl4pPr marL="1342992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418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1" y="6414803"/>
            <a:ext cx="1210267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40"/>
            <a:r>
              <a:rPr lang="it-IT">
                <a:solidFill>
                  <a:srgbClr val="DC002E"/>
                </a:solidFill>
              </a:rPr>
              <a:t>Formato data GG/MM/AAAA</a:t>
            </a:r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8" y="6551997"/>
            <a:ext cx="846570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4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6442613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9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9" y="866368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9" y="1601786"/>
            <a:ext cx="11176620" cy="4203703"/>
          </a:xfrm>
          <a:prstGeom prst="rect">
            <a:avLst/>
          </a:prstGeom>
        </p:spPr>
        <p:txBody>
          <a:bodyPr/>
          <a:lstStyle>
            <a:lvl1pPr marL="182558" indent="-182558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1pPr>
            <a:lvl2pPr marL="628635" indent="-176209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298" indent="-180970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3pPr>
            <a:lvl4pPr marL="1523962" indent="-180970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625" indent="-176209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1" y="6414803"/>
            <a:ext cx="1210267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40"/>
            <a:r>
              <a:rPr lang="it-IT">
                <a:solidFill>
                  <a:srgbClr val="DC002E"/>
                </a:solidFill>
              </a:rPr>
              <a:t>Formato data GG/MM/AAAA</a:t>
            </a:r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8" y="6551997"/>
            <a:ext cx="846570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4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1973065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9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70" y="1557338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9" y="866368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1" y="1552577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1" y="6414803"/>
            <a:ext cx="1210267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40"/>
            <a:r>
              <a:rPr lang="it-IT">
                <a:solidFill>
                  <a:srgbClr val="DC002E"/>
                </a:solidFill>
              </a:rPr>
              <a:t>Formato data GG/MM/AAAA</a:t>
            </a:r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8" y="6551997"/>
            <a:ext cx="846570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4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1000975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pertina Sottosezione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ttangolo 18">
            <a:extLst>
              <a:ext uri="{FF2B5EF4-FFF2-40B4-BE49-F238E27FC236}">
                <a16:creationId xmlns:a16="http://schemas.microsoft.com/office/drawing/2014/main" id="{CFDCDC1C-BD6A-492B-B81D-40AAD8317027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13" name="Segnaposto testo 3"/>
          <p:cNvSpPr>
            <a:spLocks noGrp="1"/>
          </p:cNvSpPr>
          <p:nvPr>
            <p:ph type="body" sz="quarter" idx="10" hasCustomPrompt="1"/>
          </p:nvPr>
        </p:nvSpPr>
        <p:spPr>
          <a:xfrm>
            <a:off x="6136667" y="2020033"/>
            <a:ext cx="5185489" cy="63477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defRPr lang="it-IT" sz="32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r">
              <a:spcBef>
                <a:spcPct val="0"/>
              </a:spcBef>
            </a:pPr>
            <a:r>
              <a:rPr lang="it-IT"/>
              <a:t>Sottotitolo</a:t>
            </a:r>
          </a:p>
        </p:txBody>
      </p:sp>
      <p:sp>
        <p:nvSpPr>
          <p:cNvPr id="2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997705" y="1222782"/>
            <a:ext cx="7324451" cy="797251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b">
            <a:spAutoFit/>
          </a:bodyPr>
          <a:lstStyle>
            <a:lvl1pPr algn="r">
              <a:lnSpc>
                <a:spcPct val="80000"/>
              </a:lnSpc>
              <a:defRPr lang="it-IT" sz="4800"/>
            </a:lvl1pPr>
          </a:lstStyle>
          <a:p>
            <a:pPr lvl="0"/>
            <a:r>
              <a:rPr lang="it-IT"/>
              <a:t>Copertina sezione - alt 1</a:t>
            </a:r>
          </a:p>
        </p:txBody>
      </p:sp>
    </p:spTree>
    <p:extLst>
      <p:ext uri="{BB962C8B-B14F-4D97-AF65-F5344CB8AC3E}">
        <p14:creationId xmlns:p14="http://schemas.microsoft.com/office/powerpoint/2010/main" val="264151418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9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9" y="866368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89" y="1521700"/>
            <a:ext cx="5688012" cy="4283789"/>
          </a:xfrm>
        </p:spPr>
        <p:txBody>
          <a:bodyPr/>
          <a:lstStyle/>
          <a:p>
            <a:pPr lvl="0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1" y="1623300"/>
            <a:ext cx="5030788" cy="267415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1" y="1903414"/>
            <a:ext cx="5030788" cy="598487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1" y="2652001"/>
            <a:ext cx="5030788" cy="267415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1" y="2932114"/>
            <a:ext cx="5030788" cy="598487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1" y="3680701"/>
            <a:ext cx="5030788" cy="267415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1" y="3960814"/>
            <a:ext cx="5030788" cy="598487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1" y="4709401"/>
            <a:ext cx="5030788" cy="267415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1" y="4989514"/>
            <a:ext cx="5030788" cy="598487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1" y="6414803"/>
            <a:ext cx="1210267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40"/>
            <a:r>
              <a:rPr lang="it-IT">
                <a:solidFill>
                  <a:srgbClr val="DC002E"/>
                </a:solidFill>
              </a:rPr>
              <a:t>Formato data GG/MM/AAAA</a:t>
            </a:r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8" y="6551997"/>
            <a:ext cx="846570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4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30223673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1715751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41035532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magin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11715751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  <p:sp>
        <p:nvSpPr>
          <p:cNvPr id="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2"/>
            <a:ext cx="11176000" cy="203199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663426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9" y="1554957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9" y="866368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9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1" y="6414803"/>
            <a:ext cx="1210267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40"/>
            <a:r>
              <a:rPr lang="it-IT">
                <a:solidFill>
                  <a:srgbClr val="DC002E"/>
                </a:solidFill>
              </a:rPr>
              <a:t>Formato data GG/MM/AAAA</a:t>
            </a:r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8" y="6551997"/>
            <a:ext cx="846570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4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260742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9" y="1560353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9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9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1" y="6414803"/>
            <a:ext cx="1210267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40"/>
            <a:r>
              <a:rPr lang="it-IT">
                <a:solidFill>
                  <a:srgbClr val="DC002E"/>
                </a:solidFill>
              </a:rPr>
              <a:t>Formato data GG/MM/AAAA</a:t>
            </a:r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8" y="6551997"/>
            <a:ext cx="846570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4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24035116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1"/>
            <a:ext cx="3623869" cy="2702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4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4" y="1955801"/>
            <a:ext cx="3623869" cy="2702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20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20" y="1955801"/>
            <a:ext cx="3623869" cy="270230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9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1" y="6414803"/>
            <a:ext cx="1210267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40"/>
            <a:r>
              <a:rPr lang="it-IT">
                <a:solidFill>
                  <a:srgbClr val="DC002E"/>
                </a:solidFill>
              </a:rPr>
              <a:t>Formato data GG/MM/AAAA</a:t>
            </a: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8" y="6551997"/>
            <a:ext cx="846570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4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59049077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4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4" y="195580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20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20" y="195580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9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1" y="6414803"/>
            <a:ext cx="1210267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40"/>
            <a:r>
              <a:rPr lang="it-IT">
                <a:solidFill>
                  <a:srgbClr val="DC002E"/>
                </a:solidFill>
              </a:rPr>
              <a:t>Formato data GG/MM/AAAA</a:t>
            </a: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8" y="6551997"/>
            <a:ext cx="846570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4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3429001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4" y="3429001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4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20" y="3429001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20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27436207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91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789114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4" y="1388791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4" y="1789114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20" y="1388791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20" y="1789114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9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1" y="6414803"/>
            <a:ext cx="1210267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40"/>
            <a:r>
              <a:rPr lang="it-IT">
                <a:solidFill>
                  <a:srgbClr val="DC002E"/>
                </a:solidFill>
              </a:rPr>
              <a:t>Formato data GG/MM/AAAA</a:t>
            </a:r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8" y="6551997"/>
            <a:ext cx="846570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4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2786061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186385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4" y="2786061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4" y="3186385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20" y="2786061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20" y="3186385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8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8" y="457892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4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4" y="457892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20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20" y="457892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3168949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9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2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1" y="6414803"/>
            <a:ext cx="1210267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40"/>
            <a:r>
              <a:rPr lang="it-IT">
                <a:solidFill>
                  <a:srgbClr val="DC002E"/>
                </a:solidFill>
              </a:rPr>
              <a:t>Formato data GG/MM/AAAA</a:t>
            </a:r>
          </a:p>
        </p:txBody>
      </p:sp>
      <p:sp>
        <p:nvSpPr>
          <p:cNvPr id="2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8" y="6551997"/>
            <a:ext cx="846570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4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0161967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1" y="6414803"/>
            <a:ext cx="1210267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40"/>
            <a:r>
              <a:rPr lang="it-IT">
                <a:solidFill>
                  <a:srgbClr val="DC002E"/>
                </a:solidFill>
              </a:rPr>
              <a:t>Formato data GG/MM/AAAA</a:t>
            </a:r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8" y="6551997"/>
            <a:ext cx="846570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4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5395514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dic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ttangolo 11">
            <a:extLst>
              <a:ext uri="{FF2B5EF4-FFF2-40B4-BE49-F238E27FC236}">
                <a16:creationId xmlns:a16="http://schemas.microsoft.com/office/drawing/2014/main" id="{83084A23-6A9D-48F6-95F5-5090736F718A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4" name="Group 4">
            <a:extLst>
              <a:ext uri="{FF2B5EF4-FFF2-40B4-BE49-F238E27FC236}">
                <a16:creationId xmlns:a16="http://schemas.microsoft.com/office/drawing/2014/main" id="{E4737D48-B2DB-4F53-BFC9-9F18751EDFC0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5" name="AutoShape 3">
              <a:extLst>
                <a:ext uri="{FF2B5EF4-FFF2-40B4-BE49-F238E27FC236}">
                  <a16:creationId xmlns:a16="http://schemas.microsoft.com/office/drawing/2014/main" id="{525F0B45-3EF6-4A9D-A83E-CDB12E55653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Rectangle 5">
              <a:extLst>
                <a:ext uri="{FF2B5EF4-FFF2-40B4-BE49-F238E27FC236}">
                  <a16:creationId xmlns:a16="http://schemas.microsoft.com/office/drawing/2014/main" id="{DB6A0205-9830-47FC-AFEF-1EA19F148D8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A652E29C-2288-4037-A735-2C99372F7809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3DEB9809-C89A-4A58-9A81-ABAF9CE315F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2" name="Freeform 8">
              <a:extLst>
                <a:ext uri="{FF2B5EF4-FFF2-40B4-BE49-F238E27FC236}">
                  <a16:creationId xmlns:a16="http://schemas.microsoft.com/office/drawing/2014/main" id="{E1355289-BE5F-41B1-954C-B78211E46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30" name="Freeform 9">
              <a:extLst>
                <a:ext uri="{FF2B5EF4-FFF2-40B4-BE49-F238E27FC236}">
                  <a16:creationId xmlns:a16="http://schemas.microsoft.com/office/drawing/2014/main" id="{8A815911-1EC8-4303-988F-6009E820B583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72009" y="1958664"/>
            <a:ext cx="6356861" cy="346386"/>
          </a:xfrm>
          <a:prstGeom prst="rect">
            <a:avLst/>
          </a:prstGeom>
        </p:spPr>
        <p:txBody>
          <a:bodyPr vert="horz" lIns="0" tIns="45720" rIns="91440" bIns="45720" rtlCol="0" anchor="ctr" anchorCtr="0">
            <a:normAutofit/>
          </a:bodyPr>
          <a:lstStyle>
            <a:lvl1pPr algn="l">
              <a:defRPr lang="it-IT" sz="2000" baseline="0" smtClean="0">
                <a:solidFill>
                  <a:schemeClr val="bg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Indice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10778424" y="1958663"/>
            <a:ext cx="543732" cy="346387"/>
          </a:xfrm>
          <a:prstGeom prst="rect">
            <a:avLst/>
          </a:prstGeom>
        </p:spPr>
        <p:txBody>
          <a:bodyPr vert="horz" lIns="0" tIns="45720" rIns="91440" bIns="45720" rtlCol="0" anchor="ctr" anchorCtr="0">
            <a:normAutofit/>
          </a:bodyPr>
          <a:lstStyle>
            <a:lvl1pPr algn="r">
              <a:defRPr lang="it-IT" sz="2000" baseline="0" smtClean="0">
                <a:solidFill>
                  <a:schemeClr val="bg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N </a:t>
            </a:r>
          </a:p>
        </p:txBody>
      </p:sp>
      <p:sp>
        <p:nvSpPr>
          <p:cNvPr id="28" name="CasellaDiTesto 27"/>
          <p:cNvSpPr txBox="1"/>
          <p:nvPr userDrawn="1"/>
        </p:nvSpPr>
        <p:spPr>
          <a:xfrm>
            <a:off x="9506078" y="1119200"/>
            <a:ext cx="181227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3600" b="1" kern="120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NDICE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673265" y="1958663"/>
            <a:ext cx="1366560" cy="346387"/>
          </a:xfrm>
          <a:prstGeom prst="rect">
            <a:avLst/>
          </a:prstGeom>
        </p:spPr>
        <p:txBody>
          <a:bodyPr vert="horz" lIns="0" tIns="45720" rIns="91440" bIns="45720" rtlCol="0" anchor="ctr" anchorCtr="0">
            <a:normAutofit/>
          </a:bodyPr>
          <a:lstStyle>
            <a:lvl1pPr algn="r">
              <a:defRPr lang="it-IT" sz="2000" b="1" baseline="0" smtClean="0">
                <a:solidFill>
                  <a:schemeClr val="tx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00</a:t>
            </a:r>
          </a:p>
        </p:txBody>
      </p:sp>
      <p:sp>
        <p:nvSpPr>
          <p:cNvPr id="35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905923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SO1_Titolo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" name="Rettangolo 1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it-IT" sz="1800">
                <a:solidFill>
                  <a:srgbClr val="FFFFFF"/>
                </a:solidFill>
              </a:endParaRPr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466584B-8BD1-48B2-BD0C-DC7DD5380BEF}"/>
                </a:ext>
              </a:extLst>
            </p:cNvPr>
            <p:cNvSpPr/>
            <p:nvPr userDrawn="1"/>
          </p:nvSpPr>
          <p:spPr>
            <a:xfrm>
              <a:off x="11718170" y="0"/>
              <a:ext cx="47288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it-IT" sz="1800">
                <a:solidFill>
                  <a:srgbClr val="FFFFFF"/>
                </a:solidFill>
              </a:endParaRPr>
            </a:p>
          </p:txBody>
        </p:sp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93527B5-7425-47AC-89C0-2B32AE60168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1786074" y="90427"/>
              <a:ext cx="346160" cy="234428"/>
              <a:chOff x="-560" y="-1287"/>
              <a:chExt cx="6379" cy="4320"/>
            </a:xfrm>
          </p:grpSpPr>
          <p:sp>
            <p:nvSpPr>
              <p:cNvPr id="24" name="AutoShape 3">
                <a:extLst>
                  <a:ext uri="{FF2B5EF4-FFF2-40B4-BE49-F238E27FC236}">
                    <a16:creationId xmlns:a16="http://schemas.microsoft.com/office/drawing/2014/main" id="{85DBAE22-A53B-46F6-A1C2-9F9E40807B3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it-IT" sz="1800">
                  <a:solidFill>
                    <a:srgbClr val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B355A452-2788-4C68-9C15-CC51FD59A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it-IT" sz="1800">
                  <a:solidFill>
                    <a:srgbClr val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B83AE660-1A7F-4C22-9AF1-535B2E94E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" y="423"/>
                <a:ext cx="5536" cy="2610"/>
              </a:xfrm>
              <a:custGeom>
                <a:avLst/>
                <a:gdLst>
                  <a:gd name="T0" fmla="*/ 5536 w 5536"/>
                  <a:gd name="T1" fmla="*/ 0 h 2610"/>
                  <a:gd name="T2" fmla="*/ 5470 w 5536"/>
                  <a:gd name="T3" fmla="*/ 127 h 2610"/>
                  <a:gd name="T4" fmla="*/ 5449 w 5536"/>
                  <a:gd name="T5" fmla="*/ 139 h 2610"/>
                  <a:gd name="T6" fmla="*/ 5061 w 5536"/>
                  <a:gd name="T7" fmla="*/ 164 h 2610"/>
                  <a:gd name="T8" fmla="*/ 4881 w 5536"/>
                  <a:gd name="T9" fmla="*/ 189 h 2610"/>
                  <a:gd name="T10" fmla="*/ 4722 w 5536"/>
                  <a:gd name="T11" fmla="*/ 247 h 2610"/>
                  <a:gd name="T12" fmla="*/ 4585 w 5536"/>
                  <a:gd name="T13" fmla="*/ 336 h 2610"/>
                  <a:gd name="T14" fmla="*/ 4471 w 5536"/>
                  <a:gd name="T15" fmla="*/ 460 h 2610"/>
                  <a:gd name="T16" fmla="*/ 4380 w 5536"/>
                  <a:gd name="T17" fmla="*/ 618 h 2610"/>
                  <a:gd name="T18" fmla="*/ 4338 w 5536"/>
                  <a:gd name="T19" fmla="*/ 757 h 2610"/>
                  <a:gd name="T20" fmla="*/ 4318 w 5536"/>
                  <a:gd name="T21" fmla="*/ 902 h 2610"/>
                  <a:gd name="T22" fmla="*/ 4305 w 5536"/>
                  <a:gd name="T23" fmla="*/ 1107 h 2610"/>
                  <a:gd name="T24" fmla="*/ 4278 w 5536"/>
                  <a:gd name="T25" fmla="*/ 1312 h 2610"/>
                  <a:gd name="T26" fmla="*/ 4208 w 5536"/>
                  <a:gd name="T27" fmla="*/ 1538 h 2610"/>
                  <a:gd name="T28" fmla="*/ 4100 w 5536"/>
                  <a:gd name="T29" fmla="*/ 1768 h 2610"/>
                  <a:gd name="T30" fmla="*/ 3963 w 5536"/>
                  <a:gd name="T31" fmla="*/ 1971 h 2610"/>
                  <a:gd name="T32" fmla="*/ 3800 w 5536"/>
                  <a:gd name="T33" fmla="*/ 2146 h 2610"/>
                  <a:gd name="T34" fmla="*/ 3609 w 5536"/>
                  <a:gd name="T35" fmla="*/ 2293 h 2610"/>
                  <a:gd name="T36" fmla="*/ 3391 w 5536"/>
                  <a:gd name="T37" fmla="*/ 2413 h 2610"/>
                  <a:gd name="T38" fmla="*/ 3145 w 5536"/>
                  <a:gd name="T39" fmla="*/ 2504 h 2610"/>
                  <a:gd name="T40" fmla="*/ 2911 w 5536"/>
                  <a:gd name="T41" fmla="*/ 2552 h 2610"/>
                  <a:gd name="T42" fmla="*/ 2671 w 5536"/>
                  <a:gd name="T43" fmla="*/ 2585 h 2610"/>
                  <a:gd name="T44" fmla="*/ 2378 w 5536"/>
                  <a:gd name="T45" fmla="*/ 2608 h 2610"/>
                  <a:gd name="T46" fmla="*/ 2084 w 5536"/>
                  <a:gd name="T47" fmla="*/ 2608 h 2610"/>
                  <a:gd name="T48" fmla="*/ 54 w 5536"/>
                  <a:gd name="T49" fmla="*/ 2608 h 2610"/>
                  <a:gd name="T50" fmla="*/ 0 w 5536"/>
                  <a:gd name="T51" fmla="*/ 2608 h 2610"/>
                  <a:gd name="T52" fmla="*/ 64 w 5536"/>
                  <a:gd name="T53" fmla="*/ 2477 h 2610"/>
                  <a:gd name="T54" fmla="*/ 93 w 5536"/>
                  <a:gd name="T55" fmla="*/ 2436 h 2610"/>
                  <a:gd name="T56" fmla="*/ 143 w 5536"/>
                  <a:gd name="T57" fmla="*/ 2426 h 2610"/>
                  <a:gd name="T58" fmla="*/ 1098 w 5536"/>
                  <a:gd name="T59" fmla="*/ 2419 h 2610"/>
                  <a:gd name="T60" fmla="*/ 1469 w 5536"/>
                  <a:gd name="T61" fmla="*/ 2396 h 2610"/>
                  <a:gd name="T62" fmla="*/ 1753 w 5536"/>
                  <a:gd name="T63" fmla="*/ 2368 h 2610"/>
                  <a:gd name="T64" fmla="*/ 1947 w 5536"/>
                  <a:gd name="T65" fmla="*/ 2336 h 2610"/>
                  <a:gd name="T66" fmla="*/ 2155 w 5536"/>
                  <a:gd name="T67" fmla="*/ 2268 h 2610"/>
                  <a:gd name="T68" fmla="*/ 2362 w 5536"/>
                  <a:gd name="T69" fmla="*/ 2162 h 2610"/>
                  <a:gd name="T70" fmla="*/ 2540 w 5536"/>
                  <a:gd name="T71" fmla="*/ 2028 h 2610"/>
                  <a:gd name="T72" fmla="*/ 2687 w 5536"/>
                  <a:gd name="T73" fmla="*/ 1866 h 2610"/>
                  <a:gd name="T74" fmla="*/ 2807 w 5536"/>
                  <a:gd name="T75" fmla="*/ 1675 h 2610"/>
                  <a:gd name="T76" fmla="*/ 2896 w 5536"/>
                  <a:gd name="T77" fmla="*/ 1453 h 2610"/>
                  <a:gd name="T78" fmla="*/ 3064 w 5536"/>
                  <a:gd name="T79" fmla="*/ 881 h 2610"/>
                  <a:gd name="T80" fmla="*/ 3108 w 5536"/>
                  <a:gd name="T81" fmla="*/ 732 h 2610"/>
                  <a:gd name="T82" fmla="*/ 3170 w 5536"/>
                  <a:gd name="T83" fmla="*/ 591 h 2610"/>
                  <a:gd name="T84" fmla="*/ 3290 w 5536"/>
                  <a:gd name="T85" fmla="*/ 423 h 2610"/>
                  <a:gd name="T86" fmla="*/ 3431 w 5536"/>
                  <a:gd name="T87" fmla="*/ 288 h 2610"/>
                  <a:gd name="T88" fmla="*/ 3595 w 5536"/>
                  <a:gd name="T89" fmla="*/ 187 h 2610"/>
                  <a:gd name="T90" fmla="*/ 3785 w 5536"/>
                  <a:gd name="T91" fmla="*/ 122 h 2610"/>
                  <a:gd name="T92" fmla="*/ 4003 w 5536"/>
                  <a:gd name="T93" fmla="*/ 91 h 2610"/>
                  <a:gd name="T94" fmla="*/ 4235 w 5536"/>
                  <a:gd name="T95" fmla="*/ 79 h 2610"/>
                  <a:gd name="T96" fmla="*/ 5498 w 5536"/>
                  <a:gd name="T97" fmla="*/ 0 h 2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536" h="2610">
                    <a:moveTo>
                      <a:pt x="5515" y="0"/>
                    </a:moveTo>
                    <a:lnTo>
                      <a:pt x="5536" y="0"/>
                    </a:lnTo>
                    <a:lnTo>
                      <a:pt x="5503" y="66"/>
                    </a:lnTo>
                    <a:lnTo>
                      <a:pt x="5470" y="127"/>
                    </a:lnTo>
                    <a:lnTo>
                      <a:pt x="5463" y="135"/>
                    </a:lnTo>
                    <a:lnTo>
                      <a:pt x="5449" y="139"/>
                    </a:lnTo>
                    <a:lnTo>
                      <a:pt x="5436" y="141"/>
                    </a:lnTo>
                    <a:lnTo>
                      <a:pt x="5061" y="164"/>
                    </a:lnTo>
                    <a:lnTo>
                      <a:pt x="4968" y="172"/>
                    </a:lnTo>
                    <a:lnTo>
                      <a:pt x="4881" y="189"/>
                    </a:lnTo>
                    <a:lnTo>
                      <a:pt x="4798" y="214"/>
                    </a:lnTo>
                    <a:lnTo>
                      <a:pt x="4722" y="247"/>
                    </a:lnTo>
                    <a:lnTo>
                      <a:pt x="4651" y="288"/>
                    </a:lnTo>
                    <a:lnTo>
                      <a:pt x="4585" y="336"/>
                    </a:lnTo>
                    <a:lnTo>
                      <a:pt x="4525" y="394"/>
                    </a:lnTo>
                    <a:lnTo>
                      <a:pt x="4471" y="460"/>
                    </a:lnTo>
                    <a:lnTo>
                      <a:pt x="4423" y="535"/>
                    </a:lnTo>
                    <a:lnTo>
                      <a:pt x="4380" y="618"/>
                    </a:lnTo>
                    <a:lnTo>
                      <a:pt x="4353" y="686"/>
                    </a:lnTo>
                    <a:lnTo>
                      <a:pt x="4338" y="757"/>
                    </a:lnTo>
                    <a:lnTo>
                      <a:pt x="4326" y="829"/>
                    </a:lnTo>
                    <a:lnTo>
                      <a:pt x="4318" y="902"/>
                    </a:lnTo>
                    <a:lnTo>
                      <a:pt x="4311" y="1004"/>
                    </a:lnTo>
                    <a:lnTo>
                      <a:pt x="4305" y="1107"/>
                    </a:lnTo>
                    <a:lnTo>
                      <a:pt x="4295" y="1209"/>
                    </a:lnTo>
                    <a:lnTo>
                      <a:pt x="4278" y="1312"/>
                    </a:lnTo>
                    <a:lnTo>
                      <a:pt x="4253" y="1412"/>
                    </a:lnTo>
                    <a:lnTo>
                      <a:pt x="4208" y="1538"/>
                    </a:lnTo>
                    <a:lnTo>
                      <a:pt x="4158" y="1656"/>
                    </a:lnTo>
                    <a:lnTo>
                      <a:pt x="4100" y="1768"/>
                    </a:lnTo>
                    <a:lnTo>
                      <a:pt x="4034" y="1872"/>
                    </a:lnTo>
                    <a:lnTo>
                      <a:pt x="3963" y="1971"/>
                    </a:lnTo>
                    <a:lnTo>
                      <a:pt x="3885" y="2061"/>
                    </a:lnTo>
                    <a:lnTo>
                      <a:pt x="3800" y="2146"/>
                    </a:lnTo>
                    <a:lnTo>
                      <a:pt x="3708" y="2224"/>
                    </a:lnTo>
                    <a:lnTo>
                      <a:pt x="3609" y="2293"/>
                    </a:lnTo>
                    <a:lnTo>
                      <a:pt x="3503" y="2357"/>
                    </a:lnTo>
                    <a:lnTo>
                      <a:pt x="3391" y="2413"/>
                    </a:lnTo>
                    <a:lnTo>
                      <a:pt x="3271" y="2461"/>
                    </a:lnTo>
                    <a:lnTo>
                      <a:pt x="3145" y="2504"/>
                    </a:lnTo>
                    <a:lnTo>
                      <a:pt x="3029" y="2533"/>
                    </a:lnTo>
                    <a:lnTo>
                      <a:pt x="2911" y="2552"/>
                    </a:lnTo>
                    <a:lnTo>
                      <a:pt x="2791" y="2569"/>
                    </a:lnTo>
                    <a:lnTo>
                      <a:pt x="2671" y="2585"/>
                    </a:lnTo>
                    <a:lnTo>
                      <a:pt x="2525" y="2602"/>
                    </a:lnTo>
                    <a:lnTo>
                      <a:pt x="2378" y="2608"/>
                    </a:lnTo>
                    <a:lnTo>
                      <a:pt x="2231" y="2610"/>
                    </a:lnTo>
                    <a:lnTo>
                      <a:pt x="2084" y="2608"/>
                    </a:lnTo>
                    <a:lnTo>
                      <a:pt x="1937" y="2608"/>
                    </a:lnTo>
                    <a:lnTo>
                      <a:pt x="54" y="2608"/>
                    </a:lnTo>
                    <a:lnTo>
                      <a:pt x="0" y="2608"/>
                    </a:lnTo>
                    <a:lnTo>
                      <a:pt x="0" y="2608"/>
                    </a:lnTo>
                    <a:lnTo>
                      <a:pt x="33" y="2540"/>
                    </a:lnTo>
                    <a:lnTo>
                      <a:pt x="64" y="2477"/>
                    </a:lnTo>
                    <a:lnTo>
                      <a:pt x="75" y="2452"/>
                    </a:lnTo>
                    <a:lnTo>
                      <a:pt x="93" y="2436"/>
                    </a:lnTo>
                    <a:lnTo>
                      <a:pt x="114" y="2428"/>
                    </a:lnTo>
                    <a:lnTo>
                      <a:pt x="143" y="2426"/>
                    </a:lnTo>
                    <a:lnTo>
                      <a:pt x="621" y="2426"/>
                    </a:lnTo>
                    <a:lnTo>
                      <a:pt x="1098" y="2419"/>
                    </a:lnTo>
                    <a:lnTo>
                      <a:pt x="1284" y="2409"/>
                    </a:lnTo>
                    <a:lnTo>
                      <a:pt x="1469" y="2396"/>
                    </a:lnTo>
                    <a:lnTo>
                      <a:pt x="1655" y="2378"/>
                    </a:lnTo>
                    <a:lnTo>
                      <a:pt x="1753" y="2368"/>
                    </a:lnTo>
                    <a:lnTo>
                      <a:pt x="1850" y="2355"/>
                    </a:lnTo>
                    <a:lnTo>
                      <a:pt x="1947" y="2336"/>
                    </a:lnTo>
                    <a:lnTo>
                      <a:pt x="2043" y="2311"/>
                    </a:lnTo>
                    <a:lnTo>
                      <a:pt x="2155" y="2268"/>
                    </a:lnTo>
                    <a:lnTo>
                      <a:pt x="2264" y="2218"/>
                    </a:lnTo>
                    <a:lnTo>
                      <a:pt x="2362" y="2162"/>
                    </a:lnTo>
                    <a:lnTo>
                      <a:pt x="2455" y="2098"/>
                    </a:lnTo>
                    <a:lnTo>
                      <a:pt x="2540" y="2028"/>
                    </a:lnTo>
                    <a:lnTo>
                      <a:pt x="2617" y="1951"/>
                    </a:lnTo>
                    <a:lnTo>
                      <a:pt x="2687" y="1866"/>
                    </a:lnTo>
                    <a:lnTo>
                      <a:pt x="2751" y="1773"/>
                    </a:lnTo>
                    <a:lnTo>
                      <a:pt x="2807" y="1675"/>
                    </a:lnTo>
                    <a:lnTo>
                      <a:pt x="2855" y="1569"/>
                    </a:lnTo>
                    <a:lnTo>
                      <a:pt x="2896" y="1453"/>
                    </a:lnTo>
                    <a:lnTo>
                      <a:pt x="2983" y="1167"/>
                    </a:lnTo>
                    <a:lnTo>
                      <a:pt x="3064" y="881"/>
                    </a:lnTo>
                    <a:lnTo>
                      <a:pt x="3085" y="805"/>
                    </a:lnTo>
                    <a:lnTo>
                      <a:pt x="3108" y="732"/>
                    </a:lnTo>
                    <a:lnTo>
                      <a:pt x="3135" y="661"/>
                    </a:lnTo>
                    <a:lnTo>
                      <a:pt x="3170" y="591"/>
                    </a:lnTo>
                    <a:lnTo>
                      <a:pt x="3226" y="502"/>
                    </a:lnTo>
                    <a:lnTo>
                      <a:pt x="3290" y="423"/>
                    </a:lnTo>
                    <a:lnTo>
                      <a:pt x="3358" y="351"/>
                    </a:lnTo>
                    <a:lnTo>
                      <a:pt x="3431" y="288"/>
                    </a:lnTo>
                    <a:lnTo>
                      <a:pt x="3510" y="234"/>
                    </a:lnTo>
                    <a:lnTo>
                      <a:pt x="3595" y="187"/>
                    </a:lnTo>
                    <a:lnTo>
                      <a:pt x="3688" y="151"/>
                    </a:lnTo>
                    <a:lnTo>
                      <a:pt x="3785" y="122"/>
                    </a:lnTo>
                    <a:lnTo>
                      <a:pt x="3887" y="102"/>
                    </a:lnTo>
                    <a:lnTo>
                      <a:pt x="4003" y="91"/>
                    </a:lnTo>
                    <a:lnTo>
                      <a:pt x="4119" y="85"/>
                    </a:lnTo>
                    <a:lnTo>
                      <a:pt x="4235" y="79"/>
                    </a:lnTo>
                    <a:lnTo>
                      <a:pt x="4923" y="35"/>
                    </a:lnTo>
                    <a:lnTo>
                      <a:pt x="5498" y="0"/>
                    </a:lnTo>
                    <a:lnTo>
                      <a:pt x="5515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it-IT" sz="1800">
                  <a:solidFill>
                    <a:srgbClr val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BE6F8E9-24BA-47B8-9CCD-E18AD0A4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" y="-1283"/>
                <a:ext cx="4960" cy="1437"/>
              </a:xfrm>
              <a:custGeom>
                <a:avLst/>
                <a:gdLst>
                  <a:gd name="T0" fmla="*/ 4896 w 4960"/>
                  <a:gd name="T1" fmla="*/ 0 h 1437"/>
                  <a:gd name="T2" fmla="*/ 4960 w 4960"/>
                  <a:gd name="T3" fmla="*/ 0 h 1437"/>
                  <a:gd name="T4" fmla="*/ 4935 w 4960"/>
                  <a:gd name="T5" fmla="*/ 46 h 1437"/>
                  <a:gd name="T6" fmla="*/ 4912 w 4960"/>
                  <a:gd name="T7" fmla="*/ 89 h 1437"/>
                  <a:gd name="T8" fmla="*/ 4892 w 4960"/>
                  <a:gd name="T9" fmla="*/ 131 h 1437"/>
                  <a:gd name="T10" fmla="*/ 4879 w 4960"/>
                  <a:gd name="T11" fmla="*/ 162 h 1437"/>
                  <a:gd name="T12" fmla="*/ 4860 w 4960"/>
                  <a:gd name="T13" fmla="*/ 181 h 1437"/>
                  <a:gd name="T14" fmla="*/ 4838 w 4960"/>
                  <a:gd name="T15" fmla="*/ 195 h 1437"/>
                  <a:gd name="T16" fmla="*/ 4809 w 4960"/>
                  <a:gd name="T17" fmla="*/ 201 h 1437"/>
                  <a:gd name="T18" fmla="*/ 4776 w 4960"/>
                  <a:gd name="T19" fmla="*/ 203 h 1437"/>
                  <a:gd name="T20" fmla="*/ 4287 w 4960"/>
                  <a:gd name="T21" fmla="*/ 201 h 1437"/>
                  <a:gd name="T22" fmla="*/ 3798 w 4960"/>
                  <a:gd name="T23" fmla="*/ 203 h 1437"/>
                  <a:gd name="T24" fmla="*/ 3590 w 4960"/>
                  <a:gd name="T25" fmla="*/ 207 h 1437"/>
                  <a:gd name="T26" fmla="*/ 3381 w 4960"/>
                  <a:gd name="T27" fmla="*/ 216 h 1437"/>
                  <a:gd name="T28" fmla="*/ 3172 w 4960"/>
                  <a:gd name="T29" fmla="*/ 234 h 1437"/>
                  <a:gd name="T30" fmla="*/ 2965 w 4960"/>
                  <a:gd name="T31" fmla="*/ 261 h 1437"/>
                  <a:gd name="T32" fmla="*/ 2826 w 4960"/>
                  <a:gd name="T33" fmla="*/ 284 h 1437"/>
                  <a:gd name="T34" fmla="*/ 2689 w 4960"/>
                  <a:gd name="T35" fmla="*/ 313 h 1437"/>
                  <a:gd name="T36" fmla="*/ 2554 w 4960"/>
                  <a:gd name="T37" fmla="*/ 350 h 1437"/>
                  <a:gd name="T38" fmla="*/ 2420 w 4960"/>
                  <a:gd name="T39" fmla="*/ 394 h 1437"/>
                  <a:gd name="T40" fmla="*/ 2289 w 4960"/>
                  <a:gd name="T41" fmla="*/ 446 h 1437"/>
                  <a:gd name="T42" fmla="*/ 2161 w 4960"/>
                  <a:gd name="T43" fmla="*/ 508 h 1437"/>
                  <a:gd name="T44" fmla="*/ 2047 w 4960"/>
                  <a:gd name="T45" fmla="*/ 576 h 1437"/>
                  <a:gd name="T46" fmla="*/ 1941 w 4960"/>
                  <a:gd name="T47" fmla="*/ 651 h 1437"/>
                  <a:gd name="T48" fmla="*/ 1840 w 4960"/>
                  <a:gd name="T49" fmla="*/ 734 h 1437"/>
                  <a:gd name="T50" fmla="*/ 1746 w 4960"/>
                  <a:gd name="T51" fmla="*/ 823 h 1437"/>
                  <a:gd name="T52" fmla="*/ 1660 w 4960"/>
                  <a:gd name="T53" fmla="*/ 921 h 1437"/>
                  <a:gd name="T54" fmla="*/ 1579 w 4960"/>
                  <a:gd name="T55" fmla="*/ 1026 h 1437"/>
                  <a:gd name="T56" fmla="*/ 1496 w 4960"/>
                  <a:gd name="T57" fmla="*/ 1151 h 1437"/>
                  <a:gd name="T58" fmla="*/ 1417 w 4960"/>
                  <a:gd name="T59" fmla="*/ 1281 h 1437"/>
                  <a:gd name="T60" fmla="*/ 1338 w 4960"/>
                  <a:gd name="T61" fmla="*/ 1410 h 1437"/>
                  <a:gd name="T62" fmla="*/ 1326 w 4960"/>
                  <a:gd name="T63" fmla="*/ 1426 h 1437"/>
                  <a:gd name="T64" fmla="*/ 1313 w 4960"/>
                  <a:gd name="T65" fmla="*/ 1433 h 1437"/>
                  <a:gd name="T66" fmla="*/ 1295 w 4960"/>
                  <a:gd name="T67" fmla="*/ 1437 h 1437"/>
                  <a:gd name="T68" fmla="*/ 37 w 4960"/>
                  <a:gd name="T69" fmla="*/ 1437 h 1437"/>
                  <a:gd name="T70" fmla="*/ 21 w 4960"/>
                  <a:gd name="T71" fmla="*/ 1435 h 1437"/>
                  <a:gd name="T72" fmla="*/ 0 w 4960"/>
                  <a:gd name="T73" fmla="*/ 1435 h 1437"/>
                  <a:gd name="T74" fmla="*/ 64 w 4960"/>
                  <a:gd name="T75" fmla="*/ 1310 h 1437"/>
                  <a:gd name="T76" fmla="*/ 126 w 4960"/>
                  <a:gd name="T77" fmla="*/ 1186 h 1437"/>
                  <a:gd name="T78" fmla="*/ 186 w 4960"/>
                  <a:gd name="T79" fmla="*/ 1061 h 1437"/>
                  <a:gd name="T80" fmla="*/ 247 w 4960"/>
                  <a:gd name="T81" fmla="*/ 937 h 1437"/>
                  <a:gd name="T82" fmla="*/ 315 w 4960"/>
                  <a:gd name="T83" fmla="*/ 817 h 1437"/>
                  <a:gd name="T84" fmla="*/ 389 w 4960"/>
                  <a:gd name="T85" fmla="*/ 701 h 1437"/>
                  <a:gd name="T86" fmla="*/ 458 w 4960"/>
                  <a:gd name="T87" fmla="*/ 607 h 1437"/>
                  <a:gd name="T88" fmla="*/ 533 w 4960"/>
                  <a:gd name="T89" fmla="*/ 520 h 1437"/>
                  <a:gd name="T90" fmla="*/ 615 w 4960"/>
                  <a:gd name="T91" fmla="*/ 440 h 1437"/>
                  <a:gd name="T92" fmla="*/ 700 w 4960"/>
                  <a:gd name="T93" fmla="*/ 367 h 1437"/>
                  <a:gd name="T94" fmla="*/ 791 w 4960"/>
                  <a:gd name="T95" fmla="*/ 301 h 1437"/>
                  <a:gd name="T96" fmla="*/ 887 w 4960"/>
                  <a:gd name="T97" fmla="*/ 243 h 1437"/>
                  <a:gd name="T98" fmla="*/ 990 w 4960"/>
                  <a:gd name="T99" fmla="*/ 191 h 1437"/>
                  <a:gd name="T100" fmla="*/ 1096 w 4960"/>
                  <a:gd name="T101" fmla="*/ 147 h 1437"/>
                  <a:gd name="T102" fmla="*/ 1206 w 4960"/>
                  <a:gd name="T103" fmla="*/ 108 h 1437"/>
                  <a:gd name="T104" fmla="*/ 1351 w 4960"/>
                  <a:gd name="T105" fmla="*/ 69 h 1437"/>
                  <a:gd name="T106" fmla="*/ 1496 w 4960"/>
                  <a:gd name="T107" fmla="*/ 40 h 1437"/>
                  <a:gd name="T108" fmla="*/ 1645 w 4960"/>
                  <a:gd name="T109" fmla="*/ 21 h 1437"/>
                  <a:gd name="T110" fmla="*/ 1794 w 4960"/>
                  <a:gd name="T111" fmla="*/ 10 h 1437"/>
                  <a:gd name="T112" fmla="*/ 1954 w 4960"/>
                  <a:gd name="T113" fmla="*/ 4 h 1437"/>
                  <a:gd name="T114" fmla="*/ 2117 w 4960"/>
                  <a:gd name="T115" fmla="*/ 2 h 1437"/>
                  <a:gd name="T116" fmla="*/ 4896 w 4960"/>
                  <a:gd name="T117" fmla="*/ 0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60" h="1437">
                    <a:moveTo>
                      <a:pt x="4896" y="0"/>
                    </a:moveTo>
                    <a:lnTo>
                      <a:pt x="4960" y="0"/>
                    </a:lnTo>
                    <a:lnTo>
                      <a:pt x="4935" y="46"/>
                    </a:lnTo>
                    <a:lnTo>
                      <a:pt x="4912" y="89"/>
                    </a:lnTo>
                    <a:lnTo>
                      <a:pt x="4892" y="131"/>
                    </a:lnTo>
                    <a:lnTo>
                      <a:pt x="4879" y="162"/>
                    </a:lnTo>
                    <a:lnTo>
                      <a:pt x="4860" y="181"/>
                    </a:lnTo>
                    <a:lnTo>
                      <a:pt x="4838" y="195"/>
                    </a:lnTo>
                    <a:lnTo>
                      <a:pt x="4809" y="201"/>
                    </a:lnTo>
                    <a:lnTo>
                      <a:pt x="4776" y="203"/>
                    </a:lnTo>
                    <a:lnTo>
                      <a:pt x="4287" y="201"/>
                    </a:lnTo>
                    <a:lnTo>
                      <a:pt x="3798" y="203"/>
                    </a:lnTo>
                    <a:lnTo>
                      <a:pt x="3590" y="207"/>
                    </a:lnTo>
                    <a:lnTo>
                      <a:pt x="3381" y="216"/>
                    </a:lnTo>
                    <a:lnTo>
                      <a:pt x="3172" y="234"/>
                    </a:lnTo>
                    <a:lnTo>
                      <a:pt x="2965" y="261"/>
                    </a:lnTo>
                    <a:lnTo>
                      <a:pt x="2826" y="284"/>
                    </a:lnTo>
                    <a:lnTo>
                      <a:pt x="2689" y="313"/>
                    </a:lnTo>
                    <a:lnTo>
                      <a:pt x="2554" y="350"/>
                    </a:lnTo>
                    <a:lnTo>
                      <a:pt x="2420" y="394"/>
                    </a:lnTo>
                    <a:lnTo>
                      <a:pt x="2289" y="446"/>
                    </a:lnTo>
                    <a:lnTo>
                      <a:pt x="2161" y="508"/>
                    </a:lnTo>
                    <a:lnTo>
                      <a:pt x="2047" y="576"/>
                    </a:lnTo>
                    <a:lnTo>
                      <a:pt x="1941" y="651"/>
                    </a:lnTo>
                    <a:lnTo>
                      <a:pt x="1840" y="734"/>
                    </a:lnTo>
                    <a:lnTo>
                      <a:pt x="1746" y="823"/>
                    </a:lnTo>
                    <a:lnTo>
                      <a:pt x="1660" y="921"/>
                    </a:lnTo>
                    <a:lnTo>
                      <a:pt x="1579" y="1026"/>
                    </a:lnTo>
                    <a:lnTo>
                      <a:pt x="1496" y="1151"/>
                    </a:lnTo>
                    <a:lnTo>
                      <a:pt x="1417" y="1281"/>
                    </a:lnTo>
                    <a:lnTo>
                      <a:pt x="1338" y="1410"/>
                    </a:lnTo>
                    <a:lnTo>
                      <a:pt x="1326" y="1426"/>
                    </a:lnTo>
                    <a:lnTo>
                      <a:pt x="1313" y="1433"/>
                    </a:lnTo>
                    <a:lnTo>
                      <a:pt x="1295" y="1437"/>
                    </a:lnTo>
                    <a:lnTo>
                      <a:pt x="37" y="1437"/>
                    </a:lnTo>
                    <a:lnTo>
                      <a:pt x="21" y="1435"/>
                    </a:lnTo>
                    <a:lnTo>
                      <a:pt x="0" y="1435"/>
                    </a:lnTo>
                    <a:lnTo>
                      <a:pt x="64" y="1310"/>
                    </a:lnTo>
                    <a:lnTo>
                      <a:pt x="126" y="1186"/>
                    </a:lnTo>
                    <a:lnTo>
                      <a:pt x="186" y="1061"/>
                    </a:lnTo>
                    <a:lnTo>
                      <a:pt x="247" y="937"/>
                    </a:lnTo>
                    <a:lnTo>
                      <a:pt x="315" y="817"/>
                    </a:lnTo>
                    <a:lnTo>
                      <a:pt x="389" y="701"/>
                    </a:lnTo>
                    <a:lnTo>
                      <a:pt x="458" y="607"/>
                    </a:lnTo>
                    <a:lnTo>
                      <a:pt x="533" y="520"/>
                    </a:lnTo>
                    <a:lnTo>
                      <a:pt x="615" y="440"/>
                    </a:lnTo>
                    <a:lnTo>
                      <a:pt x="700" y="367"/>
                    </a:lnTo>
                    <a:lnTo>
                      <a:pt x="791" y="301"/>
                    </a:lnTo>
                    <a:lnTo>
                      <a:pt x="887" y="243"/>
                    </a:lnTo>
                    <a:lnTo>
                      <a:pt x="990" y="191"/>
                    </a:lnTo>
                    <a:lnTo>
                      <a:pt x="1096" y="147"/>
                    </a:lnTo>
                    <a:lnTo>
                      <a:pt x="1206" y="108"/>
                    </a:lnTo>
                    <a:lnTo>
                      <a:pt x="1351" y="69"/>
                    </a:lnTo>
                    <a:lnTo>
                      <a:pt x="1496" y="40"/>
                    </a:lnTo>
                    <a:lnTo>
                      <a:pt x="1645" y="21"/>
                    </a:lnTo>
                    <a:lnTo>
                      <a:pt x="1794" y="10"/>
                    </a:lnTo>
                    <a:lnTo>
                      <a:pt x="1954" y="4"/>
                    </a:lnTo>
                    <a:lnTo>
                      <a:pt x="2117" y="2"/>
                    </a:lnTo>
                    <a:lnTo>
                      <a:pt x="4896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it-IT" sz="1800">
                  <a:solidFill>
                    <a:srgbClr val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61144228-6360-4B55-95F5-F9B22AED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5" y="643"/>
                <a:ext cx="2316" cy="1988"/>
              </a:xfrm>
              <a:custGeom>
                <a:avLst/>
                <a:gdLst>
                  <a:gd name="T0" fmla="*/ 2297 w 2316"/>
                  <a:gd name="T1" fmla="*/ 0 h 1988"/>
                  <a:gd name="T2" fmla="*/ 2316 w 2316"/>
                  <a:gd name="T3" fmla="*/ 0 h 1988"/>
                  <a:gd name="T4" fmla="*/ 2250 w 2316"/>
                  <a:gd name="T5" fmla="*/ 124 h 1988"/>
                  <a:gd name="T6" fmla="*/ 2185 w 2316"/>
                  <a:gd name="T7" fmla="*/ 245 h 1988"/>
                  <a:gd name="T8" fmla="*/ 2038 w 2316"/>
                  <a:gd name="T9" fmla="*/ 510 h 1988"/>
                  <a:gd name="T10" fmla="*/ 1885 w 2316"/>
                  <a:gd name="T11" fmla="*/ 771 h 1988"/>
                  <a:gd name="T12" fmla="*/ 1726 w 2316"/>
                  <a:gd name="T13" fmla="*/ 1028 h 1988"/>
                  <a:gd name="T14" fmla="*/ 1560 w 2316"/>
                  <a:gd name="T15" fmla="*/ 1281 h 1988"/>
                  <a:gd name="T16" fmla="*/ 1496 w 2316"/>
                  <a:gd name="T17" fmla="*/ 1368 h 1988"/>
                  <a:gd name="T18" fmla="*/ 1431 w 2316"/>
                  <a:gd name="T19" fmla="*/ 1455 h 1988"/>
                  <a:gd name="T20" fmla="*/ 1361 w 2316"/>
                  <a:gd name="T21" fmla="*/ 1536 h 1988"/>
                  <a:gd name="T22" fmla="*/ 1286 w 2316"/>
                  <a:gd name="T23" fmla="*/ 1613 h 1988"/>
                  <a:gd name="T24" fmla="*/ 1205 w 2316"/>
                  <a:gd name="T25" fmla="*/ 1685 h 1988"/>
                  <a:gd name="T26" fmla="*/ 1118 w 2316"/>
                  <a:gd name="T27" fmla="*/ 1751 h 1988"/>
                  <a:gd name="T28" fmla="*/ 1036 w 2316"/>
                  <a:gd name="T29" fmla="*/ 1803 h 1988"/>
                  <a:gd name="T30" fmla="*/ 951 w 2316"/>
                  <a:gd name="T31" fmla="*/ 1847 h 1988"/>
                  <a:gd name="T32" fmla="*/ 864 w 2316"/>
                  <a:gd name="T33" fmla="*/ 1884 h 1988"/>
                  <a:gd name="T34" fmla="*/ 773 w 2316"/>
                  <a:gd name="T35" fmla="*/ 1913 h 1988"/>
                  <a:gd name="T36" fmla="*/ 683 w 2316"/>
                  <a:gd name="T37" fmla="*/ 1936 h 1988"/>
                  <a:gd name="T38" fmla="*/ 586 w 2316"/>
                  <a:gd name="T39" fmla="*/ 1953 h 1988"/>
                  <a:gd name="T40" fmla="*/ 449 w 2316"/>
                  <a:gd name="T41" fmla="*/ 1971 h 1988"/>
                  <a:gd name="T42" fmla="*/ 311 w 2316"/>
                  <a:gd name="T43" fmla="*/ 1980 h 1988"/>
                  <a:gd name="T44" fmla="*/ 172 w 2316"/>
                  <a:gd name="T45" fmla="*/ 1986 h 1988"/>
                  <a:gd name="T46" fmla="*/ 33 w 2316"/>
                  <a:gd name="T47" fmla="*/ 1988 h 1988"/>
                  <a:gd name="T48" fmla="*/ 18 w 2316"/>
                  <a:gd name="T49" fmla="*/ 1988 h 1988"/>
                  <a:gd name="T50" fmla="*/ 0 w 2316"/>
                  <a:gd name="T51" fmla="*/ 1988 h 1988"/>
                  <a:gd name="T52" fmla="*/ 8 w 2316"/>
                  <a:gd name="T53" fmla="*/ 1969 h 1988"/>
                  <a:gd name="T54" fmla="*/ 14 w 2316"/>
                  <a:gd name="T55" fmla="*/ 1955 h 1988"/>
                  <a:gd name="T56" fmla="*/ 916 w 2316"/>
                  <a:gd name="T57" fmla="*/ 168 h 1988"/>
                  <a:gd name="T58" fmla="*/ 928 w 2316"/>
                  <a:gd name="T59" fmla="*/ 149 h 1988"/>
                  <a:gd name="T60" fmla="*/ 945 w 2316"/>
                  <a:gd name="T61" fmla="*/ 137 h 1988"/>
                  <a:gd name="T62" fmla="*/ 967 w 2316"/>
                  <a:gd name="T63" fmla="*/ 133 h 1988"/>
                  <a:gd name="T64" fmla="*/ 1753 w 2316"/>
                  <a:gd name="T65" fmla="*/ 54 h 1988"/>
                  <a:gd name="T66" fmla="*/ 2281 w 2316"/>
                  <a:gd name="T67" fmla="*/ 0 h 1988"/>
                  <a:gd name="T68" fmla="*/ 2297 w 2316"/>
                  <a:gd name="T69" fmla="*/ 0 h 1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16" h="1988">
                    <a:moveTo>
                      <a:pt x="2297" y="0"/>
                    </a:moveTo>
                    <a:lnTo>
                      <a:pt x="2316" y="0"/>
                    </a:lnTo>
                    <a:lnTo>
                      <a:pt x="2250" y="124"/>
                    </a:lnTo>
                    <a:lnTo>
                      <a:pt x="2185" y="245"/>
                    </a:lnTo>
                    <a:lnTo>
                      <a:pt x="2038" y="510"/>
                    </a:lnTo>
                    <a:lnTo>
                      <a:pt x="1885" y="771"/>
                    </a:lnTo>
                    <a:lnTo>
                      <a:pt x="1726" y="1028"/>
                    </a:lnTo>
                    <a:lnTo>
                      <a:pt x="1560" y="1281"/>
                    </a:lnTo>
                    <a:lnTo>
                      <a:pt x="1496" y="1368"/>
                    </a:lnTo>
                    <a:lnTo>
                      <a:pt x="1431" y="1455"/>
                    </a:lnTo>
                    <a:lnTo>
                      <a:pt x="1361" y="1536"/>
                    </a:lnTo>
                    <a:lnTo>
                      <a:pt x="1286" y="1613"/>
                    </a:lnTo>
                    <a:lnTo>
                      <a:pt x="1205" y="1685"/>
                    </a:lnTo>
                    <a:lnTo>
                      <a:pt x="1118" y="1751"/>
                    </a:lnTo>
                    <a:lnTo>
                      <a:pt x="1036" y="1803"/>
                    </a:lnTo>
                    <a:lnTo>
                      <a:pt x="951" y="1847"/>
                    </a:lnTo>
                    <a:lnTo>
                      <a:pt x="864" y="1884"/>
                    </a:lnTo>
                    <a:lnTo>
                      <a:pt x="773" y="1913"/>
                    </a:lnTo>
                    <a:lnTo>
                      <a:pt x="683" y="1936"/>
                    </a:lnTo>
                    <a:lnTo>
                      <a:pt x="586" y="1953"/>
                    </a:lnTo>
                    <a:lnTo>
                      <a:pt x="449" y="1971"/>
                    </a:lnTo>
                    <a:lnTo>
                      <a:pt x="311" y="1980"/>
                    </a:lnTo>
                    <a:lnTo>
                      <a:pt x="172" y="1986"/>
                    </a:lnTo>
                    <a:lnTo>
                      <a:pt x="33" y="1988"/>
                    </a:lnTo>
                    <a:lnTo>
                      <a:pt x="18" y="1988"/>
                    </a:lnTo>
                    <a:lnTo>
                      <a:pt x="0" y="1988"/>
                    </a:lnTo>
                    <a:lnTo>
                      <a:pt x="8" y="1969"/>
                    </a:lnTo>
                    <a:lnTo>
                      <a:pt x="14" y="1955"/>
                    </a:lnTo>
                    <a:lnTo>
                      <a:pt x="916" y="168"/>
                    </a:lnTo>
                    <a:lnTo>
                      <a:pt x="928" y="149"/>
                    </a:lnTo>
                    <a:lnTo>
                      <a:pt x="945" y="137"/>
                    </a:lnTo>
                    <a:lnTo>
                      <a:pt x="967" y="133"/>
                    </a:lnTo>
                    <a:lnTo>
                      <a:pt x="1753" y="54"/>
                    </a:lnTo>
                    <a:lnTo>
                      <a:pt x="2281" y="0"/>
                    </a:lnTo>
                    <a:lnTo>
                      <a:pt x="2297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it-IT" sz="1800">
                  <a:solidFill>
                    <a:srgbClr val="000000"/>
                  </a:solidFill>
                  <a:latin typeface="Calibri" panose="020F0502020204030204"/>
                </a:endParaRPr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88DFCB77-4787-41C9-BEEE-C96E24C9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" y="-875"/>
                <a:ext cx="2472" cy="1029"/>
              </a:xfrm>
              <a:custGeom>
                <a:avLst/>
                <a:gdLst>
                  <a:gd name="T0" fmla="*/ 2451 w 2472"/>
                  <a:gd name="T1" fmla="*/ 0 h 1029"/>
                  <a:gd name="T2" fmla="*/ 2472 w 2472"/>
                  <a:gd name="T3" fmla="*/ 0 h 1029"/>
                  <a:gd name="T4" fmla="*/ 2426 w 2472"/>
                  <a:gd name="T5" fmla="*/ 94 h 1029"/>
                  <a:gd name="T6" fmla="*/ 2379 w 2472"/>
                  <a:gd name="T7" fmla="*/ 185 h 1029"/>
                  <a:gd name="T8" fmla="*/ 1977 w 2472"/>
                  <a:gd name="T9" fmla="*/ 1004 h 1029"/>
                  <a:gd name="T10" fmla="*/ 1967 w 2472"/>
                  <a:gd name="T11" fmla="*/ 1018 h 1029"/>
                  <a:gd name="T12" fmla="*/ 1956 w 2472"/>
                  <a:gd name="T13" fmla="*/ 1027 h 1029"/>
                  <a:gd name="T14" fmla="*/ 1937 w 2472"/>
                  <a:gd name="T15" fmla="*/ 1029 h 1029"/>
                  <a:gd name="T16" fmla="*/ 23 w 2472"/>
                  <a:gd name="T17" fmla="*/ 1029 h 1029"/>
                  <a:gd name="T18" fmla="*/ 17 w 2472"/>
                  <a:gd name="T19" fmla="*/ 1027 h 1029"/>
                  <a:gd name="T20" fmla="*/ 9 w 2472"/>
                  <a:gd name="T21" fmla="*/ 1027 h 1029"/>
                  <a:gd name="T22" fmla="*/ 0 w 2472"/>
                  <a:gd name="T23" fmla="*/ 1027 h 1029"/>
                  <a:gd name="T24" fmla="*/ 48 w 2472"/>
                  <a:gd name="T25" fmla="*/ 938 h 1029"/>
                  <a:gd name="T26" fmla="*/ 100 w 2472"/>
                  <a:gd name="T27" fmla="*/ 852 h 1029"/>
                  <a:gd name="T28" fmla="*/ 152 w 2472"/>
                  <a:gd name="T29" fmla="*/ 767 h 1029"/>
                  <a:gd name="T30" fmla="*/ 210 w 2472"/>
                  <a:gd name="T31" fmla="*/ 683 h 1029"/>
                  <a:gd name="T32" fmla="*/ 270 w 2472"/>
                  <a:gd name="T33" fmla="*/ 606 h 1029"/>
                  <a:gd name="T34" fmla="*/ 334 w 2472"/>
                  <a:gd name="T35" fmla="*/ 531 h 1029"/>
                  <a:gd name="T36" fmla="*/ 404 w 2472"/>
                  <a:gd name="T37" fmla="*/ 461 h 1029"/>
                  <a:gd name="T38" fmla="*/ 479 w 2472"/>
                  <a:gd name="T39" fmla="*/ 396 h 1029"/>
                  <a:gd name="T40" fmla="*/ 560 w 2472"/>
                  <a:gd name="T41" fmla="*/ 336 h 1029"/>
                  <a:gd name="T42" fmla="*/ 647 w 2472"/>
                  <a:gd name="T43" fmla="*/ 284 h 1029"/>
                  <a:gd name="T44" fmla="*/ 744 w 2472"/>
                  <a:gd name="T45" fmla="*/ 235 h 1029"/>
                  <a:gd name="T46" fmla="*/ 842 w 2472"/>
                  <a:gd name="T47" fmla="*/ 195 h 1029"/>
                  <a:gd name="T48" fmla="*/ 941 w 2472"/>
                  <a:gd name="T49" fmla="*/ 162 h 1029"/>
                  <a:gd name="T50" fmla="*/ 1043 w 2472"/>
                  <a:gd name="T51" fmla="*/ 133 h 1029"/>
                  <a:gd name="T52" fmla="*/ 1148 w 2472"/>
                  <a:gd name="T53" fmla="*/ 108 h 1029"/>
                  <a:gd name="T54" fmla="*/ 1320 w 2472"/>
                  <a:gd name="T55" fmla="*/ 75 h 1029"/>
                  <a:gd name="T56" fmla="*/ 1492 w 2472"/>
                  <a:gd name="T57" fmla="*/ 50 h 1029"/>
                  <a:gd name="T58" fmla="*/ 1666 w 2472"/>
                  <a:gd name="T59" fmla="*/ 32 h 1029"/>
                  <a:gd name="T60" fmla="*/ 1842 w 2472"/>
                  <a:gd name="T61" fmla="*/ 21 h 1029"/>
                  <a:gd name="T62" fmla="*/ 2138 w 2472"/>
                  <a:gd name="T63" fmla="*/ 9 h 1029"/>
                  <a:gd name="T64" fmla="*/ 2433 w 2472"/>
                  <a:gd name="T65" fmla="*/ 0 h 1029"/>
                  <a:gd name="T66" fmla="*/ 2451 w 2472"/>
                  <a:gd name="T67" fmla="*/ 0 h 10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72" h="1029">
                    <a:moveTo>
                      <a:pt x="2451" y="0"/>
                    </a:moveTo>
                    <a:lnTo>
                      <a:pt x="2472" y="0"/>
                    </a:lnTo>
                    <a:lnTo>
                      <a:pt x="2426" y="94"/>
                    </a:lnTo>
                    <a:lnTo>
                      <a:pt x="2379" y="185"/>
                    </a:lnTo>
                    <a:lnTo>
                      <a:pt x="1977" y="1004"/>
                    </a:lnTo>
                    <a:lnTo>
                      <a:pt x="1967" y="1018"/>
                    </a:lnTo>
                    <a:lnTo>
                      <a:pt x="1956" y="1027"/>
                    </a:lnTo>
                    <a:lnTo>
                      <a:pt x="1937" y="1029"/>
                    </a:lnTo>
                    <a:lnTo>
                      <a:pt x="23" y="1029"/>
                    </a:lnTo>
                    <a:lnTo>
                      <a:pt x="17" y="1027"/>
                    </a:lnTo>
                    <a:lnTo>
                      <a:pt x="9" y="1027"/>
                    </a:lnTo>
                    <a:lnTo>
                      <a:pt x="0" y="1027"/>
                    </a:lnTo>
                    <a:lnTo>
                      <a:pt x="48" y="938"/>
                    </a:lnTo>
                    <a:lnTo>
                      <a:pt x="100" y="852"/>
                    </a:lnTo>
                    <a:lnTo>
                      <a:pt x="152" y="767"/>
                    </a:lnTo>
                    <a:lnTo>
                      <a:pt x="210" y="683"/>
                    </a:lnTo>
                    <a:lnTo>
                      <a:pt x="270" y="606"/>
                    </a:lnTo>
                    <a:lnTo>
                      <a:pt x="334" y="531"/>
                    </a:lnTo>
                    <a:lnTo>
                      <a:pt x="404" y="461"/>
                    </a:lnTo>
                    <a:lnTo>
                      <a:pt x="479" y="396"/>
                    </a:lnTo>
                    <a:lnTo>
                      <a:pt x="560" y="336"/>
                    </a:lnTo>
                    <a:lnTo>
                      <a:pt x="647" y="284"/>
                    </a:lnTo>
                    <a:lnTo>
                      <a:pt x="744" y="235"/>
                    </a:lnTo>
                    <a:lnTo>
                      <a:pt x="842" y="195"/>
                    </a:lnTo>
                    <a:lnTo>
                      <a:pt x="941" y="162"/>
                    </a:lnTo>
                    <a:lnTo>
                      <a:pt x="1043" y="133"/>
                    </a:lnTo>
                    <a:lnTo>
                      <a:pt x="1148" y="108"/>
                    </a:lnTo>
                    <a:lnTo>
                      <a:pt x="1320" y="75"/>
                    </a:lnTo>
                    <a:lnTo>
                      <a:pt x="1492" y="50"/>
                    </a:lnTo>
                    <a:lnTo>
                      <a:pt x="1666" y="32"/>
                    </a:lnTo>
                    <a:lnTo>
                      <a:pt x="1842" y="21"/>
                    </a:lnTo>
                    <a:lnTo>
                      <a:pt x="2138" y="9"/>
                    </a:lnTo>
                    <a:lnTo>
                      <a:pt x="2433" y="0"/>
                    </a:lnTo>
                    <a:lnTo>
                      <a:pt x="2451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it-IT" sz="1800">
                  <a:solidFill>
                    <a:srgbClr val="000000"/>
                  </a:solidFill>
                  <a:latin typeface="Calibri" panose="020F0502020204030204"/>
                </a:endParaRPr>
              </a:p>
            </p:txBody>
          </p:sp>
        </p:grpSp>
      </p:grpSp>
      <p:sp>
        <p:nvSpPr>
          <p:cNvPr id="17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9" y="2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9" y="866368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197E883-74D9-DD49-9664-52FC49ABA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520826"/>
            <a:ext cx="11176000" cy="42846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1" y="6495907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40" fontAlgn="auto">
              <a:spcBef>
                <a:spcPts val="0"/>
              </a:spcBef>
              <a:spcAft>
                <a:spcPts val="0"/>
              </a:spcAft>
            </a:pPr>
            <a:fld id="{B9D7DBFB-DCE9-42BC-A361-A0671D12ADFC}" type="slidenum">
              <a:rPr lang="it-IT" sz="1000">
                <a:solidFill>
                  <a:srgbClr val="DC002E"/>
                </a:solidFill>
              </a:rPr>
              <a:pPr defTabSz="1219140" fontAlgn="auto">
                <a:spcBef>
                  <a:spcPts val="0"/>
                </a:spcBef>
                <a:spcAft>
                  <a:spcPts val="0"/>
                </a:spcAft>
              </a:pPr>
              <a:t>‹N›</a:t>
            </a:fld>
            <a:endParaRPr lang="it-IT" sz="1000">
              <a:solidFill>
                <a:srgbClr val="DC002E"/>
              </a:solidFill>
            </a:endParaRPr>
          </a:p>
        </p:txBody>
      </p:sp>
      <p:sp>
        <p:nvSpPr>
          <p:cNvPr id="3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1" y="6414803"/>
            <a:ext cx="1210267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40"/>
            <a:r>
              <a:rPr lang="it-IT">
                <a:solidFill>
                  <a:srgbClr val="FFFFFF"/>
                </a:solidFill>
              </a:rPr>
              <a:t>Formato data GG/MM/AAAA</a:t>
            </a:r>
          </a:p>
        </p:txBody>
      </p:sp>
      <p:sp>
        <p:nvSpPr>
          <p:cNvPr id="3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8" y="6551997"/>
            <a:ext cx="846570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40"/>
            <a:r>
              <a:rPr lang="en-GB">
                <a:solidFill>
                  <a:srgbClr val="FFFFFF"/>
                </a:solidFill>
              </a:rPr>
              <a:t>Titolo presentazione   I   Nome relatore</a:t>
            </a:r>
          </a:p>
        </p:txBody>
      </p:sp>
      <p:pic>
        <p:nvPicPr>
          <p:cNvPr id="41" name="Immagine 4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9" y="6300559"/>
            <a:ext cx="1745747" cy="35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6077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SSO1_COPY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it-IT" sz="12000">
              <a:solidFill>
                <a:srgbClr val="FFFFFF"/>
              </a:solidFill>
            </a:endParaRPr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8171" y="0"/>
            <a:ext cx="472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it-IT" sz="1800">
              <a:solidFill>
                <a:srgbClr val="FFFFFF"/>
              </a:solidFill>
            </a:endParaRPr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6075" y="90427"/>
            <a:ext cx="346160" cy="234428"/>
            <a:chOff x="-560" y="-1287"/>
            <a:chExt cx="6379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it-IT" sz="180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it-IT" sz="180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it-IT" sz="180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it-IT" sz="180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it-IT" sz="180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it-IT" sz="1800">
                <a:solidFill>
                  <a:srgbClr val="000000"/>
                </a:solidFill>
                <a:latin typeface="Calibri" panose="020F0502020204030204"/>
              </a:endParaRPr>
            </a:p>
          </p:txBody>
        </p:sp>
      </p:grp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1" y="6495907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40" fontAlgn="auto">
              <a:spcBef>
                <a:spcPts val="0"/>
              </a:spcBef>
              <a:spcAft>
                <a:spcPts val="0"/>
              </a:spcAft>
            </a:pPr>
            <a:fld id="{B9D7DBFB-DCE9-42BC-A361-A0671D12ADFC}" type="slidenum">
              <a:rPr lang="it-IT" sz="1000">
                <a:solidFill>
                  <a:srgbClr val="DC002E"/>
                </a:solidFill>
              </a:rPr>
              <a:pPr defTabSz="1219140" fontAlgn="auto">
                <a:spcBef>
                  <a:spcPts val="0"/>
                </a:spcBef>
                <a:spcAft>
                  <a:spcPts val="0"/>
                </a:spcAft>
              </a:pPr>
              <a:t>‹N›</a:t>
            </a:fld>
            <a:endParaRPr lang="it-IT" sz="1000">
              <a:solidFill>
                <a:srgbClr val="DC002E"/>
              </a:solidFill>
            </a:endParaRP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0"/>
            <a:ext cx="11176000" cy="490378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  <p:sp>
        <p:nvSpPr>
          <p:cNvPr id="1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1" y="6414803"/>
            <a:ext cx="1210267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40"/>
            <a:r>
              <a:rPr lang="it-IT">
                <a:solidFill>
                  <a:srgbClr val="FFFFFF"/>
                </a:solidFill>
              </a:rPr>
              <a:t>Formato data GG/MM/AAAA</a:t>
            </a:r>
          </a:p>
        </p:txBody>
      </p:sp>
      <p:sp>
        <p:nvSpPr>
          <p:cNvPr id="1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8" y="6551997"/>
            <a:ext cx="846570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40"/>
            <a:r>
              <a:rPr lang="en-GB">
                <a:solidFill>
                  <a:srgbClr val="FFFFFF"/>
                </a:solidFill>
              </a:rPr>
              <a:t>Titolo presentazione   I   Nome relatore</a:t>
            </a:r>
          </a:p>
        </p:txBody>
      </p:sp>
      <p:pic>
        <p:nvPicPr>
          <p:cNvPr id="31" name="Immagine 3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9" y="6300559"/>
            <a:ext cx="1745747" cy="3588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3679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577975"/>
            <a:ext cx="11176621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9894234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5"/>
            <a:ext cx="11176620" cy="422751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7105426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1059593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8074161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4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4214270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0370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8056985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7337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0" y="1552575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60458686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88" y="1521699"/>
            <a:ext cx="5688012" cy="4283789"/>
          </a:xfrm>
        </p:spPr>
        <p:txBody>
          <a:bodyPr/>
          <a:lstStyle/>
          <a:p>
            <a:pPr lvl="0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16233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0" y="19034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0" y="26520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0" y="29321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36807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0" y="39608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094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0" y="49895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8025446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577975"/>
            <a:ext cx="11176621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2666665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2292038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magin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  <p:sp>
        <p:nvSpPr>
          <p:cNvPr id="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1"/>
            <a:ext cx="11176000" cy="203199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143209848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4956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8001113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60352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05521892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59537980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174542290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8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8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3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3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19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19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332948210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94516434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SO1_Titolo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" name="Rettangolo 1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466584B-8BD1-48B2-BD0C-DC7DD5380BEF}"/>
                </a:ext>
              </a:extLst>
            </p:cNvPr>
            <p:cNvSpPr/>
            <p:nvPr userDrawn="1"/>
          </p:nvSpPr>
          <p:spPr>
            <a:xfrm>
              <a:off x="11718170" y="0"/>
              <a:ext cx="47288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93527B5-7425-47AC-89C0-2B32AE60168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1786074" y="90427"/>
              <a:ext cx="346160" cy="234428"/>
              <a:chOff x="-560" y="-1287"/>
              <a:chExt cx="6379" cy="4320"/>
            </a:xfrm>
          </p:grpSpPr>
          <p:sp>
            <p:nvSpPr>
              <p:cNvPr id="24" name="AutoShape 3">
                <a:extLst>
                  <a:ext uri="{FF2B5EF4-FFF2-40B4-BE49-F238E27FC236}">
                    <a16:creationId xmlns:a16="http://schemas.microsoft.com/office/drawing/2014/main" id="{85DBAE22-A53B-46F6-A1C2-9F9E40807B3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B355A452-2788-4C68-9C15-CC51FD59A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B83AE660-1A7F-4C22-9AF1-535B2E94E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" y="423"/>
                <a:ext cx="5536" cy="2610"/>
              </a:xfrm>
              <a:custGeom>
                <a:avLst/>
                <a:gdLst>
                  <a:gd name="T0" fmla="*/ 5536 w 5536"/>
                  <a:gd name="T1" fmla="*/ 0 h 2610"/>
                  <a:gd name="T2" fmla="*/ 5470 w 5536"/>
                  <a:gd name="T3" fmla="*/ 127 h 2610"/>
                  <a:gd name="T4" fmla="*/ 5449 w 5536"/>
                  <a:gd name="T5" fmla="*/ 139 h 2610"/>
                  <a:gd name="T6" fmla="*/ 5061 w 5536"/>
                  <a:gd name="T7" fmla="*/ 164 h 2610"/>
                  <a:gd name="T8" fmla="*/ 4881 w 5536"/>
                  <a:gd name="T9" fmla="*/ 189 h 2610"/>
                  <a:gd name="T10" fmla="*/ 4722 w 5536"/>
                  <a:gd name="T11" fmla="*/ 247 h 2610"/>
                  <a:gd name="T12" fmla="*/ 4585 w 5536"/>
                  <a:gd name="T13" fmla="*/ 336 h 2610"/>
                  <a:gd name="T14" fmla="*/ 4471 w 5536"/>
                  <a:gd name="T15" fmla="*/ 460 h 2610"/>
                  <a:gd name="T16" fmla="*/ 4380 w 5536"/>
                  <a:gd name="T17" fmla="*/ 618 h 2610"/>
                  <a:gd name="T18" fmla="*/ 4338 w 5536"/>
                  <a:gd name="T19" fmla="*/ 757 h 2610"/>
                  <a:gd name="T20" fmla="*/ 4318 w 5536"/>
                  <a:gd name="T21" fmla="*/ 902 h 2610"/>
                  <a:gd name="T22" fmla="*/ 4305 w 5536"/>
                  <a:gd name="T23" fmla="*/ 1107 h 2610"/>
                  <a:gd name="T24" fmla="*/ 4278 w 5536"/>
                  <a:gd name="T25" fmla="*/ 1312 h 2610"/>
                  <a:gd name="T26" fmla="*/ 4208 w 5536"/>
                  <a:gd name="T27" fmla="*/ 1538 h 2610"/>
                  <a:gd name="T28" fmla="*/ 4100 w 5536"/>
                  <a:gd name="T29" fmla="*/ 1768 h 2610"/>
                  <a:gd name="T30" fmla="*/ 3963 w 5536"/>
                  <a:gd name="T31" fmla="*/ 1971 h 2610"/>
                  <a:gd name="T32" fmla="*/ 3800 w 5536"/>
                  <a:gd name="T33" fmla="*/ 2146 h 2610"/>
                  <a:gd name="T34" fmla="*/ 3609 w 5536"/>
                  <a:gd name="T35" fmla="*/ 2293 h 2610"/>
                  <a:gd name="T36" fmla="*/ 3391 w 5536"/>
                  <a:gd name="T37" fmla="*/ 2413 h 2610"/>
                  <a:gd name="T38" fmla="*/ 3145 w 5536"/>
                  <a:gd name="T39" fmla="*/ 2504 h 2610"/>
                  <a:gd name="T40" fmla="*/ 2911 w 5536"/>
                  <a:gd name="T41" fmla="*/ 2552 h 2610"/>
                  <a:gd name="T42" fmla="*/ 2671 w 5536"/>
                  <a:gd name="T43" fmla="*/ 2585 h 2610"/>
                  <a:gd name="T44" fmla="*/ 2378 w 5536"/>
                  <a:gd name="T45" fmla="*/ 2608 h 2610"/>
                  <a:gd name="T46" fmla="*/ 2084 w 5536"/>
                  <a:gd name="T47" fmla="*/ 2608 h 2610"/>
                  <a:gd name="T48" fmla="*/ 54 w 5536"/>
                  <a:gd name="T49" fmla="*/ 2608 h 2610"/>
                  <a:gd name="T50" fmla="*/ 0 w 5536"/>
                  <a:gd name="T51" fmla="*/ 2608 h 2610"/>
                  <a:gd name="T52" fmla="*/ 64 w 5536"/>
                  <a:gd name="T53" fmla="*/ 2477 h 2610"/>
                  <a:gd name="T54" fmla="*/ 93 w 5536"/>
                  <a:gd name="T55" fmla="*/ 2436 h 2610"/>
                  <a:gd name="T56" fmla="*/ 143 w 5536"/>
                  <a:gd name="T57" fmla="*/ 2426 h 2610"/>
                  <a:gd name="T58" fmla="*/ 1098 w 5536"/>
                  <a:gd name="T59" fmla="*/ 2419 h 2610"/>
                  <a:gd name="T60" fmla="*/ 1469 w 5536"/>
                  <a:gd name="T61" fmla="*/ 2396 h 2610"/>
                  <a:gd name="T62" fmla="*/ 1753 w 5536"/>
                  <a:gd name="T63" fmla="*/ 2368 h 2610"/>
                  <a:gd name="T64" fmla="*/ 1947 w 5536"/>
                  <a:gd name="T65" fmla="*/ 2336 h 2610"/>
                  <a:gd name="T66" fmla="*/ 2155 w 5536"/>
                  <a:gd name="T67" fmla="*/ 2268 h 2610"/>
                  <a:gd name="T68" fmla="*/ 2362 w 5536"/>
                  <a:gd name="T69" fmla="*/ 2162 h 2610"/>
                  <a:gd name="T70" fmla="*/ 2540 w 5536"/>
                  <a:gd name="T71" fmla="*/ 2028 h 2610"/>
                  <a:gd name="T72" fmla="*/ 2687 w 5536"/>
                  <a:gd name="T73" fmla="*/ 1866 h 2610"/>
                  <a:gd name="T74" fmla="*/ 2807 w 5536"/>
                  <a:gd name="T75" fmla="*/ 1675 h 2610"/>
                  <a:gd name="T76" fmla="*/ 2896 w 5536"/>
                  <a:gd name="T77" fmla="*/ 1453 h 2610"/>
                  <a:gd name="T78" fmla="*/ 3064 w 5536"/>
                  <a:gd name="T79" fmla="*/ 881 h 2610"/>
                  <a:gd name="T80" fmla="*/ 3108 w 5536"/>
                  <a:gd name="T81" fmla="*/ 732 h 2610"/>
                  <a:gd name="T82" fmla="*/ 3170 w 5536"/>
                  <a:gd name="T83" fmla="*/ 591 h 2610"/>
                  <a:gd name="T84" fmla="*/ 3290 w 5536"/>
                  <a:gd name="T85" fmla="*/ 423 h 2610"/>
                  <a:gd name="T86" fmla="*/ 3431 w 5536"/>
                  <a:gd name="T87" fmla="*/ 288 h 2610"/>
                  <a:gd name="T88" fmla="*/ 3595 w 5536"/>
                  <a:gd name="T89" fmla="*/ 187 h 2610"/>
                  <a:gd name="T90" fmla="*/ 3785 w 5536"/>
                  <a:gd name="T91" fmla="*/ 122 h 2610"/>
                  <a:gd name="T92" fmla="*/ 4003 w 5536"/>
                  <a:gd name="T93" fmla="*/ 91 h 2610"/>
                  <a:gd name="T94" fmla="*/ 4235 w 5536"/>
                  <a:gd name="T95" fmla="*/ 79 h 2610"/>
                  <a:gd name="T96" fmla="*/ 5498 w 5536"/>
                  <a:gd name="T97" fmla="*/ 0 h 2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536" h="2610">
                    <a:moveTo>
                      <a:pt x="5515" y="0"/>
                    </a:moveTo>
                    <a:lnTo>
                      <a:pt x="5536" y="0"/>
                    </a:lnTo>
                    <a:lnTo>
                      <a:pt x="5503" y="66"/>
                    </a:lnTo>
                    <a:lnTo>
                      <a:pt x="5470" y="127"/>
                    </a:lnTo>
                    <a:lnTo>
                      <a:pt x="5463" y="135"/>
                    </a:lnTo>
                    <a:lnTo>
                      <a:pt x="5449" y="139"/>
                    </a:lnTo>
                    <a:lnTo>
                      <a:pt x="5436" y="141"/>
                    </a:lnTo>
                    <a:lnTo>
                      <a:pt x="5061" y="164"/>
                    </a:lnTo>
                    <a:lnTo>
                      <a:pt x="4968" y="172"/>
                    </a:lnTo>
                    <a:lnTo>
                      <a:pt x="4881" y="189"/>
                    </a:lnTo>
                    <a:lnTo>
                      <a:pt x="4798" y="214"/>
                    </a:lnTo>
                    <a:lnTo>
                      <a:pt x="4722" y="247"/>
                    </a:lnTo>
                    <a:lnTo>
                      <a:pt x="4651" y="288"/>
                    </a:lnTo>
                    <a:lnTo>
                      <a:pt x="4585" y="336"/>
                    </a:lnTo>
                    <a:lnTo>
                      <a:pt x="4525" y="394"/>
                    </a:lnTo>
                    <a:lnTo>
                      <a:pt x="4471" y="460"/>
                    </a:lnTo>
                    <a:lnTo>
                      <a:pt x="4423" y="535"/>
                    </a:lnTo>
                    <a:lnTo>
                      <a:pt x="4380" y="618"/>
                    </a:lnTo>
                    <a:lnTo>
                      <a:pt x="4353" y="686"/>
                    </a:lnTo>
                    <a:lnTo>
                      <a:pt x="4338" y="757"/>
                    </a:lnTo>
                    <a:lnTo>
                      <a:pt x="4326" y="829"/>
                    </a:lnTo>
                    <a:lnTo>
                      <a:pt x="4318" y="902"/>
                    </a:lnTo>
                    <a:lnTo>
                      <a:pt x="4311" y="1004"/>
                    </a:lnTo>
                    <a:lnTo>
                      <a:pt x="4305" y="1107"/>
                    </a:lnTo>
                    <a:lnTo>
                      <a:pt x="4295" y="1209"/>
                    </a:lnTo>
                    <a:lnTo>
                      <a:pt x="4278" y="1312"/>
                    </a:lnTo>
                    <a:lnTo>
                      <a:pt x="4253" y="1412"/>
                    </a:lnTo>
                    <a:lnTo>
                      <a:pt x="4208" y="1538"/>
                    </a:lnTo>
                    <a:lnTo>
                      <a:pt x="4158" y="1656"/>
                    </a:lnTo>
                    <a:lnTo>
                      <a:pt x="4100" y="1768"/>
                    </a:lnTo>
                    <a:lnTo>
                      <a:pt x="4034" y="1872"/>
                    </a:lnTo>
                    <a:lnTo>
                      <a:pt x="3963" y="1971"/>
                    </a:lnTo>
                    <a:lnTo>
                      <a:pt x="3885" y="2061"/>
                    </a:lnTo>
                    <a:lnTo>
                      <a:pt x="3800" y="2146"/>
                    </a:lnTo>
                    <a:lnTo>
                      <a:pt x="3708" y="2224"/>
                    </a:lnTo>
                    <a:lnTo>
                      <a:pt x="3609" y="2293"/>
                    </a:lnTo>
                    <a:lnTo>
                      <a:pt x="3503" y="2357"/>
                    </a:lnTo>
                    <a:lnTo>
                      <a:pt x="3391" y="2413"/>
                    </a:lnTo>
                    <a:lnTo>
                      <a:pt x="3271" y="2461"/>
                    </a:lnTo>
                    <a:lnTo>
                      <a:pt x="3145" y="2504"/>
                    </a:lnTo>
                    <a:lnTo>
                      <a:pt x="3029" y="2533"/>
                    </a:lnTo>
                    <a:lnTo>
                      <a:pt x="2911" y="2552"/>
                    </a:lnTo>
                    <a:lnTo>
                      <a:pt x="2791" y="2569"/>
                    </a:lnTo>
                    <a:lnTo>
                      <a:pt x="2671" y="2585"/>
                    </a:lnTo>
                    <a:lnTo>
                      <a:pt x="2525" y="2602"/>
                    </a:lnTo>
                    <a:lnTo>
                      <a:pt x="2378" y="2608"/>
                    </a:lnTo>
                    <a:lnTo>
                      <a:pt x="2231" y="2610"/>
                    </a:lnTo>
                    <a:lnTo>
                      <a:pt x="2084" y="2608"/>
                    </a:lnTo>
                    <a:lnTo>
                      <a:pt x="1937" y="2608"/>
                    </a:lnTo>
                    <a:lnTo>
                      <a:pt x="54" y="2608"/>
                    </a:lnTo>
                    <a:lnTo>
                      <a:pt x="0" y="2608"/>
                    </a:lnTo>
                    <a:lnTo>
                      <a:pt x="0" y="2608"/>
                    </a:lnTo>
                    <a:lnTo>
                      <a:pt x="33" y="2540"/>
                    </a:lnTo>
                    <a:lnTo>
                      <a:pt x="64" y="2477"/>
                    </a:lnTo>
                    <a:lnTo>
                      <a:pt x="75" y="2452"/>
                    </a:lnTo>
                    <a:lnTo>
                      <a:pt x="93" y="2436"/>
                    </a:lnTo>
                    <a:lnTo>
                      <a:pt x="114" y="2428"/>
                    </a:lnTo>
                    <a:lnTo>
                      <a:pt x="143" y="2426"/>
                    </a:lnTo>
                    <a:lnTo>
                      <a:pt x="621" y="2426"/>
                    </a:lnTo>
                    <a:lnTo>
                      <a:pt x="1098" y="2419"/>
                    </a:lnTo>
                    <a:lnTo>
                      <a:pt x="1284" y="2409"/>
                    </a:lnTo>
                    <a:lnTo>
                      <a:pt x="1469" y="2396"/>
                    </a:lnTo>
                    <a:lnTo>
                      <a:pt x="1655" y="2378"/>
                    </a:lnTo>
                    <a:lnTo>
                      <a:pt x="1753" y="2368"/>
                    </a:lnTo>
                    <a:lnTo>
                      <a:pt x="1850" y="2355"/>
                    </a:lnTo>
                    <a:lnTo>
                      <a:pt x="1947" y="2336"/>
                    </a:lnTo>
                    <a:lnTo>
                      <a:pt x="2043" y="2311"/>
                    </a:lnTo>
                    <a:lnTo>
                      <a:pt x="2155" y="2268"/>
                    </a:lnTo>
                    <a:lnTo>
                      <a:pt x="2264" y="2218"/>
                    </a:lnTo>
                    <a:lnTo>
                      <a:pt x="2362" y="2162"/>
                    </a:lnTo>
                    <a:lnTo>
                      <a:pt x="2455" y="2098"/>
                    </a:lnTo>
                    <a:lnTo>
                      <a:pt x="2540" y="2028"/>
                    </a:lnTo>
                    <a:lnTo>
                      <a:pt x="2617" y="1951"/>
                    </a:lnTo>
                    <a:lnTo>
                      <a:pt x="2687" y="1866"/>
                    </a:lnTo>
                    <a:lnTo>
                      <a:pt x="2751" y="1773"/>
                    </a:lnTo>
                    <a:lnTo>
                      <a:pt x="2807" y="1675"/>
                    </a:lnTo>
                    <a:lnTo>
                      <a:pt x="2855" y="1569"/>
                    </a:lnTo>
                    <a:lnTo>
                      <a:pt x="2896" y="1453"/>
                    </a:lnTo>
                    <a:lnTo>
                      <a:pt x="2983" y="1167"/>
                    </a:lnTo>
                    <a:lnTo>
                      <a:pt x="3064" y="881"/>
                    </a:lnTo>
                    <a:lnTo>
                      <a:pt x="3085" y="805"/>
                    </a:lnTo>
                    <a:lnTo>
                      <a:pt x="3108" y="732"/>
                    </a:lnTo>
                    <a:lnTo>
                      <a:pt x="3135" y="661"/>
                    </a:lnTo>
                    <a:lnTo>
                      <a:pt x="3170" y="591"/>
                    </a:lnTo>
                    <a:lnTo>
                      <a:pt x="3226" y="502"/>
                    </a:lnTo>
                    <a:lnTo>
                      <a:pt x="3290" y="423"/>
                    </a:lnTo>
                    <a:lnTo>
                      <a:pt x="3358" y="351"/>
                    </a:lnTo>
                    <a:lnTo>
                      <a:pt x="3431" y="288"/>
                    </a:lnTo>
                    <a:lnTo>
                      <a:pt x="3510" y="234"/>
                    </a:lnTo>
                    <a:lnTo>
                      <a:pt x="3595" y="187"/>
                    </a:lnTo>
                    <a:lnTo>
                      <a:pt x="3688" y="151"/>
                    </a:lnTo>
                    <a:lnTo>
                      <a:pt x="3785" y="122"/>
                    </a:lnTo>
                    <a:lnTo>
                      <a:pt x="3887" y="102"/>
                    </a:lnTo>
                    <a:lnTo>
                      <a:pt x="4003" y="91"/>
                    </a:lnTo>
                    <a:lnTo>
                      <a:pt x="4119" y="85"/>
                    </a:lnTo>
                    <a:lnTo>
                      <a:pt x="4235" y="79"/>
                    </a:lnTo>
                    <a:lnTo>
                      <a:pt x="4923" y="35"/>
                    </a:lnTo>
                    <a:lnTo>
                      <a:pt x="5498" y="0"/>
                    </a:lnTo>
                    <a:lnTo>
                      <a:pt x="5515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BE6F8E9-24BA-47B8-9CCD-E18AD0A4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" y="-1283"/>
                <a:ext cx="4960" cy="1437"/>
              </a:xfrm>
              <a:custGeom>
                <a:avLst/>
                <a:gdLst>
                  <a:gd name="T0" fmla="*/ 4896 w 4960"/>
                  <a:gd name="T1" fmla="*/ 0 h 1437"/>
                  <a:gd name="T2" fmla="*/ 4960 w 4960"/>
                  <a:gd name="T3" fmla="*/ 0 h 1437"/>
                  <a:gd name="T4" fmla="*/ 4935 w 4960"/>
                  <a:gd name="T5" fmla="*/ 46 h 1437"/>
                  <a:gd name="T6" fmla="*/ 4912 w 4960"/>
                  <a:gd name="T7" fmla="*/ 89 h 1437"/>
                  <a:gd name="T8" fmla="*/ 4892 w 4960"/>
                  <a:gd name="T9" fmla="*/ 131 h 1437"/>
                  <a:gd name="T10" fmla="*/ 4879 w 4960"/>
                  <a:gd name="T11" fmla="*/ 162 h 1437"/>
                  <a:gd name="T12" fmla="*/ 4860 w 4960"/>
                  <a:gd name="T13" fmla="*/ 181 h 1437"/>
                  <a:gd name="T14" fmla="*/ 4838 w 4960"/>
                  <a:gd name="T15" fmla="*/ 195 h 1437"/>
                  <a:gd name="T16" fmla="*/ 4809 w 4960"/>
                  <a:gd name="T17" fmla="*/ 201 h 1437"/>
                  <a:gd name="T18" fmla="*/ 4776 w 4960"/>
                  <a:gd name="T19" fmla="*/ 203 h 1437"/>
                  <a:gd name="T20" fmla="*/ 4287 w 4960"/>
                  <a:gd name="T21" fmla="*/ 201 h 1437"/>
                  <a:gd name="T22" fmla="*/ 3798 w 4960"/>
                  <a:gd name="T23" fmla="*/ 203 h 1437"/>
                  <a:gd name="T24" fmla="*/ 3590 w 4960"/>
                  <a:gd name="T25" fmla="*/ 207 h 1437"/>
                  <a:gd name="T26" fmla="*/ 3381 w 4960"/>
                  <a:gd name="T27" fmla="*/ 216 h 1437"/>
                  <a:gd name="T28" fmla="*/ 3172 w 4960"/>
                  <a:gd name="T29" fmla="*/ 234 h 1437"/>
                  <a:gd name="T30" fmla="*/ 2965 w 4960"/>
                  <a:gd name="T31" fmla="*/ 261 h 1437"/>
                  <a:gd name="T32" fmla="*/ 2826 w 4960"/>
                  <a:gd name="T33" fmla="*/ 284 h 1437"/>
                  <a:gd name="T34" fmla="*/ 2689 w 4960"/>
                  <a:gd name="T35" fmla="*/ 313 h 1437"/>
                  <a:gd name="T36" fmla="*/ 2554 w 4960"/>
                  <a:gd name="T37" fmla="*/ 350 h 1437"/>
                  <a:gd name="T38" fmla="*/ 2420 w 4960"/>
                  <a:gd name="T39" fmla="*/ 394 h 1437"/>
                  <a:gd name="T40" fmla="*/ 2289 w 4960"/>
                  <a:gd name="T41" fmla="*/ 446 h 1437"/>
                  <a:gd name="T42" fmla="*/ 2161 w 4960"/>
                  <a:gd name="T43" fmla="*/ 508 h 1437"/>
                  <a:gd name="T44" fmla="*/ 2047 w 4960"/>
                  <a:gd name="T45" fmla="*/ 576 h 1437"/>
                  <a:gd name="T46" fmla="*/ 1941 w 4960"/>
                  <a:gd name="T47" fmla="*/ 651 h 1437"/>
                  <a:gd name="T48" fmla="*/ 1840 w 4960"/>
                  <a:gd name="T49" fmla="*/ 734 h 1437"/>
                  <a:gd name="T50" fmla="*/ 1746 w 4960"/>
                  <a:gd name="T51" fmla="*/ 823 h 1437"/>
                  <a:gd name="T52" fmla="*/ 1660 w 4960"/>
                  <a:gd name="T53" fmla="*/ 921 h 1437"/>
                  <a:gd name="T54" fmla="*/ 1579 w 4960"/>
                  <a:gd name="T55" fmla="*/ 1026 h 1437"/>
                  <a:gd name="T56" fmla="*/ 1496 w 4960"/>
                  <a:gd name="T57" fmla="*/ 1151 h 1437"/>
                  <a:gd name="T58" fmla="*/ 1417 w 4960"/>
                  <a:gd name="T59" fmla="*/ 1281 h 1437"/>
                  <a:gd name="T60" fmla="*/ 1338 w 4960"/>
                  <a:gd name="T61" fmla="*/ 1410 h 1437"/>
                  <a:gd name="T62" fmla="*/ 1326 w 4960"/>
                  <a:gd name="T63" fmla="*/ 1426 h 1437"/>
                  <a:gd name="T64" fmla="*/ 1313 w 4960"/>
                  <a:gd name="T65" fmla="*/ 1433 h 1437"/>
                  <a:gd name="T66" fmla="*/ 1295 w 4960"/>
                  <a:gd name="T67" fmla="*/ 1437 h 1437"/>
                  <a:gd name="T68" fmla="*/ 37 w 4960"/>
                  <a:gd name="T69" fmla="*/ 1437 h 1437"/>
                  <a:gd name="T70" fmla="*/ 21 w 4960"/>
                  <a:gd name="T71" fmla="*/ 1435 h 1437"/>
                  <a:gd name="T72" fmla="*/ 0 w 4960"/>
                  <a:gd name="T73" fmla="*/ 1435 h 1437"/>
                  <a:gd name="T74" fmla="*/ 64 w 4960"/>
                  <a:gd name="T75" fmla="*/ 1310 h 1437"/>
                  <a:gd name="T76" fmla="*/ 126 w 4960"/>
                  <a:gd name="T77" fmla="*/ 1186 h 1437"/>
                  <a:gd name="T78" fmla="*/ 186 w 4960"/>
                  <a:gd name="T79" fmla="*/ 1061 h 1437"/>
                  <a:gd name="T80" fmla="*/ 247 w 4960"/>
                  <a:gd name="T81" fmla="*/ 937 h 1437"/>
                  <a:gd name="T82" fmla="*/ 315 w 4960"/>
                  <a:gd name="T83" fmla="*/ 817 h 1437"/>
                  <a:gd name="T84" fmla="*/ 389 w 4960"/>
                  <a:gd name="T85" fmla="*/ 701 h 1437"/>
                  <a:gd name="T86" fmla="*/ 458 w 4960"/>
                  <a:gd name="T87" fmla="*/ 607 h 1437"/>
                  <a:gd name="T88" fmla="*/ 533 w 4960"/>
                  <a:gd name="T89" fmla="*/ 520 h 1437"/>
                  <a:gd name="T90" fmla="*/ 615 w 4960"/>
                  <a:gd name="T91" fmla="*/ 440 h 1437"/>
                  <a:gd name="T92" fmla="*/ 700 w 4960"/>
                  <a:gd name="T93" fmla="*/ 367 h 1437"/>
                  <a:gd name="T94" fmla="*/ 791 w 4960"/>
                  <a:gd name="T95" fmla="*/ 301 h 1437"/>
                  <a:gd name="T96" fmla="*/ 887 w 4960"/>
                  <a:gd name="T97" fmla="*/ 243 h 1437"/>
                  <a:gd name="T98" fmla="*/ 990 w 4960"/>
                  <a:gd name="T99" fmla="*/ 191 h 1437"/>
                  <a:gd name="T100" fmla="*/ 1096 w 4960"/>
                  <a:gd name="T101" fmla="*/ 147 h 1437"/>
                  <a:gd name="T102" fmla="*/ 1206 w 4960"/>
                  <a:gd name="T103" fmla="*/ 108 h 1437"/>
                  <a:gd name="T104" fmla="*/ 1351 w 4960"/>
                  <a:gd name="T105" fmla="*/ 69 h 1437"/>
                  <a:gd name="T106" fmla="*/ 1496 w 4960"/>
                  <a:gd name="T107" fmla="*/ 40 h 1437"/>
                  <a:gd name="T108" fmla="*/ 1645 w 4960"/>
                  <a:gd name="T109" fmla="*/ 21 h 1437"/>
                  <a:gd name="T110" fmla="*/ 1794 w 4960"/>
                  <a:gd name="T111" fmla="*/ 10 h 1437"/>
                  <a:gd name="T112" fmla="*/ 1954 w 4960"/>
                  <a:gd name="T113" fmla="*/ 4 h 1437"/>
                  <a:gd name="T114" fmla="*/ 2117 w 4960"/>
                  <a:gd name="T115" fmla="*/ 2 h 1437"/>
                  <a:gd name="T116" fmla="*/ 4896 w 4960"/>
                  <a:gd name="T117" fmla="*/ 0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60" h="1437">
                    <a:moveTo>
                      <a:pt x="4896" y="0"/>
                    </a:moveTo>
                    <a:lnTo>
                      <a:pt x="4960" y="0"/>
                    </a:lnTo>
                    <a:lnTo>
                      <a:pt x="4935" y="46"/>
                    </a:lnTo>
                    <a:lnTo>
                      <a:pt x="4912" y="89"/>
                    </a:lnTo>
                    <a:lnTo>
                      <a:pt x="4892" y="131"/>
                    </a:lnTo>
                    <a:lnTo>
                      <a:pt x="4879" y="162"/>
                    </a:lnTo>
                    <a:lnTo>
                      <a:pt x="4860" y="181"/>
                    </a:lnTo>
                    <a:lnTo>
                      <a:pt x="4838" y="195"/>
                    </a:lnTo>
                    <a:lnTo>
                      <a:pt x="4809" y="201"/>
                    </a:lnTo>
                    <a:lnTo>
                      <a:pt x="4776" y="203"/>
                    </a:lnTo>
                    <a:lnTo>
                      <a:pt x="4287" y="201"/>
                    </a:lnTo>
                    <a:lnTo>
                      <a:pt x="3798" y="203"/>
                    </a:lnTo>
                    <a:lnTo>
                      <a:pt x="3590" y="207"/>
                    </a:lnTo>
                    <a:lnTo>
                      <a:pt x="3381" y="216"/>
                    </a:lnTo>
                    <a:lnTo>
                      <a:pt x="3172" y="234"/>
                    </a:lnTo>
                    <a:lnTo>
                      <a:pt x="2965" y="261"/>
                    </a:lnTo>
                    <a:lnTo>
                      <a:pt x="2826" y="284"/>
                    </a:lnTo>
                    <a:lnTo>
                      <a:pt x="2689" y="313"/>
                    </a:lnTo>
                    <a:lnTo>
                      <a:pt x="2554" y="350"/>
                    </a:lnTo>
                    <a:lnTo>
                      <a:pt x="2420" y="394"/>
                    </a:lnTo>
                    <a:lnTo>
                      <a:pt x="2289" y="446"/>
                    </a:lnTo>
                    <a:lnTo>
                      <a:pt x="2161" y="508"/>
                    </a:lnTo>
                    <a:lnTo>
                      <a:pt x="2047" y="576"/>
                    </a:lnTo>
                    <a:lnTo>
                      <a:pt x="1941" y="651"/>
                    </a:lnTo>
                    <a:lnTo>
                      <a:pt x="1840" y="734"/>
                    </a:lnTo>
                    <a:lnTo>
                      <a:pt x="1746" y="823"/>
                    </a:lnTo>
                    <a:lnTo>
                      <a:pt x="1660" y="921"/>
                    </a:lnTo>
                    <a:lnTo>
                      <a:pt x="1579" y="1026"/>
                    </a:lnTo>
                    <a:lnTo>
                      <a:pt x="1496" y="1151"/>
                    </a:lnTo>
                    <a:lnTo>
                      <a:pt x="1417" y="1281"/>
                    </a:lnTo>
                    <a:lnTo>
                      <a:pt x="1338" y="1410"/>
                    </a:lnTo>
                    <a:lnTo>
                      <a:pt x="1326" y="1426"/>
                    </a:lnTo>
                    <a:lnTo>
                      <a:pt x="1313" y="1433"/>
                    </a:lnTo>
                    <a:lnTo>
                      <a:pt x="1295" y="1437"/>
                    </a:lnTo>
                    <a:lnTo>
                      <a:pt x="37" y="1437"/>
                    </a:lnTo>
                    <a:lnTo>
                      <a:pt x="21" y="1435"/>
                    </a:lnTo>
                    <a:lnTo>
                      <a:pt x="0" y="1435"/>
                    </a:lnTo>
                    <a:lnTo>
                      <a:pt x="64" y="1310"/>
                    </a:lnTo>
                    <a:lnTo>
                      <a:pt x="126" y="1186"/>
                    </a:lnTo>
                    <a:lnTo>
                      <a:pt x="186" y="1061"/>
                    </a:lnTo>
                    <a:lnTo>
                      <a:pt x="247" y="937"/>
                    </a:lnTo>
                    <a:lnTo>
                      <a:pt x="315" y="817"/>
                    </a:lnTo>
                    <a:lnTo>
                      <a:pt x="389" y="701"/>
                    </a:lnTo>
                    <a:lnTo>
                      <a:pt x="458" y="607"/>
                    </a:lnTo>
                    <a:lnTo>
                      <a:pt x="533" y="520"/>
                    </a:lnTo>
                    <a:lnTo>
                      <a:pt x="615" y="440"/>
                    </a:lnTo>
                    <a:lnTo>
                      <a:pt x="700" y="367"/>
                    </a:lnTo>
                    <a:lnTo>
                      <a:pt x="791" y="301"/>
                    </a:lnTo>
                    <a:lnTo>
                      <a:pt x="887" y="243"/>
                    </a:lnTo>
                    <a:lnTo>
                      <a:pt x="990" y="191"/>
                    </a:lnTo>
                    <a:lnTo>
                      <a:pt x="1096" y="147"/>
                    </a:lnTo>
                    <a:lnTo>
                      <a:pt x="1206" y="108"/>
                    </a:lnTo>
                    <a:lnTo>
                      <a:pt x="1351" y="69"/>
                    </a:lnTo>
                    <a:lnTo>
                      <a:pt x="1496" y="40"/>
                    </a:lnTo>
                    <a:lnTo>
                      <a:pt x="1645" y="21"/>
                    </a:lnTo>
                    <a:lnTo>
                      <a:pt x="1794" y="10"/>
                    </a:lnTo>
                    <a:lnTo>
                      <a:pt x="1954" y="4"/>
                    </a:lnTo>
                    <a:lnTo>
                      <a:pt x="2117" y="2"/>
                    </a:lnTo>
                    <a:lnTo>
                      <a:pt x="4896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61144228-6360-4B55-95F5-F9B22AED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5" y="643"/>
                <a:ext cx="2316" cy="1988"/>
              </a:xfrm>
              <a:custGeom>
                <a:avLst/>
                <a:gdLst>
                  <a:gd name="T0" fmla="*/ 2297 w 2316"/>
                  <a:gd name="T1" fmla="*/ 0 h 1988"/>
                  <a:gd name="T2" fmla="*/ 2316 w 2316"/>
                  <a:gd name="T3" fmla="*/ 0 h 1988"/>
                  <a:gd name="T4" fmla="*/ 2250 w 2316"/>
                  <a:gd name="T5" fmla="*/ 124 h 1988"/>
                  <a:gd name="T6" fmla="*/ 2185 w 2316"/>
                  <a:gd name="T7" fmla="*/ 245 h 1988"/>
                  <a:gd name="T8" fmla="*/ 2038 w 2316"/>
                  <a:gd name="T9" fmla="*/ 510 h 1988"/>
                  <a:gd name="T10" fmla="*/ 1885 w 2316"/>
                  <a:gd name="T11" fmla="*/ 771 h 1988"/>
                  <a:gd name="T12" fmla="*/ 1726 w 2316"/>
                  <a:gd name="T13" fmla="*/ 1028 h 1988"/>
                  <a:gd name="T14" fmla="*/ 1560 w 2316"/>
                  <a:gd name="T15" fmla="*/ 1281 h 1988"/>
                  <a:gd name="T16" fmla="*/ 1496 w 2316"/>
                  <a:gd name="T17" fmla="*/ 1368 h 1988"/>
                  <a:gd name="T18" fmla="*/ 1431 w 2316"/>
                  <a:gd name="T19" fmla="*/ 1455 h 1988"/>
                  <a:gd name="T20" fmla="*/ 1361 w 2316"/>
                  <a:gd name="T21" fmla="*/ 1536 h 1988"/>
                  <a:gd name="T22" fmla="*/ 1286 w 2316"/>
                  <a:gd name="T23" fmla="*/ 1613 h 1988"/>
                  <a:gd name="T24" fmla="*/ 1205 w 2316"/>
                  <a:gd name="T25" fmla="*/ 1685 h 1988"/>
                  <a:gd name="T26" fmla="*/ 1118 w 2316"/>
                  <a:gd name="T27" fmla="*/ 1751 h 1988"/>
                  <a:gd name="T28" fmla="*/ 1036 w 2316"/>
                  <a:gd name="T29" fmla="*/ 1803 h 1988"/>
                  <a:gd name="T30" fmla="*/ 951 w 2316"/>
                  <a:gd name="T31" fmla="*/ 1847 h 1988"/>
                  <a:gd name="T32" fmla="*/ 864 w 2316"/>
                  <a:gd name="T33" fmla="*/ 1884 h 1988"/>
                  <a:gd name="T34" fmla="*/ 773 w 2316"/>
                  <a:gd name="T35" fmla="*/ 1913 h 1988"/>
                  <a:gd name="T36" fmla="*/ 683 w 2316"/>
                  <a:gd name="T37" fmla="*/ 1936 h 1988"/>
                  <a:gd name="T38" fmla="*/ 586 w 2316"/>
                  <a:gd name="T39" fmla="*/ 1953 h 1988"/>
                  <a:gd name="T40" fmla="*/ 449 w 2316"/>
                  <a:gd name="T41" fmla="*/ 1971 h 1988"/>
                  <a:gd name="T42" fmla="*/ 311 w 2316"/>
                  <a:gd name="T43" fmla="*/ 1980 h 1988"/>
                  <a:gd name="T44" fmla="*/ 172 w 2316"/>
                  <a:gd name="T45" fmla="*/ 1986 h 1988"/>
                  <a:gd name="T46" fmla="*/ 33 w 2316"/>
                  <a:gd name="T47" fmla="*/ 1988 h 1988"/>
                  <a:gd name="T48" fmla="*/ 18 w 2316"/>
                  <a:gd name="T49" fmla="*/ 1988 h 1988"/>
                  <a:gd name="T50" fmla="*/ 0 w 2316"/>
                  <a:gd name="T51" fmla="*/ 1988 h 1988"/>
                  <a:gd name="T52" fmla="*/ 8 w 2316"/>
                  <a:gd name="T53" fmla="*/ 1969 h 1988"/>
                  <a:gd name="T54" fmla="*/ 14 w 2316"/>
                  <a:gd name="T55" fmla="*/ 1955 h 1988"/>
                  <a:gd name="T56" fmla="*/ 916 w 2316"/>
                  <a:gd name="T57" fmla="*/ 168 h 1988"/>
                  <a:gd name="T58" fmla="*/ 928 w 2316"/>
                  <a:gd name="T59" fmla="*/ 149 h 1988"/>
                  <a:gd name="T60" fmla="*/ 945 w 2316"/>
                  <a:gd name="T61" fmla="*/ 137 h 1988"/>
                  <a:gd name="T62" fmla="*/ 967 w 2316"/>
                  <a:gd name="T63" fmla="*/ 133 h 1988"/>
                  <a:gd name="T64" fmla="*/ 1753 w 2316"/>
                  <a:gd name="T65" fmla="*/ 54 h 1988"/>
                  <a:gd name="T66" fmla="*/ 2281 w 2316"/>
                  <a:gd name="T67" fmla="*/ 0 h 1988"/>
                  <a:gd name="T68" fmla="*/ 2297 w 2316"/>
                  <a:gd name="T69" fmla="*/ 0 h 1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16" h="1988">
                    <a:moveTo>
                      <a:pt x="2297" y="0"/>
                    </a:moveTo>
                    <a:lnTo>
                      <a:pt x="2316" y="0"/>
                    </a:lnTo>
                    <a:lnTo>
                      <a:pt x="2250" y="124"/>
                    </a:lnTo>
                    <a:lnTo>
                      <a:pt x="2185" y="245"/>
                    </a:lnTo>
                    <a:lnTo>
                      <a:pt x="2038" y="510"/>
                    </a:lnTo>
                    <a:lnTo>
                      <a:pt x="1885" y="771"/>
                    </a:lnTo>
                    <a:lnTo>
                      <a:pt x="1726" y="1028"/>
                    </a:lnTo>
                    <a:lnTo>
                      <a:pt x="1560" y="1281"/>
                    </a:lnTo>
                    <a:lnTo>
                      <a:pt x="1496" y="1368"/>
                    </a:lnTo>
                    <a:lnTo>
                      <a:pt x="1431" y="1455"/>
                    </a:lnTo>
                    <a:lnTo>
                      <a:pt x="1361" y="1536"/>
                    </a:lnTo>
                    <a:lnTo>
                      <a:pt x="1286" y="1613"/>
                    </a:lnTo>
                    <a:lnTo>
                      <a:pt x="1205" y="1685"/>
                    </a:lnTo>
                    <a:lnTo>
                      <a:pt x="1118" y="1751"/>
                    </a:lnTo>
                    <a:lnTo>
                      <a:pt x="1036" y="1803"/>
                    </a:lnTo>
                    <a:lnTo>
                      <a:pt x="951" y="1847"/>
                    </a:lnTo>
                    <a:lnTo>
                      <a:pt x="864" y="1884"/>
                    </a:lnTo>
                    <a:lnTo>
                      <a:pt x="773" y="1913"/>
                    </a:lnTo>
                    <a:lnTo>
                      <a:pt x="683" y="1936"/>
                    </a:lnTo>
                    <a:lnTo>
                      <a:pt x="586" y="1953"/>
                    </a:lnTo>
                    <a:lnTo>
                      <a:pt x="449" y="1971"/>
                    </a:lnTo>
                    <a:lnTo>
                      <a:pt x="311" y="1980"/>
                    </a:lnTo>
                    <a:lnTo>
                      <a:pt x="172" y="1986"/>
                    </a:lnTo>
                    <a:lnTo>
                      <a:pt x="33" y="1988"/>
                    </a:lnTo>
                    <a:lnTo>
                      <a:pt x="18" y="1988"/>
                    </a:lnTo>
                    <a:lnTo>
                      <a:pt x="0" y="1988"/>
                    </a:lnTo>
                    <a:lnTo>
                      <a:pt x="8" y="1969"/>
                    </a:lnTo>
                    <a:lnTo>
                      <a:pt x="14" y="1955"/>
                    </a:lnTo>
                    <a:lnTo>
                      <a:pt x="916" y="168"/>
                    </a:lnTo>
                    <a:lnTo>
                      <a:pt x="928" y="149"/>
                    </a:lnTo>
                    <a:lnTo>
                      <a:pt x="945" y="137"/>
                    </a:lnTo>
                    <a:lnTo>
                      <a:pt x="967" y="133"/>
                    </a:lnTo>
                    <a:lnTo>
                      <a:pt x="1753" y="54"/>
                    </a:lnTo>
                    <a:lnTo>
                      <a:pt x="2281" y="0"/>
                    </a:lnTo>
                    <a:lnTo>
                      <a:pt x="2297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88DFCB77-4787-41C9-BEEE-C96E24C9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" y="-875"/>
                <a:ext cx="2472" cy="1029"/>
              </a:xfrm>
              <a:custGeom>
                <a:avLst/>
                <a:gdLst>
                  <a:gd name="T0" fmla="*/ 2451 w 2472"/>
                  <a:gd name="T1" fmla="*/ 0 h 1029"/>
                  <a:gd name="T2" fmla="*/ 2472 w 2472"/>
                  <a:gd name="T3" fmla="*/ 0 h 1029"/>
                  <a:gd name="T4" fmla="*/ 2426 w 2472"/>
                  <a:gd name="T5" fmla="*/ 94 h 1029"/>
                  <a:gd name="T6" fmla="*/ 2379 w 2472"/>
                  <a:gd name="T7" fmla="*/ 185 h 1029"/>
                  <a:gd name="T8" fmla="*/ 1977 w 2472"/>
                  <a:gd name="T9" fmla="*/ 1004 h 1029"/>
                  <a:gd name="T10" fmla="*/ 1967 w 2472"/>
                  <a:gd name="T11" fmla="*/ 1018 h 1029"/>
                  <a:gd name="T12" fmla="*/ 1956 w 2472"/>
                  <a:gd name="T13" fmla="*/ 1027 h 1029"/>
                  <a:gd name="T14" fmla="*/ 1937 w 2472"/>
                  <a:gd name="T15" fmla="*/ 1029 h 1029"/>
                  <a:gd name="T16" fmla="*/ 23 w 2472"/>
                  <a:gd name="T17" fmla="*/ 1029 h 1029"/>
                  <a:gd name="T18" fmla="*/ 17 w 2472"/>
                  <a:gd name="T19" fmla="*/ 1027 h 1029"/>
                  <a:gd name="T20" fmla="*/ 9 w 2472"/>
                  <a:gd name="T21" fmla="*/ 1027 h 1029"/>
                  <a:gd name="T22" fmla="*/ 0 w 2472"/>
                  <a:gd name="T23" fmla="*/ 1027 h 1029"/>
                  <a:gd name="T24" fmla="*/ 48 w 2472"/>
                  <a:gd name="T25" fmla="*/ 938 h 1029"/>
                  <a:gd name="T26" fmla="*/ 100 w 2472"/>
                  <a:gd name="T27" fmla="*/ 852 h 1029"/>
                  <a:gd name="T28" fmla="*/ 152 w 2472"/>
                  <a:gd name="T29" fmla="*/ 767 h 1029"/>
                  <a:gd name="T30" fmla="*/ 210 w 2472"/>
                  <a:gd name="T31" fmla="*/ 683 h 1029"/>
                  <a:gd name="T32" fmla="*/ 270 w 2472"/>
                  <a:gd name="T33" fmla="*/ 606 h 1029"/>
                  <a:gd name="T34" fmla="*/ 334 w 2472"/>
                  <a:gd name="T35" fmla="*/ 531 h 1029"/>
                  <a:gd name="T36" fmla="*/ 404 w 2472"/>
                  <a:gd name="T37" fmla="*/ 461 h 1029"/>
                  <a:gd name="T38" fmla="*/ 479 w 2472"/>
                  <a:gd name="T39" fmla="*/ 396 h 1029"/>
                  <a:gd name="T40" fmla="*/ 560 w 2472"/>
                  <a:gd name="T41" fmla="*/ 336 h 1029"/>
                  <a:gd name="T42" fmla="*/ 647 w 2472"/>
                  <a:gd name="T43" fmla="*/ 284 h 1029"/>
                  <a:gd name="T44" fmla="*/ 744 w 2472"/>
                  <a:gd name="T45" fmla="*/ 235 h 1029"/>
                  <a:gd name="T46" fmla="*/ 842 w 2472"/>
                  <a:gd name="T47" fmla="*/ 195 h 1029"/>
                  <a:gd name="T48" fmla="*/ 941 w 2472"/>
                  <a:gd name="T49" fmla="*/ 162 h 1029"/>
                  <a:gd name="T50" fmla="*/ 1043 w 2472"/>
                  <a:gd name="T51" fmla="*/ 133 h 1029"/>
                  <a:gd name="T52" fmla="*/ 1148 w 2472"/>
                  <a:gd name="T53" fmla="*/ 108 h 1029"/>
                  <a:gd name="T54" fmla="*/ 1320 w 2472"/>
                  <a:gd name="T55" fmla="*/ 75 h 1029"/>
                  <a:gd name="T56" fmla="*/ 1492 w 2472"/>
                  <a:gd name="T57" fmla="*/ 50 h 1029"/>
                  <a:gd name="T58" fmla="*/ 1666 w 2472"/>
                  <a:gd name="T59" fmla="*/ 32 h 1029"/>
                  <a:gd name="T60" fmla="*/ 1842 w 2472"/>
                  <a:gd name="T61" fmla="*/ 21 h 1029"/>
                  <a:gd name="T62" fmla="*/ 2138 w 2472"/>
                  <a:gd name="T63" fmla="*/ 9 h 1029"/>
                  <a:gd name="T64" fmla="*/ 2433 w 2472"/>
                  <a:gd name="T65" fmla="*/ 0 h 1029"/>
                  <a:gd name="T66" fmla="*/ 2451 w 2472"/>
                  <a:gd name="T67" fmla="*/ 0 h 10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72" h="1029">
                    <a:moveTo>
                      <a:pt x="2451" y="0"/>
                    </a:moveTo>
                    <a:lnTo>
                      <a:pt x="2472" y="0"/>
                    </a:lnTo>
                    <a:lnTo>
                      <a:pt x="2426" y="94"/>
                    </a:lnTo>
                    <a:lnTo>
                      <a:pt x="2379" y="185"/>
                    </a:lnTo>
                    <a:lnTo>
                      <a:pt x="1977" y="1004"/>
                    </a:lnTo>
                    <a:lnTo>
                      <a:pt x="1967" y="1018"/>
                    </a:lnTo>
                    <a:lnTo>
                      <a:pt x="1956" y="1027"/>
                    </a:lnTo>
                    <a:lnTo>
                      <a:pt x="1937" y="1029"/>
                    </a:lnTo>
                    <a:lnTo>
                      <a:pt x="23" y="1029"/>
                    </a:lnTo>
                    <a:lnTo>
                      <a:pt x="17" y="1027"/>
                    </a:lnTo>
                    <a:lnTo>
                      <a:pt x="9" y="1027"/>
                    </a:lnTo>
                    <a:lnTo>
                      <a:pt x="0" y="1027"/>
                    </a:lnTo>
                    <a:lnTo>
                      <a:pt x="48" y="938"/>
                    </a:lnTo>
                    <a:lnTo>
                      <a:pt x="100" y="852"/>
                    </a:lnTo>
                    <a:lnTo>
                      <a:pt x="152" y="767"/>
                    </a:lnTo>
                    <a:lnTo>
                      <a:pt x="210" y="683"/>
                    </a:lnTo>
                    <a:lnTo>
                      <a:pt x="270" y="606"/>
                    </a:lnTo>
                    <a:lnTo>
                      <a:pt x="334" y="531"/>
                    </a:lnTo>
                    <a:lnTo>
                      <a:pt x="404" y="461"/>
                    </a:lnTo>
                    <a:lnTo>
                      <a:pt x="479" y="396"/>
                    </a:lnTo>
                    <a:lnTo>
                      <a:pt x="560" y="336"/>
                    </a:lnTo>
                    <a:lnTo>
                      <a:pt x="647" y="284"/>
                    </a:lnTo>
                    <a:lnTo>
                      <a:pt x="744" y="235"/>
                    </a:lnTo>
                    <a:lnTo>
                      <a:pt x="842" y="195"/>
                    </a:lnTo>
                    <a:lnTo>
                      <a:pt x="941" y="162"/>
                    </a:lnTo>
                    <a:lnTo>
                      <a:pt x="1043" y="133"/>
                    </a:lnTo>
                    <a:lnTo>
                      <a:pt x="1148" y="108"/>
                    </a:lnTo>
                    <a:lnTo>
                      <a:pt x="1320" y="75"/>
                    </a:lnTo>
                    <a:lnTo>
                      <a:pt x="1492" y="50"/>
                    </a:lnTo>
                    <a:lnTo>
                      <a:pt x="1666" y="32"/>
                    </a:lnTo>
                    <a:lnTo>
                      <a:pt x="1842" y="21"/>
                    </a:lnTo>
                    <a:lnTo>
                      <a:pt x="2138" y="9"/>
                    </a:lnTo>
                    <a:lnTo>
                      <a:pt x="2433" y="0"/>
                    </a:lnTo>
                    <a:lnTo>
                      <a:pt x="2451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</p:grpSp>
      </p:grpSp>
      <p:sp>
        <p:nvSpPr>
          <p:cNvPr id="17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197E883-74D9-DD49-9664-52FC49ABA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520825"/>
            <a:ext cx="11176000" cy="42846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>
              <a:solidFill>
                <a:schemeClr val="tx2"/>
              </a:solidFill>
            </a:endParaRPr>
          </a:p>
        </p:txBody>
      </p:sp>
      <p:sp>
        <p:nvSpPr>
          <p:cNvPr id="3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</a:p>
        </p:txBody>
      </p:sp>
      <p:sp>
        <p:nvSpPr>
          <p:cNvPr id="3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err="1"/>
              <a:t>Titolo</a:t>
            </a:r>
            <a:r>
              <a:rPr lang="en-GB"/>
              <a:t> </a:t>
            </a:r>
            <a:r>
              <a:rPr lang="en-GB" err="1"/>
              <a:t>presentazione</a:t>
            </a:r>
            <a:r>
              <a:rPr lang="en-GB"/>
              <a:t>   I   Nome </a:t>
            </a:r>
            <a:r>
              <a:rPr lang="en-GB" err="1"/>
              <a:t>relatore</a:t>
            </a:r>
            <a:endParaRPr lang="en-GB"/>
          </a:p>
        </p:txBody>
      </p:sp>
      <p:pic>
        <p:nvPicPr>
          <p:cNvPr id="41" name="Immagine 4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9517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SSO1_COPY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0"/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8170" y="0"/>
            <a:ext cx="472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6074" y="90427"/>
            <a:ext cx="346160" cy="234428"/>
            <a:chOff x="-560" y="-1287"/>
            <a:chExt cx="6379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>
              <a:solidFill>
                <a:schemeClr val="tx2"/>
              </a:solidFill>
            </a:endParaRP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0"/>
            <a:ext cx="11176000" cy="490378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  <p:sp>
        <p:nvSpPr>
          <p:cNvPr id="1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</a:p>
        </p:txBody>
      </p:sp>
      <p:sp>
        <p:nvSpPr>
          <p:cNvPr id="1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err="1"/>
              <a:t>Titolo</a:t>
            </a:r>
            <a:r>
              <a:rPr lang="en-GB"/>
              <a:t> </a:t>
            </a:r>
            <a:r>
              <a:rPr lang="en-GB" err="1"/>
              <a:t>presentazione</a:t>
            </a:r>
            <a:r>
              <a:rPr lang="en-GB"/>
              <a:t>   I   Nome </a:t>
            </a:r>
            <a:r>
              <a:rPr lang="en-GB" err="1"/>
              <a:t>relatore</a:t>
            </a:r>
            <a:endParaRPr lang="en-GB"/>
          </a:p>
        </p:txBody>
      </p:sp>
      <p:pic>
        <p:nvPicPr>
          <p:cNvPr id="31" name="Immagine 3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5103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5"/>
            <a:ext cx="11176620" cy="422751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0375904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10196" y="274499"/>
            <a:ext cx="10971609" cy="1142505"/>
          </a:xfrm>
          <a:prstGeom prst="rect">
            <a:avLst/>
          </a:prstGeom>
        </p:spPr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610196" y="1599508"/>
            <a:ext cx="10971609" cy="452699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</p:spTree>
    <p:extLst>
      <p:ext uri="{BB962C8B-B14F-4D97-AF65-F5344CB8AC3E}">
        <p14:creationId xmlns:p14="http://schemas.microsoft.com/office/powerpoint/2010/main" val="32194896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601" y="1282706"/>
            <a:ext cx="10972800" cy="4525963"/>
          </a:xfrm>
          <a:prstGeom prst="rect">
            <a:avLst/>
          </a:prstGeom>
        </p:spPr>
        <p:txBody>
          <a:bodyPr lIns="121856" tIns="60927" rIns="121856" bIns="60927"/>
          <a:lstStyle>
            <a:lvl1pPr>
              <a:buClr>
                <a:srgbClr val="FF6E00"/>
              </a:buClr>
              <a:buFont typeface="Wingdings" pitchFamily="2" charset="2"/>
              <a:buChar char="q"/>
              <a:defRPr sz="3200">
                <a:solidFill>
                  <a:srgbClr val="333333"/>
                </a:solidFill>
              </a:defRPr>
            </a:lvl1pPr>
            <a:lvl2pPr>
              <a:buClr>
                <a:srgbClr val="FF6E00"/>
              </a:buClr>
              <a:buFont typeface="Wingdings" pitchFamily="2" charset="2"/>
              <a:buChar char="ü"/>
              <a:defRPr sz="3200">
                <a:solidFill>
                  <a:srgbClr val="333333"/>
                </a:solidFill>
              </a:defRPr>
            </a:lvl2pPr>
            <a:lvl3pPr>
              <a:buClr>
                <a:srgbClr val="FF6E00"/>
              </a:buClr>
              <a:buFont typeface="Courier New" pitchFamily="49" charset="0"/>
              <a:buChar char="­"/>
              <a:defRPr sz="2600">
                <a:solidFill>
                  <a:srgbClr val="333333"/>
                </a:solidFill>
                <a:latin typeface="+mn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1" y="274647"/>
            <a:ext cx="10972800" cy="601662"/>
          </a:xfrm>
          <a:prstGeom prst="rect">
            <a:avLst/>
          </a:prstGeom>
        </p:spPr>
        <p:txBody>
          <a:bodyPr lIns="121856" tIns="60927" rIns="121856" bIns="60927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it-IT" sz="4000" b="1" kern="1200" dirty="0">
                <a:solidFill>
                  <a:srgbClr val="333333"/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5028492"/>
      </p:ext>
    </p:extLst>
  </p:cSld>
  <p:clrMapOvr>
    <a:masterClrMapping/>
  </p:clrMapOvr>
  <p:transition spd="slow">
    <p:randomBar dir="vert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577975"/>
            <a:ext cx="11176621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9618833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5"/>
            <a:ext cx="11176620" cy="422751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7135772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36336584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8676875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4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78926364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0370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41489530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7337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0" y="1552575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3406922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88" y="1521699"/>
            <a:ext cx="5688012" cy="4283789"/>
          </a:xfrm>
        </p:spPr>
        <p:txBody>
          <a:bodyPr/>
          <a:lstStyle/>
          <a:p>
            <a:pPr lvl="0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16233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0" y="19034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0" y="26520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0" y="29321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36807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0" y="39608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094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0" y="49895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7511222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5834019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98872782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magin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  <p:sp>
        <p:nvSpPr>
          <p:cNvPr id="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1"/>
            <a:ext cx="11176000" cy="203199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380191890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4956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863249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60352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415219174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421290789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59092694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8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8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3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3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19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19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208201023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54194572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SO1_Titolo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" name="Rettangolo 1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466584B-8BD1-48B2-BD0C-DC7DD5380BEF}"/>
                </a:ext>
              </a:extLst>
            </p:cNvPr>
            <p:cNvSpPr/>
            <p:nvPr userDrawn="1"/>
          </p:nvSpPr>
          <p:spPr>
            <a:xfrm>
              <a:off x="11718170" y="0"/>
              <a:ext cx="47288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93527B5-7425-47AC-89C0-2B32AE60168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1786074" y="90427"/>
              <a:ext cx="346160" cy="234428"/>
              <a:chOff x="-560" y="-1287"/>
              <a:chExt cx="6379" cy="4320"/>
            </a:xfrm>
          </p:grpSpPr>
          <p:sp>
            <p:nvSpPr>
              <p:cNvPr id="24" name="AutoShape 3">
                <a:extLst>
                  <a:ext uri="{FF2B5EF4-FFF2-40B4-BE49-F238E27FC236}">
                    <a16:creationId xmlns:a16="http://schemas.microsoft.com/office/drawing/2014/main" id="{85DBAE22-A53B-46F6-A1C2-9F9E40807B3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B355A452-2788-4C68-9C15-CC51FD59A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B83AE660-1A7F-4C22-9AF1-535B2E94E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" y="423"/>
                <a:ext cx="5536" cy="2610"/>
              </a:xfrm>
              <a:custGeom>
                <a:avLst/>
                <a:gdLst>
                  <a:gd name="T0" fmla="*/ 5536 w 5536"/>
                  <a:gd name="T1" fmla="*/ 0 h 2610"/>
                  <a:gd name="T2" fmla="*/ 5470 w 5536"/>
                  <a:gd name="T3" fmla="*/ 127 h 2610"/>
                  <a:gd name="T4" fmla="*/ 5449 w 5536"/>
                  <a:gd name="T5" fmla="*/ 139 h 2610"/>
                  <a:gd name="T6" fmla="*/ 5061 w 5536"/>
                  <a:gd name="T7" fmla="*/ 164 h 2610"/>
                  <a:gd name="T8" fmla="*/ 4881 w 5536"/>
                  <a:gd name="T9" fmla="*/ 189 h 2610"/>
                  <a:gd name="T10" fmla="*/ 4722 w 5536"/>
                  <a:gd name="T11" fmla="*/ 247 h 2610"/>
                  <a:gd name="T12" fmla="*/ 4585 w 5536"/>
                  <a:gd name="T13" fmla="*/ 336 h 2610"/>
                  <a:gd name="T14" fmla="*/ 4471 w 5536"/>
                  <a:gd name="T15" fmla="*/ 460 h 2610"/>
                  <a:gd name="T16" fmla="*/ 4380 w 5536"/>
                  <a:gd name="T17" fmla="*/ 618 h 2610"/>
                  <a:gd name="T18" fmla="*/ 4338 w 5536"/>
                  <a:gd name="T19" fmla="*/ 757 h 2610"/>
                  <a:gd name="T20" fmla="*/ 4318 w 5536"/>
                  <a:gd name="T21" fmla="*/ 902 h 2610"/>
                  <a:gd name="T22" fmla="*/ 4305 w 5536"/>
                  <a:gd name="T23" fmla="*/ 1107 h 2610"/>
                  <a:gd name="T24" fmla="*/ 4278 w 5536"/>
                  <a:gd name="T25" fmla="*/ 1312 h 2610"/>
                  <a:gd name="T26" fmla="*/ 4208 w 5536"/>
                  <a:gd name="T27" fmla="*/ 1538 h 2610"/>
                  <a:gd name="T28" fmla="*/ 4100 w 5536"/>
                  <a:gd name="T29" fmla="*/ 1768 h 2610"/>
                  <a:gd name="T30" fmla="*/ 3963 w 5536"/>
                  <a:gd name="T31" fmla="*/ 1971 h 2610"/>
                  <a:gd name="T32" fmla="*/ 3800 w 5536"/>
                  <a:gd name="T33" fmla="*/ 2146 h 2610"/>
                  <a:gd name="T34" fmla="*/ 3609 w 5536"/>
                  <a:gd name="T35" fmla="*/ 2293 h 2610"/>
                  <a:gd name="T36" fmla="*/ 3391 w 5536"/>
                  <a:gd name="T37" fmla="*/ 2413 h 2610"/>
                  <a:gd name="T38" fmla="*/ 3145 w 5536"/>
                  <a:gd name="T39" fmla="*/ 2504 h 2610"/>
                  <a:gd name="T40" fmla="*/ 2911 w 5536"/>
                  <a:gd name="T41" fmla="*/ 2552 h 2610"/>
                  <a:gd name="T42" fmla="*/ 2671 w 5536"/>
                  <a:gd name="T43" fmla="*/ 2585 h 2610"/>
                  <a:gd name="T44" fmla="*/ 2378 w 5536"/>
                  <a:gd name="T45" fmla="*/ 2608 h 2610"/>
                  <a:gd name="T46" fmla="*/ 2084 w 5536"/>
                  <a:gd name="T47" fmla="*/ 2608 h 2610"/>
                  <a:gd name="T48" fmla="*/ 54 w 5536"/>
                  <a:gd name="T49" fmla="*/ 2608 h 2610"/>
                  <a:gd name="T50" fmla="*/ 0 w 5536"/>
                  <a:gd name="T51" fmla="*/ 2608 h 2610"/>
                  <a:gd name="T52" fmla="*/ 64 w 5536"/>
                  <a:gd name="T53" fmla="*/ 2477 h 2610"/>
                  <a:gd name="T54" fmla="*/ 93 w 5536"/>
                  <a:gd name="T55" fmla="*/ 2436 h 2610"/>
                  <a:gd name="T56" fmla="*/ 143 w 5536"/>
                  <a:gd name="T57" fmla="*/ 2426 h 2610"/>
                  <a:gd name="T58" fmla="*/ 1098 w 5536"/>
                  <a:gd name="T59" fmla="*/ 2419 h 2610"/>
                  <a:gd name="T60" fmla="*/ 1469 w 5536"/>
                  <a:gd name="T61" fmla="*/ 2396 h 2610"/>
                  <a:gd name="T62" fmla="*/ 1753 w 5536"/>
                  <a:gd name="T63" fmla="*/ 2368 h 2610"/>
                  <a:gd name="T64" fmla="*/ 1947 w 5536"/>
                  <a:gd name="T65" fmla="*/ 2336 h 2610"/>
                  <a:gd name="T66" fmla="*/ 2155 w 5536"/>
                  <a:gd name="T67" fmla="*/ 2268 h 2610"/>
                  <a:gd name="T68" fmla="*/ 2362 w 5536"/>
                  <a:gd name="T69" fmla="*/ 2162 h 2610"/>
                  <a:gd name="T70" fmla="*/ 2540 w 5536"/>
                  <a:gd name="T71" fmla="*/ 2028 h 2610"/>
                  <a:gd name="T72" fmla="*/ 2687 w 5536"/>
                  <a:gd name="T73" fmla="*/ 1866 h 2610"/>
                  <a:gd name="T74" fmla="*/ 2807 w 5536"/>
                  <a:gd name="T75" fmla="*/ 1675 h 2610"/>
                  <a:gd name="T76" fmla="*/ 2896 w 5536"/>
                  <a:gd name="T77" fmla="*/ 1453 h 2610"/>
                  <a:gd name="T78" fmla="*/ 3064 w 5536"/>
                  <a:gd name="T79" fmla="*/ 881 h 2610"/>
                  <a:gd name="T80" fmla="*/ 3108 w 5536"/>
                  <a:gd name="T81" fmla="*/ 732 h 2610"/>
                  <a:gd name="T82" fmla="*/ 3170 w 5536"/>
                  <a:gd name="T83" fmla="*/ 591 h 2610"/>
                  <a:gd name="T84" fmla="*/ 3290 w 5536"/>
                  <a:gd name="T85" fmla="*/ 423 h 2610"/>
                  <a:gd name="T86" fmla="*/ 3431 w 5536"/>
                  <a:gd name="T87" fmla="*/ 288 h 2610"/>
                  <a:gd name="T88" fmla="*/ 3595 w 5536"/>
                  <a:gd name="T89" fmla="*/ 187 h 2610"/>
                  <a:gd name="T90" fmla="*/ 3785 w 5536"/>
                  <a:gd name="T91" fmla="*/ 122 h 2610"/>
                  <a:gd name="T92" fmla="*/ 4003 w 5536"/>
                  <a:gd name="T93" fmla="*/ 91 h 2610"/>
                  <a:gd name="T94" fmla="*/ 4235 w 5536"/>
                  <a:gd name="T95" fmla="*/ 79 h 2610"/>
                  <a:gd name="T96" fmla="*/ 5498 w 5536"/>
                  <a:gd name="T97" fmla="*/ 0 h 2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536" h="2610">
                    <a:moveTo>
                      <a:pt x="5515" y="0"/>
                    </a:moveTo>
                    <a:lnTo>
                      <a:pt x="5536" y="0"/>
                    </a:lnTo>
                    <a:lnTo>
                      <a:pt x="5503" y="66"/>
                    </a:lnTo>
                    <a:lnTo>
                      <a:pt x="5470" y="127"/>
                    </a:lnTo>
                    <a:lnTo>
                      <a:pt x="5463" y="135"/>
                    </a:lnTo>
                    <a:lnTo>
                      <a:pt x="5449" y="139"/>
                    </a:lnTo>
                    <a:lnTo>
                      <a:pt x="5436" y="141"/>
                    </a:lnTo>
                    <a:lnTo>
                      <a:pt x="5061" y="164"/>
                    </a:lnTo>
                    <a:lnTo>
                      <a:pt x="4968" y="172"/>
                    </a:lnTo>
                    <a:lnTo>
                      <a:pt x="4881" y="189"/>
                    </a:lnTo>
                    <a:lnTo>
                      <a:pt x="4798" y="214"/>
                    </a:lnTo>
                    <a:lnTo>
                      <a:pt x="4722" y="247"/>
                    </a:lnTo>
                    <a:lnTo>
                      <a:pt x="4651" y="288"/>
                    </a:lnTo>
                    <a:lnTo>
                      <a:pt x="4585" y="336"/>
                    </a:lnTo>
                    <a:lnTo>
                      <a:pt x="4525" y="394"/>
                    </a:lnTo>
                    <a:lnTo>
                      <a:pt x="4471" y="460"/>
                    </a:lnTo>
                    <a:lnTo>
                      <a:pt x="4423" y="535"/>
                    </a:lnTo>
                    <a:lnTo>
                      <a:pt x="4380" y="618"/>
                    </a:lnTo>
                    <a:lnTo>
                      <a:pt x="4353" y="686"/>
                    </a:lnTo>
                    <a:lnTo>
                      <a:pt x="4338" y="757"/>
                    </a:lnTo>
                    <a:lnTo>
                      <a:pt x="4326" y="829"/>
                    </a:lnTo>
                    <a:lnTo>
                      <a:pt x="4318" y="902"/>
                    </a:lnTo>
                    <a:lnTo>
                      <a:pt x="4311" y="1004"/>
                    </a:lnTo>
                    <a:lnTo>
                      <a:pt x="4305" y="1107"/>
                    </a:lnTo>
                    <a:lnTo>
                      <a:pt x="4295" y="1209"/>
                    </a:lnTo>
                    <a:lnTo>
                      <a:pt x="4278" y="1312"/>
                    </a:lnTo>
                    <a:lnTo>
                      <a:pt x="4253" y="1412"/>
                    </a:lnTo>
                    <a:lnTo>
                      <a:pt x="4208" y="1538"/>
                    </a:lnTo>
                    <a:lnTo>
                      <a:pt x="4158" y="1656"/>
                    </a:lnTo>
                    <a:lnTo>
                      <a:pt x="4100" y="1768"/>
                    </a:lnTo>
                    <a:lnTo>
                      <a:pt x="4034" y="1872"/>
                    </a:lnTo>
                    <a:lnTo>
                      <a:pt x="3963" y="1971"/>
                    </a:lnTo>
                    <a:lnTo>
                      <a:pt x="3885" y="2061"/>
                    </a:lnTo>
                    <a:lnTo>
                      <a:pt x="3800" y="2146"/>
                    </a:lnTo>
                    <a:lnTo>
                      <a:pt x="3708" y="2224"/>
                    </a:lnTo>
                    <a:lnTo>
                      <a:pt x="3609" y="2293"/>
                    </a:lnTo>
                    <a:lnTo>
                      <a:pt x="3503" y="2357"/>
                    </a:lnTo>
                    <a:lnTo>
                      <a:pt x="3391" y="2413"/>
                    </a:lnTo>
                    <a:lnTo>
                      <a:pt x="3271" y="2461"/>
                    </a:lnTo>
                    <a:lnTo>
                      <a:pt x="3145" y="2504"/>
                    </a:lnTo>
                    <a:lnTo>
                      <a:pt x="3029" y="2533"/>
                    </a:lnTo>
                    <a:lnTo>
                      <a:pt x="2911" y="2552"/>
                    </a:lnTo>
                    <a:lnTo>
                      <a:pt x="2791" y="2569"/>
                    </a:lnTo>
                    <a:lnTo>
                      <a:pt x="2671" y="2585"/>
                    </a:lnTo>
                    <a:lnTo>
                      <a:pt x="2525" y="2602"/>
                    </a:lnTo>
                    <a:lnTo>
                      <a:pt x="2378" y="2608"/>
                    </a:lnTo>
                    <a:lnTo>
                      <a:pt x="2231" y="2610"/>
                    </a:lnTo>
                    <a:lnTo>
                      <a:pt x="2084" y="2608"/>
                    </a:lnTo>
                    <a:lnTo>
                      <a:pt x="1937" y="2608"/>
                    </a:lnTo>
                    <a:lnTo>
                      <a:pt x="54" y="2608"/>
                    </a:lnTo>
                    <a:lnTo>
                      <a:pt x="0" y="2608"/>
                    </a:lnTo>
                    <a:lnTo>
                      <a:pt x="0" y="2608"/>
                    </a:lnTo>
                    <a:lnTo>
                      <a:pt x="33" y="2540"/>
                    </a:lnTo>
                    <a:lnTo>
                      <a:pt x="64" y="2477"/>
                    </a:lnTo>
                    <a:lnTo>
                      <a:pt x="75" y="2452"/>
                    </a:lnTo>
                    <a:lnTo>
                      <a:pt x="93" y="2436"/>
                    </a:lnTo>
                    <a:lnTo>
                      <a:pt x="114" y="2428"/>
                    </a:lnTo>
                    <a:lnTo>
                      <a:pt x="143" y="2426"/>
                    </a:lnTo>
                    <a:lnTo>
                      <a:pt x="621" y="2426"/>
                    </a:lnTo>
                    <a:lnTo>
                      <a:pt x="1098" y="2419"/>
                    </a:lnTo>
                    <a:lnTo>
                      <a:pt x="1284" y="2409"/>
                    </a:lnTo>
                    <a:lnTo>
                      <a:pt x="1469" y="2396"/>
                    </a:lnTo>
                    <a:lnTo>
                      <a:pt x="1655" y="2378"/>
                    </a:lnTo>
                    <a:lnTo>
                      <a:pt x="1753" y="2368"/>
                    </a:lnTo>
                    <a:lnTo>
                      <a:pt x="1850" y="2355"/>
                    </a:lnTo>
                    <a:lnTo>
                      <a:pt x="1947" y="2336"/>
                    </a:lnTo>
                    <a:lnTo>
                      <a:pt x="2043" y="2311"/>
                    </a:lnTo>
                    <a:lnTo>
                      <a:pt x="2155" y="2268"/>
                    </a:lnTo>
                    <a:lnTo>
                      <a:pt x="2264" y="2218"/>
                    </a:lnTo>
                    <a:lnTo>
                      <a:pt x="2362" y="2162"/>
                    </a:lnTo>
                    <a:lnTo>
                      <a:pt x="2455" y="2098"/>
                    </a:lnTo>
                    <a:lnTo>
                      <a:pt x="2540" y="2028"/>
                    </a:lnTo>
                    <a:lnTo>
                      <a:pt x="2617" y="1951"/>
                    </a:lnTo>
                    <a:lnTo>
                      <a:pt x="2687" y="1866"/>
                    </a:lnTo>
                    <a:lnTo>
                      <a:pt x="2751" y="1773"/>
                    </a:lnTo>
                    <a:lnTo>
                      <a:pt x="2807" y="1675"/>
                    </a:lnTo>
                    <a:lnTo>
                      <a:pt x="2855" y="1569"/>
                    </a:lnTo>
                    <a:lnTo>
                      <a:pt x="2896" y="1453"/>
                    </a:lnTo>
                    <a:lnTo>
                      <a:pt x="2983" y="1167"/>
                    </a:lnTo>
                    <a:lnTo>
                      <a:pt x="3064" y="881"/>
                    </a:lnTo>
                    <a:lnTo>
                      <a:pt x="3085" y="805"/>
                    </a:lnTo>
                    <a:lnTo>
                      <a:pt x="3108" y="732"/>
                    </a:lnTo>
                    <a:lnTo>
                      <a:pt x="3135" y="661"/>
                    </a:lnTo>
                    <a:lnTo>
                      <a:pt x="3170" y="591"/>
                    </a:lnTo>
                    <a:lnTo>
                      <a:pt x="3226" y="502"/>
                    </a:lnTo>
                    <a:lnTo>
                      <a:pt x="3290" y="423"/>
                    </a:lnTo>
                    <a:lnTo>
                      <a:pt x="3358" y="351"/>
                    </a:lnTo>
                    <a:lnTo>
                      <a:pt x="3431" y="288"/>
                    </a:lnTo>
                    <a:lnTo>
                      <a:pt x="3510" y="234"/>
                    </a:lnTo>
                    <a:lnTo>
                      <a:pt x="3595" y="187"/>
                    </a:lnTo>
                    <a:lnTo>
                      <a:pt x="3688" y="151"/>
                    </a:lnTo>
                    <a:lnTo>
                      <a:pt x="3785" y="122"/>
                    </a:lnTo>
                    <a:lnTo>
                      <a:pt x="3887" y="102"/>
                    </a:lnTo>
                    <a:lnTo>
                      <a:pt x="4003" y="91"/>
                    </a:lnTo>
                    <a:lnTo>
                      <a:pt x="4119" y="85"/>
                    </a:lnTo>
                    <a:lnTo>
                      <a:pt x="4235" y="79"/>
                    </a:lnTo>
                    <a:lnTo>
                      <a:pt x="4923" y="35"/>
                    </a:lnTo>
                    <a:lnTo>
                      <a:pt x="5498" y="0"/>
                    </a:lnTo>
                    <a:lnTo>
                      <a:pt x="5515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BE6F8E9-24BA-47B8-9CCD-E18AD0A4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" y="-1283"/>
                <a:ext cx="4960" cy="1437"/>
              </a:xfrm>
              <a:custGeom>
                <a:avLst/>
                <a:gdLst>
                  <a:gd name="T0" fmla="*/ 4896 w 4960"/>
                  <a:gd name="T1" fmla="*/ 0 h 1437"/>
                  <a:gd name="T2" fmla="*/ 4960 w 4960"/>
                  <a:gd name="T3" fmla="*/ 0 h 1437"/>
                  <a:gd name="T4" fmla="*/ 4935 w 4960"/>
                  <a:gd name="T5" fmla="*/ 46 h 1437"/>
                  <a:gd name="T6" fmla="*/ 4912 w 4960"/>
                  <a:gd name="T7" fmla="*/ 89 h 1437"/>
                  <a:gd name="T8" fmla="*/ 4892 w 4960"/>
                  <a:gd name="T9" fmla="*/ 131 h 1437"/>
                  <a:gd name="T10" fmla="*/ 4879 w 4960"/>
                  <a:gd name="T11" fmla="*/ 162 h 1437"/>
                  <a:gd name="T12" fmla="*/ 4860 w 4960"/>
                  <a:gd name="T13" fmla="*/ 181 h 1437"/>
                  <a:gd name="T14" fmla="*/ 4838 w 4960"/>
                  <a:gd name="T15" fmla="*/ 195 h 1437"/>
                  <a:gd name="T16" fmla="*/ 4809 w 4960"/>
                  <a:gd name="T17" fmla="*/ 201 h 1437"/>
                  <a:gd name="T18" fmla="*/ 4776 w 4960"/>
                  <a:gd name="T19" fmla="*/ 203 h 1437"/>
                  <a:gd name="T20" fmla="*/ 4287 w 4960"/>
                  <a:gd name="T21" fmla="*/ 201 h 1437"/>
                  <a:gd name="T22" fmla="*/ 3798 w 4960"/>
                  <a:gd name="T23" fmla="*/ 203 h 1437"/>
                  <a:gd name="T24" fmla="*/ 3590 w 4960"/>
                  <a:gd name="T25" fmla="*/ 207 h 1437"/>
                  <a:gd name="T26" fmla="*/ 3381 w 4960"/>
                  <a:gd name="T27" fmla="*/ 216 h 1437"/>
                  <a:gd name="T28" fmla="*/ 3172 w 4960"/>
                  <a:gd name="T29" fmla="*/ 234 h 1437"/>
                  <a:gd name="T30" fmla="*/ 2965 w 4960"/>
                  <a:gd name="T31" fmla="*/ 261 h 1437"/>
                  <a:gd name="T32" fmla="*/ 2826 w 4960"/>
                  <a:gd name="T33" fmla="*/ 284 h 1437"/>
                  <a:gd name="T34" fmla="*/ 2689 w 4960"/>
                  <a:gd name="T35" fmla="*/ 313 h 1437"/>
                  <a:gd name="T36" fmla="*/ 2554 w 4960"/>
                  <a:gd name="T37" fmla="*/ 350 h 1437"/>
                  <a:gd name="T38" fmla="*/ 2420 w 4960"/>
                  <a:gd name="T39" fmla="*/ 394 h 1437"/>
                  <a:gd name="T40" fmla="*/ 2289 w 4960"/>
                  <a:gd name="T41" fmla="*/ 446 h 1437"/>
                  <a:gd name="T42" fmla="*/ 2161 w 4960"/>
                  <a:gd name="T43" fmla="*/ 508 h 1437"/>
                  <a:gd name="T44" fmla="*/ 2047 w 4960"/>
                  <a:gd name="T45" fmla="*/ 576 h 1437"/>
                  <a:gd name="T46" fmla="*/ 1941 w 4960"/>
                  <a:gd name="T47" fmla="*/ 651 h 1437"/>
                  <a:gd name="T48" fmla="*/ 1840 w 4960"/>
                  <a:gd name="T49" fmla="*/ 734 h 1437"/>
                  <a:gd name="T50" fmla="*/ 1746 w 4960"/>
                  <a:gd name="T51" fmla="*/ 823 h 1437"/>
                  <a:gd name="T52" fmla="*/ 1660 w 4960"/>
                  <a:gd name="T53" fmla="*/ 921 h 1437"/>
                  <a:gd name="T54" fmla="*/ 1579 w 4960"/>
                  <a:gd name="T55" fmla="*/ 1026 h 1437"/>
                  <a:gd name="T56" fmla="*/ 1496 w 4960"/>
                  <a:gd name="T57" fmla="*/ 1151 h 1437"/>
                  <a:gd name="T58" fmla="*/ 1417 w 4960"/>
                  <a:gd name="T59" fmla="*/ 1281 h 1437"/>
                  <a:gd name="T60" fmla="*/ 1338 w 4960"/>
                  <a:gd name="T61" fmla="*/ 1410 h 1437"/>
                  <a:gd name="T62" fmla="*/ 1326 w 4960"/>
                  <a:gd name="T63" fmla="*/ 1426 h 1437"/>
                  <a:gd name="T64" fmla="*/ 1313 w 4960"/>
                  <a:gd name="T65" fmla="*/ 1433 h 1437"/>
                  <a:gd name="T66" fmla="*/ 1295 w 4960"/>
                  <a:gd name="T67" fmla="*/ 1437 h 1437"/>
                  <a:gd name="T68" fmla="*/ 37 w 4960"/>
                  <a:gd name="T69" fmla="*/ 1437 h 1437"/>
                  <a:gd name="T70" fmla="*/ 21 w 4960"/>
                  <a:gd name="T71" fmla="*/ 1435 h 1437"/>
                  <a:gd name="T72" fmla="*/ 0 w 4960"/>
                  <a:gd name="T73" fmla="*/ 1435 h 1437"/>
                  <a:gd name="T74" fmla="*/ 64 w 4960"/>
                  <a:gd name="T75" fmla="*/ 1310 h 1437"/>
                  <a:gd name="T76" fmla="*/ 126 w 4960"/>
                  <a:gd name="T77" fmla="*/ 1186 h 1437"/>
                  <a:gd name="T78" fmla="*/ 186 w 4960"/>
                  <a:gd name="T79" fmla="*/ 1061 h 1437"/>
                  <a:gd name="T80" fmla="*/ 247 w 4960"/>
                  <a:gd name="T81" fmla="*/ 937 h 1437"/>
                  <a:gd name="T82" fmla="*/ 315 w 4960"/>
                  <a:gd name="T83" fmla="*/ 817 h 1437"/>
                  <a:gd name="T84" fmla="*/ 389 w 4960"/>
                  <a:gd name="T85" fmla="*/ 701 h 1437"/>
                  <a:gd name="T86" fmla="*/ 458 w 4960"/>
                  <a:gd name="T87" fmla="*/ 607 h 1437"/>
                  <a:gd name="T88" fmla="*/ 533 w 4960"/>
                  <a:gd name="T89" fmla="*/ 520 h 1437"/>
                  <a:gd name="T90" fmla="*/ 615 w 4960"/>
                  <a:gd name="T91" fmla="*/ 440 h 1437"/>
                  <a:gd name="T92" fmla="*/ 700 w 4960"/>
                  <a:gd name="T93" fmla="*/ 367 h 1437"/>
                  <a:gd name="T94" fmla="*/ 791 w 4960"/>
                  <a:gd name="T95" fmla="*/ 301 h 1437"/>
                  <a:gd name="T96" fmla="*/ 887 w 4960"/>
                  <a:gd name="T97" fmla="*/ 243 h 1437"/>
                  <a:gd name="T98" fmla="*/ 990 w 4960"/>
                  <a:gd name="T99" fmla="*/ 191 h 1437"/>
                  <a:gd name="T100" fmla="*/ 1096 w 4960"/>
                  <a:gd name="T101" fmla="*/ 147 h 1437"/>
                  <a:gd name="T102" fmla="*/ 1206 w 4960"/>
                  <a:gd name="T103" fmla="*/ 108 h 1437"/>
                  <a:gd name="T104" fmla="*/ 1351 w 4960"/>
                  <a:gd name="T105" fmla="*/ 69 h 1437"/>
                  <a:gd name="T106" fmla="*/ 1496 w 4960"/>
                  <a:gd name="T107" fmla="*/ 40 h 1437"/>
                  <a:gd name="T108" fmla="*/ 1645 w 4960"/>
                  <a:gd name="T109" fmla="*/ 21 h 1437"/>
                  <a:gd name="T110" fmla="*/ 1794 w 4960"/>
                  <a:gd name="T111" fmla="*/ 10 h 1437"/>
                  <a:gd name="T112" fmla="*/ 1954 w 4960"/>
                  <a:gd name="T113" fmla="*/ 4 h 1437"/>
                  <a:gd name="T114" fmla="*/ 2117 w 4960"/>
                  <a:gd name="T115" fmla="*/ 2 h 1437"/>
                  <a:gd name="T116" fmla="*/ 4896 w 4960"/>
                  <a:gd name="T117" fmla="*/ 0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60" h="1437">
                    <a:moveTo>
                      <a:pt x="4896" y="0"/>
                    </a:moveTo>
                    <a:lnTo>
                      <a:pt x="4960" y="0"/>
                    </a:lnTo>
                    <a:lnTo>
                      <a:pt x="4935" y="46"/>
                    </a:lnTo>
                    <a:lnTo>
                      <a:pt x="4912" y="89"/>
                    </a:lnTo>
                    <a:lnTo>
                      <a:pt x="4892" y="131"/>
                    </a:lnTo>
                    <a:lnTo>
                      <a:pt x="4879" y="162"/>
                    </a:lnTo>
                    <a:lnTo>
                      <a:pt x="4860" y="181"/>
                    </a:lnTo>
                    <a:lnTo>
                      <a:pt x="4838" y="195"/>
                    </a:lnTo>
                    <a:lnTo>
                      <a:pt x="4809" y="201"/>
                    </a:lnTo>
                    <a:lnTo>
                      <a:pt x="4776" y="203"/>
                    </a:lnTo>
                    <a:lnTo>
                      <a:pt x="4287" y="201"/>
                    </a:lnTo>
                    <a:lnTo>
                      <a:pt x="3798" y="203"/>
                    </a:lnTo>
                    <a:lnTo>
                      <a:pt x="3590" y="207"/>
                    </a:lnTo>
                    <a:lnTo>
                      <a:pt x="3381" y="216"/>
                    </a:lnTo>
                    <a:lnTo>
                      <a:pt x="3172" y="234"/>
                    </a:lnTo>
                    <a:lnTo>
                      <a:pt x="2965" y="261"/>
                    </a:lnTo>
                    <a:lnTo>
                      <a:pt x="2826" y="284"/>
                    </a:lnTo>
                    <a:lnTo>
                      <a:pt x="2689" y="313"/>
                    </a:lnTo>
                    <a:lnTo>
                      <a:pt x="2554" y="350"/>
                    </a:lnTo>
                    <a:lnTo>
                      <a:pt x="2420" y="394"/>
                    </a:lnTo>
                    <a:lnTo>
                      <a:pt x="2289" y="446"/>
                    </a:lnTo>
                    <a:lnTo>
                      <a:pt x="2161" y="508"/>
                    </a:lnTo>
                    <a:lnTo>
                      <a:pt x="2047" y="576"/>
                    </a:lnTo>
                    <a:lnTo>
                      <a:pt x="1941" y="651"/>
                    </a:lnTo>
                    <a:lnTo>
                      <a:pt x="1840" y="734"/>
                    </a:lnTo>
                    <a:lnTo>
                      <a:pt x="1746" y="823"/>
                    </a:lnTo>
                    <a:lnTo>
                      <a:pt x="1660" y="921"/>
                    </a:lnTo>
                    <a:lnTo>
                      <a:pt x="1579" y="1026"/>
                    </a:lnTo>
                    <a:lnTo>
                      <a:pt x="1496" y="1151"/>
                    </a:lnTo>
                    <a:lnTo>
                      <a:pt x="1417" y="1281"/>
                    </a:lnTo>
                    <a:lnTo>
                      <a:pt x="1338" y="1410"/>
                    </a:lnTo>
                    <a:lnTo>
                      <a:pt x="1326" y="1426"/>
                    </a:lnTo>
                    <a:lnTo>
                      <a:pt x="1313" y="1433"/>
                    </a:lnTo>
                    <a:lnTo>
                      <a:pt x="1295" y="1437"/>
                    </a:lnTo>
                    <a:lnTo>
                      <a:pt x="37" y="1437"/>
                    </a:lnTo>
                    <a:lnTo>
                      <a:pt x="21" y="1435"/>
                    </a:lnTo>
                    <a:lnTo>
                      <a:pt x="0" y="1435"/>
                    </a:lnTo>
                    <a:lnTo>
                      <a:pt x="64" y="1310"/>
                    </a:lnTo>
                    <a:lnTo>
                      <a:pt x="126" y="1186"/>
                    </a:lnTo>
                    <a:lnTo>
                      <a:pt x="186" y="1061"/>
                    </a:lnTo>
                    <a:lnTo>
                      <a:pt x="247" y="937"/>
                    </a:lnTo>
                    <a:lnTo>
                      <a:pt x="315" y="817"/>
                    </a:lnTo>
                    <a:lnTo>
                      <a:pt x="389" y="701"/>
                    </a:lnTo>
                    <a:lnTo>
                      <a:pt x="458" y="607"/>
                    </a:lnTo>
                    <a:lnTo>
                      <a:pt x="533" y="520"/>
                    </a:lnTo>
                    <a:lnTo>
                      <a:pt x="615" y="440"/>
                    </a:lnTo>
                    <a:lnTo>
                      <a:pt x="700" y="367"/>
                    </a:lnTo>
                    <a:lnTo>
                      <a:pt x="791" y="301"/>
                    </a:lnTo>
                    <a:lnTo>
                      <a:pt x="887" y="243"/>
                    </a:lnTo>
                    <a:lnTo>
                      <a:pt x="990" y="191"/>
                    </a:lnTo>
                    <a:lnTo>
                      <a:pt x="1096" y="147"/>
                    </a:lnTo>
                    <a:lnTo>
                      <a:pt x="1206" y="108"/>
                    </a:lnTo>
                    <a:lnTo>
                      <a:pt x="1351" y="69"/>
                    </a:lnTo>
                    <a:lnTo>
                      <a:pt x="1496" y="40"/>
                    </a:lnTo>
                    <a:lnTo>
                      <a:pt x="1645" y="21"/>
                    </a:lnTo>
                    <a:lnTo>
                      <a:pt x="1794" y="10"/>
                    </a:lnTo>
                    <a:lnTo>
                      <a:pt x="1954" y="4"/>
                    </a:lnTo>
                    <a:lnTo>
                      <a:pt x="2117" y="2"/>
                    </a:lnTo>
                    <a:lnTo>
                      <a:pt x="4896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61144228-6360-4B55-95F5-F9B22AED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5" y="643"/>
                <a:ext cx="2316" cy="1988"/>
              </a:xfrm>
              <a:custGeom>
                <a:avLst/>
                <a:gdLst>
                  <a:gd name="T0" fmla="*/ 2297 w 2316"/>
                  <a:gd name="T1" fmla="*/ 0 h 1988"/>
                  <a:gd name="T2" fmla="*/ 2316 w 2316"/>
                  <a:gd name="T3" fmla="*/ 0 h 1988"/>
                  <a:gd name="T4" fmla="*/ 2250 w 2316"/>
                  <a:gd name="T5" fmla="*/ 124 h 1988"/>
                  <a:gd name="T6" fmla="*/ 2185 w 2316"/>
                  <a:gd name="T7" fmla="*/ 245 h 1988"/>
                  <a:gd name="T8" fmla="*/ 2038 w 2316"/>
                  <a:gd name="T9" fmla="*/ 510 h 1988"/>
                  <a:gd name="T10" fmla="*/ 1885 w 2316"/>
                  <a:gd name="T11" fmla="*/ 771 h 1988"/>
                  <a:gd name="T12" fmla="*/ 1726 w 2316"/>
                  <a:gd name="T13" fmla="*/ 1028 h 1988"/>
                  <a:gd name="T14" fmla="*/ 1560 w 2316"/>
                  <a:gd name="T15" fmla="*/ 1281 h 1988"/>
                  <a:gd name="T16" fmla="*/ 1496 w 2316"/>
                  <a:gd name="T17" fmla="*/ 1368 h 1988"/>
                  <a:gd name="T18" fmla="*/ 1431 w 2316"/>
                  <a:gd name="T19" fmla="*/ 1455 h 1988"/>
                  <a:gd name="T20" fmla="*/ 1361 w 2316"/>
                  <a:gd name="T21" fmla="*/ 1536 h 1988"/>
                  <a:gd name="T22" fmla="*/ 1286 w 2316"/>
                  <a:gd name="T23" fmla="*/ 1613 h 1988"/>
                  <a:gd name="T24" fmla="*/ 1205 w 2316"/>
                  <a:gd name="T25" fmla="*/ 1685 h 1988"/>
                  <a:gd name="T26" fmla="*/ 1118 w 2316"/>
                  <a:gd name="T27" fmla="*/ 1751 h 1988"/>
                  <a:gd name="T28" fmla="*/ 1036 w 2316"/>
                  <a:gd name="T29" fmla="*/ 1803 h 1988"/>
                  <a:gd name="T30" fmla="*/ 951 w 2316"/>
                  <a:gd name="T31" fmla="*/ 1847 h 1988"/>
                  <a:gd name="T32" fmla="*/ 864 w 2316"/>
                  <a:gd name="T33" fmla="*/ 1884 h 1988"/>
                  <a:gd name="T34" fmla="*/ 773 w 2316"/>
                  <a:gd name="T35" fmla="*/ 1913 h 1988"/>
                  <a:gd name="T36" fmla="*/ 683 w 2316"/>
                  <a:gd name="T37" fmla="*/ 1936 h 1988"/>
                  <a:gd name="T38" fmla="*/ 586 w 2316"/>
                  <a:gd name="T39" fmla="*/ 1953 h 1988"/>
                  <a:gd name="T40" fmla="*/ 449 w 2316"/>
                  <a:gd name="T41" fmla="*/ 1971 h 1988"/>
                  <a:gd name="T42" fmla="*/ 311 w 2316"/>
                  <a:gd name="T43" fmla="*/ 1980 h 1988"/>
                  <a:gd name="T44" fmla="*/ 172 w 2316"/>
                  <a:gd name="T45" fmla="*/ 1986 h 1988"/>
                  <a:gd name="T46" fmla="*/ 33 w 2316"/>
                  <a:gd name="T47" fmla="*/ 1988 h 1988"/>
                  <a:gd name="T48" fmla="*/ 18 w 2316"/>
                  <a:gd name="T49" fmla="*/ 1988 h 1988"/>
                  <a:gd name="T50" fmla="*/ 0 w 2316"/>
                  <a:gd name="T51" fmla="*/ 1988 h 1988"/>
                  <a:gd name="T52" fmla="*/ 8 w 2316"/>
                  <a:gd name="T53" fmla="*/ 1969 h 1988"/>
                  <a:gd name="T54" fmla="*/ 14 w 2316"/>
                  <a:gd name="T55" fmla="*/ 1955 h 1988"/>
                  <a:gd name="T56" fmla="*/ 916 w 2316"/>
                  <a:gd name="T57" fmla="*/ 168 h 1988"/>
                  <a:gd name="T58" fmla="*/ 928 w 2316"/>
                  <a:gd name="T59" fmla="*/ 149 h 1988"/>
                  <a:gd name="T60" fmla="*/ 945 w 2316"/>
                  <a:gd name="T61" fmla="*/ 137 h 1988"/>
                  <a:gd name="T62" fmla="*/ 967 w 2316"/>
                  <a:gd name="T63" fmla="*/ 133 h 1988"/>
                  <a:gd name="T64" fmla="*/ 1753 w 2316"/>
                  <a:gd name="T65" fmla="*/ 54 h 1988"/>
                  <a:gd name="T66" fmla="*/ 2281 w 2316"/>
                  <a:gd name="T67" fmla="*/ 0 h 1988"/>
                  <a:gd name="T68" fmla="*/ 2297 w 2316"/>
                  <a:gd name="T69" fmla="*/ 0 h 1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16" h="1988">
                    <a:moveTo>
                      <a:pt x="2297" y="0"/>
                    </a:moveTo>
                    <a:lnTo>
                      <a:pt x="2316" y="0"/>
                    </a:lnTo>
                    <a:lnTo>
                      <a:pt x="2250" y="124"/>
                    </a:lnTo>
                    <a:lnTo>
                      <a:pt x="2185" y="245"/>
                    </a:lnTo>
                    <a:lnTo>
                      <a:pt x="2038" y="510"/>
                    </a:lnTo>
                    <a:lnTo>
                      <a:pt x="1885" y="771"/>
                    </a:lnTo>
                    <a:lnTo>
                      <a:pt x="1726" y="1028"/>
                    </a:lnTo>
                    <a:lnTo>
                      <a:pt x="1560" y="1281"/>
                    </a:lnTo>
                    <a:lnTo>
                      <a:pt x="1496" y="1368"/>
                    </a:lnTo>
                    <a:lnTo>
                      <a:pt x="1431" y="1455"/>
                    </a:lnTo>
                    <a:lnTo>
                      <a:pt x="1361" y="1536"/>
                    </a:lnTo>
                    <a:lnTo>
                      <a:pt x="1286" y="1613"/>
                    </a:lnTo>
                    <a:lnTo>
                      <a:pt x="1205" y="1685"/>
                    </a:lnTo>
                    <a:lnTo>
                      <a:pt x="1118" y="1751"/>
                    </a:lnTo>
                    <a:lnTo>
                      <a:pt x="1036" y="1803"/>
                    </a:lnTo>
                    <a:lnTo>
                      <a:pt x="951" y="1847"/>
                    </a:lnTo>
                    <a:lnTo>
                      <a:pt x="864" y="1884"/>
                    </a:lnTo>
                    <a:lnTo>
                      <a:pt x="773" y="1913"/>
                    </a:lnTo>
                    <a:lnTo>
                      <a:pt x="683" y="1936"/>
                    </a:lnTo>
                    <a:lnTo>
                      <a:pt x="586" y="1953"/>
                    </a:lnTo>
                    <a:lnTo>
                      <a:pt x="449" y="1971"/>
                    </a:lnTo>
                    <a:lnTo>
                      <a:pt x="311" y="1980"/>
                    </a:lnTo>
                    <a:lnTo>
                      <a:pt x="172" y="1986"/>
                    </a:lnTo>
                    <a:lnTo>
                      <a:pt x="33" y="1988"/>
                    </a:lnTo>
                    <a:lnTo>
                      <a:pt x="18" y="1988"/>
                    </a:lnTo>
                    <a:lnTo>
                      <a:pt x="0" y="1988"/>
                    </a:lnTo>
                    <a:lnTo>
                      <a:pt x="8" y="1969"/>
                    </a:lnTo>
                    <a:lnTo>
                      <a:pt x="14" y="1955"/>
                    </a:lnTo>
                    <a:lnTo>
                      <a:pt x="916" y="168"/>
                    </a:lnTo>
                    <a:lnTo>
                      <a:pt x="928" y="149"/>
                    </a:lnTo>
                    <a:lnTo>
                      <a:pt x="945" y="137"/>
                    </a:lnTo>
                    <a:lnTo>
                      <a:pt x="967" y="133"/>
                    </a:lnTo>
                    <a:lnTo>
                      <a:pt x="1753" y="54"/>
                    </a:lnTo>
                    <a:lnTo>
                      <a:pt x="2281" y="0"/>
                    </a:lnTo>
                    <a:lnTo>
                      <a:pt x="2297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88DFCB77-4787-41C9-BEEE-C96E24C9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" y="-875"/>
                <a:ext cx="2472" cy="1029"/>
              </a:xfrm>
              <a:custGeom>
                <a:avLst/>
                <a:gdLst>
                  <a:gd name="T0" fmla="*/ 2451 w 2472"/>
                  <a:gd name="T1" fmla="*/ 0 h 1029"/>
                  <a:gd name="T2" fmla="*/ 2472 w 2472"/>
                  <a:gd name="T3" fmla="*/ 0 h 1029"/>
                  <a:gd name="T4" fmla="*/ 2426 w 2472"/>
                  <a:gd name="T5" fmla="*/ 94 h 1029"/>
                  <a:gd name="T6" fmla="*/ 2379 w 2472"/>
                  <a:gd name="T7" fmla="*/ 185 h 1029"/>
                  <a:gd name="T8" fmla="*/ 1977 w 2472"/>
                  <a:gd name="T9" fmla="*/ 1004 h 1029"/>
                  <a:gd name="T10" fmla="*/ 1967 w 2472"/>
                  <a:gd name="T11" fmla="*/ 1018 h 1029"/>
                  <a:gd name="T12" fmla="*/ 1956 w 2472"/>
                  <a:gd name="T13" fmla="*/ 1027 h 1029"/>
                  <a:gd name="T14" fmla="*/ 1937 w 2472"/>
                  <a:gd name="T15" fmla="*/ 1029 h 1029"/>
                  <a:gd name="T16" fmla="*/ 23 w 2472"/>
                  <a:gd name="T17" fmla="*/ 1029 h 1029"/>
                  <a:gd name="T18" fmla="*/ 17 w 2472"/>
                  <a:gd name="T19" fmla="*/ 1027 h 1029"/>
                  <a:gd name="T20" fmla="*/ 9 w 2472"/>
                  <a:gd name="T21" fmla="*/ 1027 h 1029"/>
                  <a:gd name="T22" fmla="*/ 0 w 2472"/>
                  <a:gd name="T23" fmla="*/ 1027 h 1029"/>
                  <a:gd name="T24" fmla="*/ 48 w 2472"/>
                  <a:gd name="T25" fmla="*/ 938 h 1029"/>
                  <a:gd name="T26" fmla="*/ 100 w 2472"/>
                  <a:gd name="T27" fmla="*/ 852 h 1029"/>
                  <a:gd name="T28" fmla="*/ 152 w 2472"/>
                  <a:gd name="T29" fmla="*/ 767 h 1029"/>
                  <a:gd name="T30" fmla="*/ 210 w 2472"/>
                  <a:gd name="T31" fmla="*/ 683 h 1029"/>
                  <a:gd name="T32" fmla="*/ 270 w 2472"/>
                  <a:gd name="T33" fmla="*/ 606 h 1029"/>
                  <a:gd name="T34" fmla="*/ 334 w 2472"/>
                  <a:gd name="T35" fmla="*/ 531 h 1029"/>
                  <a:gd name="T36" fmla="*/ 404 w 2472"/>
                  <a:gd name="T37" fmla="*/ 461 h 1029"/>
                  <a:gd name="T38" fmla="*/ 479 w 2472"/>
                  <a:gd name="T39" fmla="*/ 396 h 1029"/>
                  <a:gd name="T40" fmla="*/ 560 w 2472"/>
                  <a:gd name="T41" fmla="*/ 336 h 1029"/>
                  <a:gd name="T42" fmla="*/ 647 w 2472"/>
                  <a:gd name="T43" fmla="*/ 284 h 1029"/>
                  <a:gd name="T44" fmla="*/ 744 w 2472"/>
                  <a:gd name="T45" fmla="*/ 235 h 1029"/>
                  <a:gd name="T46" fmla="*/ 842 w 2472"/>
                  <a:gd name="T47" fmla="*/ 195 h 1029"/>
                  <a:gd name="T48" fmla="*/ 941 w 2472"/>
                  <a:gd name="T49" fmla="*/ 162 h 1029"/>
                  <a:gd name="T50" fmla="*/ 1043 w 2472"/>
                  <a:gd name="T51" fmla="*/ 133 h 1029"/>
                  <a:gd name="T52" fmla="*/ 1148 w 2472"/>
                  <a:gd name="T53" fmla="*/ 108 h 1029"/>
                  <a:gd name="T54" fmla="*/ 1320 w 2472"/>
                  <a:gd name="T55" fmla="*/ 75 h 1029"/>
                  <a:gd name="T56" fmla="*/ 1492 w 2472"/>
                  <a:gd name="T57" fmla="*/ 50 h 1029"/>
                  <a:gd name="T58" fmla="*/ 1666 w 2472"/>
                  <a:gd name="T59" fmla="*/ 32 h 1029"/>
                  <a:gd name="T60" fmla="*/ 1842 w 2472"/>
                  <a:gd name="T61" fmla="*/ 21 h 1029"/>
                  <a:gd name="T62" fmla="*/ 2138 w 2472"/>
                  <a:gd name="T63" fmla="*/ 9 h 1029"/>
                  <a:gd name="T64" fmla="*/ 2433 w 2472"/>
                  <a:gd name="T65" fmla="*/ 0 h 1029"/>
                  <a:gd name="T66" fmla="*/ 2451 w 2472"/>
                  <a:gd name="T67" fmla="*/ 0 h 10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72" h="1029">
                    <a:moveTo>
                      <a:pt x="2451" y="0"/>
                    </a:moveTo>
                    <a:lnTo>
                      <a:pt x="2472" y="0"/>
                    </a:lnTo>
                    <a:lnTo>
                      <a:pt x="2426" y="94"/>
                    </a:lnTo>
                    <a:lnTo>
                      <a:pt x="2379" y="185"/>
                    </a:lnTo>
                    <a:lnTo>
                      <a:pt x="1977" y="1004"/>
                    </a:lnTo>
                    <a:lnTo>
                      <a:pt x="1967" y="1018"/>
                    </a:lnTo>
                    <a:lnTo>
                      <a:pt x="1956" y="1027"/>
                    </a:lnTo>
                    <a:lnTo>
                      <a:pt x="1937" y="1029"/>
                    </a:lnTo>
                    <a:lnTo>
                      <a:pt x="23" y="1029"/>
                    </a:lnTo>
                    <a:lnTo>
                      <a:pt x="17" y="1027"/>
                    </a:lnTo>
                    <a:lnTo>
                      <a:pt x="9" y="1027"/>
                    </a:lnTo>
                    <a:lnTo>
                      <a:pt x="0" y="1027"/>
                    </a:lnTo>
                    <a:lnTo>
                      <a:pt x="48" y="938"/>
                    </a:lnTo>
                    <a:lnTo>
                      <a:pt x="100" y="852"/>
                    </a:lnTo>
                    <a:lnTo>
                      <a:pt x="152" y="767"/>
                    </a:lnTo>
                    <a:lnTo>
                      <a:pt x="210" y="683"/>
                    </a:lnTo>
                    <a:lnTo>
                      <a:pt x="270" y="606"/>
                    </a:lnTo>
                    <a:lnTo>
                      <a:pt x="334" y="531"/>
                    </a:lnTo>
                    <a:lnTo>
                      <a:pt x="404" y="461"/>
                    </a:lnTo>
                    <a:lnTo>
                      <a:pt x="479" y="396"/>
                    </a:lnTo>
                    <a:lnTo>
                      <a:pt x="560" y="336"/>
                    </a:lnTo>
                    <a:lnTo>
                      <a:pt x="647" y="284"/>
                    </a:lnTo>
                    <a:lnTo>
                      <a:pt x="744" y="235"/>
                    </a:lnTo>
                    <a:lnTo>
                      <a:pt x="842" y="195"/>
                    </a:lnTo>
                    <a:lnTo>
                      <a:pt x="941" y="162"/>
                    </a:lnTo>
                    <a:lnTo>
                      <a:pt x="1043" y="133"/>
                    </a:lnTo>
                    <a:lnTo>
                      <a:pt x="1148" y="108"/>
                    </a:lnTo>
                    <a:lnTo>
                      <a:pt x="1320" y="75"/>
                    </a:lnTo>
                    <a:lnTo>
                      <a:pt x="1492" y="50"/>
                    </a:lnTo>
                    <a:lnTo>
                      <a:pt x="1666" y="32"/>
                    </a:lnTo>
                    <a:lnTo>
                      <a:pt x="1842" y="21"/>
                    </a:lnTo>
                    <a:lnTo>
                      <a:pt x="2138" y="9"/>
                    </a:lnTo>
                    <a:lnTo>
                      <a:pt x="2433" y="0"/>
                    </a:lnTo>
                    <a:lnTo>
                      <a:pt x="2451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</p:grpSp>
      </p:grpSp>
      <p:sp>
        <p:nvSpPr>
          <p:cNvPr id="17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197E883-74D9-DD49-9664-52FC49ABA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520825"/>
            <a:ext cx="11176000" cy="42846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>
              <a:solidFill>
                <a:schemeClr val="tx2"/>
              </a:solidFill>
            </a:endParaRPr>
          </a:p>
        </p:txBody>
      </p:sp>
      <p:sp>
        <p:nvSpPr>
          <p:cNvPr id="3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</a:p>
        </p:txBody>
      </p:sp>
      <p:sp>
        <p:nvSpPr>
          <p:cNvPr id="3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/>
              <a:t>Titolo presentazione   I   Nome relatore</a:t>
            </a:r>
          </a:p>
        </p:txBody>
      </p:sp>
      <p:pic>
        <p:nvPicPr>
          <p:cNvPr id="41" name="Immagine 4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5861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SSO1_COPY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0"/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8170" y="0"/>
            <a:ext cx="472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6074" y="90427"/>
            <a:ext cx="346160" cy="234428"/>
            <a:chOff x="-560" y="-1287"/>
            <a:chExt cx="6379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>
              <a:solidFill>
                <a:schemeClr val="tx2"/>
              </a:solidFill>
            </a:endParaRP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0"/>
            <a:ext cx="11176000" cy="490378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  <p:sp>
        <p:nvSpPr>
          <p:cNvPr id="1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</a:p>
        </p:txBody>
      </p:sp>
      <p:sp>
        <p:nvSpPr>
          <p:cNvPr id="1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/>
              <a:t>Titolo presentazione   I   Nome relatore</a:t>
            </a:r>
          </a:p>
        </p:txBody>
      </p:sp>
      <p:pic>
        <p:nvPicPr>
          <p:cNvPr id="31" name="Immagine 30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46120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426864456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09601" y="1282706"/>
            <a:ext cx="10972800" cy="4525963"/>
          </a:xfrm>
          <a:prstGeom prst="rect">
            <a:avLst/>
          </a:prstGeom>
        </p:spPr>
        <p:txBody>
          <a:bodyPr lIns="121856" tIns="60927" rIns="121856" bIns="60927"/>
          <a:lstStyle>
            <a:lvl1pPr>
              <a:buClr>
                <a:srgbClr val="FF6E00"/>
              </a:buClr>
              <a:buFont typeface="Wingdings" pitchFamily="2" charset="2"/>
              <a:buChar char="q"/>
              <a:defRPr sz="3200">
                <a:solidFill>
                  <a:srgbClr val="333333"/>
                </a:solidFill>
              </a:defRPr>
            </a:lvl1pPr>
            <a:lvl2pPr>
              <a:buClr>
                <a:srgbClr val="FF6E00"/>
              </a:buClr>
              <a:buFont typeface="Wingdings" pitchFamily="2" charset="2"/>
              <a:buChar char="ü"/>
              <a:defRPr sz="3200">
                <a:solidFill>
                  <a:srgbClr val="333333"/>
                </a:solidFill>
              </a:defRPr>
            </a:lvl2pPr>
            <a:lvl3pPr>
              <a:buClr>
                <a:srgbClr val="FF6E00"/>
              </a:buClr>
              <a:buFont typeface="Courier New" pitchFamily="49" charset="0"/>
              <a:buChar char="­"/>
              <a:defRPr sz="2600">
                <a:solidFill>
                  <a:srgbClr val="333333"/>
                </a:solidFill>
                <a:latin typeface="+mn-lt"/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609601" y="274647"/>
            <a:ext cx="10972800" cy="601662"/>
          </a:xfrm>
          <a:prstGeom prst="rect">
            <a:avLst/>
          </a:prstGeom>
        </p:spPr>
        <p:txBody>
          <a:bodyPr lIns="121856" tIns="60927" rIns="121856" bIns="60927"/>
          <a:lstStyle>
            <a:lvl1pPr algn="l" rtl="0" fontAlgn="base">
              <a:spcBef>
                <a:spcPct val="0"/>
              </a:spcBef>
              <a:spcAft>
                <a:spcPct val="0"/>
              </a:spcAft>
              <a:defRPr lang="it-IT" sz="4000" b="1" kern="1200" dirty="0">
                <a:solidFill>
                  <a:srgbClr val="333333"/>
                </a:solidFill>
                <a:effectLst/>
                <a:latin typeface="Arial" charset="0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25235533"/>
      </p:ext>
    </p:extLst>
  </p:cSld>
  <p:clrMapOvr>
    <a:masterClrMapping/>
  </p:clrMapOvr>
  <p:transition spd="slow">
    <p:randomBar dir="vert"/>
  </p:transition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577975"/>
            <a:ext cx="11176621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20816619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Bullet Point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5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577975"/>
            <a:ext cx="11176620" cy="422751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7856509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200150"/>
            <a:ext cx="11176621" cy="4605339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3803435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Sott.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25495164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4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8302117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olo Sott. e contenuto testo Bullet Point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03703"/>
          </a:xfrm>
          <a:prstGeom prst="rect">
            <a:avLst/>
          </a:prstGeom>
        </p:spPr>
        <p:txBody>
          <a:bodyPr/>
          <a:lstStyle>
            <a:lvl1pPr marL="182563" indent="-18256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800"/>
            </a:lvl1pPr>
            <a:lvl2pPr marL="628650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2pPr>
            <a:lvl3pPr marL="1076325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3pPr>
            <a:lvl4pPr marL="1524000" indent="-180975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4pPr>
            <a:lvl5pPr marL="1971675" indent="-176213"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1033066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7337"/>
            <a:ext cx="3263063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60800" y="1552575"/>
            <a:ext cx="7723188" cy="4252913"/>
          </a:xfrm>
          <a:prstGeom prst="rect">
            <a:avLst/>
          </a:prstGeom>
        </p:spPr>
        <p:txBody>
          <a:bodyPr/>
          <a:lstStyle/>
          <a:p>
            <a:endParaRPr lang="it-IT"/>
          </a:p>
        </p:txBody>
      </p:sp>
      <p:sp>
        <p:nvSpPr>
          <p:cNvPr id="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9297396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olo sott. e con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quarter" idx="14"/>
          </p:nvPr>
        </p:nvSpPr>
        <p:spPr>
          <a:xfrm>
            <a:off x="407988" y="1521699"/>
            <a:ext cx="5688012" cy="4283789"/>
          </a:xfrm>
        </p:spPr>
        <p:txBody>
          <a:bodyPr/>
          <a:lstStyle/>
          <a:p>
            <a:pPr lvl="0"/>
            <a:endParaRPr lang="it-IT"/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5" hasCustomPrompt="1"/>
          </p:nvPr>
        </p:nvSpPr>
        <p:spPr>
          <a:xfrm>
            <a:off x="6553200" y="16233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18" name="Segnaposto testo 16"/>
          <p:cNvSpPr>
            <a:spLocks noGrp="1"/>
          </p:cNvSpPr>
          <p:nvPr>
            <p:ph type="body" sz="quarter" idx="16" hasCustomPrompt="1"/>
          </p:nvPr>
        </p:nvSpPr>
        <p:spPr>
          <a:xfrm>
            <a:off x="6553200" y="19034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1" name="Segnaposto testo 16"/>
          <p:cNvSpPr>
            <a:spLocks noGrp="1"/>
          </p:cNvSpPr>
          <p:nvPr>
            <p:ph type="body" sz="quarter" idx="17" hasCustomPrompt="1"/>
          </p:nvPr>
        </p:nvSpPr>
        <p:spPr>
          <a:xfrm>
            <a:off x="6553200" y="26520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2" name="Segnaposto testo 16"/>
          <p:cNvSpPr>
            <a:spLocks noGrp="1"/>
          </p:cNvSpPr>
          <p:nvPr>
            <p:ph type="body" sz="quarter" idx="18" hasCustomPrompt="1"/>
          </p:nvPr>
        </p:nvSpPr>
        <p:spPr>
          <a:xfrm>
            <a:off x="6553200" y="29321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3" name="Segnaposto testo 16"/>
          <p:cNvSpPr>
            <a:spLocks noGrp="1"/>
          </p:cNvSpPr>
          <p:nvPr>
            <p:ph type="body" sz="quarter" idx="19" hasCustomPrompt="1"/>
          </p:nvPr>
        </p:nvSpPr>
        <p:spPr>
          <a:xfrm>
            <a:off x="6553200" y="36807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4" name="Segnaposto testo 16"/>
          <p:cNvSpPr>
            <a:spLocks noGrp="1"/>
          </p:cNvSpPr>
          <p:nvPr>
            <p:ph type="body" sz="quarter" idx="20" hasCustomPrompt="1"/>
          </p:nvPr>
        </p:nvSpPr>
        <p:spPr>
          <a:xfrm>
            <a:off x="6553200" y="39608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25" name="Segnaposto testo 16"/>
          <p:cNvSpPr>
            <a:spLocks noGrp="1"/>
          </p:cNvSpPr>
          <p:nvPr>
            <p:ph type="body" sz="quarter" idx="21" hasCustomPrompt="1"/>
          </p:nvPr>
        </p:nvSpPr>
        <p:spPr>
          <a:xfrm>
            <a:off x="6553200" y="4709400"/>
            <a:ext cx="5030788" cy="267414"/>
          </a:xfrm>
        </p:spPr>
        <p:txBody>
          <a:bodyPr/>
          <a:lstStyle>
            <a:lvl1pPr>
              <a:defRPr sz="1600" b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del testo 16pt rosso</a:t>
            </a:r>
          </a:p>
        </p:txBody>
      </p:sp>
      <p:sp>
        <p:nvSpPr>
          <p:cNvPr id="26" name="Segnaposto testo 16"/>
          <p:cNvSpPr>
            <a:spLocks noGrp="1"/>
          </p:cNvSpPr>
          <p:nvPr>
            <p:ph type="body" sz="quarter" idx="22" hasCustomPrompt="1"/>
          </p:nvPr>
        </p:nvSpPr>
        <p:spPr>
          <a:xfrm>
            <a:off x="6553200" y="4989514"/>
            <a:ext cx="5030788" cy="598486"/>
          </a:xfrm>
        </p:spPr>
        <p:txBody>
          <a:bodyPr/>
          <a:lstStyle>
            <a:lvl1pPr>
              <a:defRPr sz="1400" b="0" baseline="0"/>
            </a:lvl1pPr>
          </a:lstStyle>
          <a:p>
            <a:pPr lvl="0"/>
            <a:r>
              <a:rPr lang="it-IT"/>
              <a:t>Titolo del testo 14pt nero</a:t>
            </a:r>
          </a:p>
        </p:txBody>
      </p:sp>
      <p:sp>
        <p:nvSpPr>
          <p:cNvPr id="14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5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18422368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ULL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95465588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olo Sott. e contenuto testo 18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2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8" y="1601785"/>
            <a:ext cx="11176620" cy="428466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18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6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4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2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100"/>
            </a:lvl5pPr>
          </a:lstStyle>
          <a:p>
            <a:pPr lvl="0"/>
            <a:r>
              <a:rPr lang="it-IT"/>
              <a:t>Testo Calibri 18pt</a:t>
            </a:r>
          </a:p>
          <a:p>
            <a:pPr lvl="1"/>
            <a:r>
              <a:rPr lang="it-IT"/>
              <a:t>Secondo livello 16pt</a:t>
            </a:r>
          </a:p>
          <a:p>
            <a:pPr lvl="2"/>
            <a:r>
              <a:rPr lang="it-IT"/>
              <a:t>Terzo livello 14pt</a:t>
            </a:r>
          </a:p>
          <a:p>
            <a:pPr lvl="3"/>
            <a:r>
              <a:rPr lang="it-IT"/>
              <a:t>Quarto livello 12pt</a:t>
            </a:r>
          </a:p>
          <a:p>
            <a:pPr lvl="4"/>
            <a:r>
              <a:rPr lang="it-IT"/>
              <a:t>Quinto livello 11pt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1038685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FULL Immagin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immagine 2">
            <a:extLst>
              <a:ext uri="{FF2B5EF4-FFF2-40B4-BE49-F238E27FC236}">
                <a16:creationId xmlns:a16="http://schemas.microsoft.com/office/drawing/2014/main" id="{3659AF68-753C-5E40-9289-006DB5C1620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1715750" cy="6858000"/>
          </a:xfrm>
          <a:prstGeom prst="rect">
            <a:avLst/>
          </a:prstGeom>
          <a:solidFill>
            <a:schemeClr val="bg1"/>
          </a:solidFill>
        </p:spPr>
        <p:txBody>
          <a:bodyPr/>
          <a:lstStyle/>
          <a:p>
            <a:endParaRPr lang="it-IT"/>
          </a:p>
        </p:txBody>
      </p:sp>
      <p:sp>
        <p:nvSpPr>
          <p:cNvPr id="5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1"/>
            <a:ext cx="11176000" cy="203199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</p:spTree>
    <p:extLst>
      <p:ext uri="{BB962C8B-B14F-4D97-AF65-F5344CB8AC3E}">
        <p14:creationId xmlns:p14="http://schemas.microsoft.com/office/powerpoint/2010/main" val="403292996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olo sott. con immag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54956"/>
            <a:ext cx="11176620" cy="425291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multimediale</a:t>
            </a:r>
          </a:p>
        </p:txBody>
      </p:sp>
      <p:sp>
        <p:nvSpPr>
          <p:cNvPr id="1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0pt</a:t>
            </a:r>
          </a:p>
        </p:txBody>
      </p:sp>
      <p:sp>
        <p:nvSpPr>
          <p:cNvPr id="14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7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8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78762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50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olo Sottotitolo pt22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560352"/>
            <a:ext cx="11176620" cy="4245137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1800" smtClean="0">
                <a:solidFill>
                  <a:schemeClr val="tx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Contenu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75036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>
              <a:spcBef>
                <a:spcPts val="1200"/>
              </a:spcBef>
              <a:defRPr lang="it-IT" sz="22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11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5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6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93894230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270230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94399610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89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955800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1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3429000"/>
            <a:ext cx="3623869" cy="567011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996011"/>
            <a:ext cx="3623869" cy="886988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357420815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olo 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368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1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4" hasCustomPrompt="1"/>
          </p:nvPr>
        </p:nvSpPr>
        <p:spPr>
          <a:xfrm>
            <a:off x="4183743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4183743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1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7960119" y="138879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2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960119" y="178911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13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sp>
        <p:nvSpPr>
          <p:cNvPr id="2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407368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07368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2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183743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2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4183743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3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7960119" y="2786060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4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960119" y="3186383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5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407368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6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407368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7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4183743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38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183743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  <p:sp>
        <p:nvSpPr>
          <p:cNvPr id="3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960119" y="4178599"/>
            <a:ext cx="3623869" cy="400324"/>
          </a:xfrm>
          <a:prstGeom prst="rect">
            <a:avLst/>
          </a:prstGeom>
          <a:solidFill>
            <a:schemeClr val="tx2"/>
          </a:solidFill>
        </p:spPr>
        <p:txBody>
          <a:bodyPr vert="horz" lIns="144000" tIns="144000" rIns="144000" bIns="45720" rtlCol="0" anchor="ctr" anchorCtr="0">
            <a:normAutofit/>
          </a:bodyPr>
          <a:lstStyle>
            <a:lvl1pPr>
              <a:spcBef>
                <a:spcPts val="1200"/>
              </a:spcBef>
              <a:defRPr lang="it-IT" sz="18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8pt</a:t>
            </a:r>
          </a:p>
        </p:txBody>
      </p:sp>
      <p:sp>
        <p:nvSpPr>
          <p:cNvPr id="4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7960119" y="4578922"/>
            <a:ext cx="3623869" cy="771207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vert="horz" lIns="144000" tIns="144000" rIns="144000" bIns="45720" rtlCol="0">
            <a:normAutofit/>
          </a:bodyPr>
          <a:lstStyle>
            <a:lvl1pPr>
              <a:spcBef>
                <a:spcPts val="1200"/>
              </a:spcBef>
              <a:defRPr lang="it-IT" sz="1600" b="0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Testo Calibri 16pt</a:t>
            </a:r>
          </a:p>
        </p:txBody>
      </p:sp>
    </p:spTree>
    <p:extLst>
      <p:ext uri="{BB962C8B-B14F-4D97-AF65-F5344CB8AC3E}">
        <p14:creationId xmlns:p14="http://schemas.microsoft.com/office/powerpoint/2010/main" val="223311869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3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313997960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SSO1_Titolo Sotto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o 3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2" name="Rettangolo 1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sp>
          <p:nvSpPr>
            <p:cNvPr id="22" name="Rettangolo 21">
              <a:extLst>
                <a:ext uri="{FF2B5EF4-FFF2-40B4-BE49-F238E27FC236}">
                  <a16:creationId xmlns:a16="http://schemas.microsoft.com/office/drawing/2014/main" id="{7466584B-8BD1-48B2-BD0C-DC7DD5380BEF}"/>
                </a:ext>
              </a:extLst>
            </p:cNvPr>
            <p:cNvSpPr/>
            <p:nvPr userDrawn="1"/>
          </p:nvSpPr>
          <p:spPr>
            <a:xfrm>
              <a:off x="11718170" y="0"/>
              <a:ext cx="472888" cy="6858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/>
            </a:p>
          </p:txBody>
        </p:sp>
        <p:grpSp>
          <p:nvGrpSpPr>
            <p:cNvPr id="23" name="Group 4">
              <a:extLst>
                <a:ext uri="{FF2B5EF4-FFF2-40B4-BE49-F238E27FC236}">
                  <a16:creationId xmlns:a16="http://schemas.microsoft.com/office/drawing/2014/main" id="{E93527B5-7425-47AC-89C0-2B32AE601683}"/>
                </a:ext>
              </a:extLst>
            </p:cNvPr>
            <p:cNvGrpSpPr>
              <a:grpSpLocks noChangeAspect="1"/>
            </p:cNvGrpSpPr>
            <p:nvPr userDrawn="1"/>
          </p:nvGrpSpPr>
          <p:grpSpPr bwMode="auto">
            <a:xfrm>
              <a:off x="11786074" y="90427"/>
              <a:ext cx="346160" cy="234428"/>
              <a:chOff x="-560" y="-1287"/>
              <a:chExt cx="6379" cy="4320"/>
            </a:xfrm>
          </p:grpSpPr>
          <p:sp>
            <p:nvSpPr>
              <p:cNvPr id="24" name="AutoShape 3">
                <a:extLst>
                  <a:ext uri="{FF2B5EF4-FFF2-40B4-BE49-F238E27FC236}">
                    <a16:creationId xmlns:a16="http://schemas.microsoft.com/office/drawing/2014/main" id="{85DBAE22-A53B-46F6-A1C2-9F9E40807B3C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5" name="Rectangle 5">
                <a:extLst>
                  <a:ext uri="{FF2B5EF4-FFF2-40B4-BE49-F238E27FC236}">
                    <a16:creationId xmlns:a16="http://schemas.microsoft.com/office/drawing/2014/main" id="{B355A452-2788-4C68-9C15-CC51FD59A88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560" y="-1287"/>
                <a:ext cx="6379" cy="4320"/>
              </a:xfrm>
              <a:prstGeom prst="rect">
                <a:avLst/>
              </a:prstGeom>
              <a:noFill/>
              <a:ln w="0">
                <a:noFill/>
                <a:prstDash val="solid"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B83AE660-1A7F-4C22-9AF1-535B2E94ED4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560" y="423"/>
                <a:ext cx="5536" cy="2610"/>
              </a:xfrm>
              <a:custGeom>
                <a:avLst/>
                <a:gdLst>
                  <a:gd name="T0" fmla="*/ 5536 w 5536"/>
                  <a:gd name="T1" fmla="*/ 0 h 2610"/>
                  <a:gd name="T2" fmla="*/ 5470 w 5536"/>
                  <a:gd name="T3" fmla="*/ 127 h 2610"/>
                  <a:gd name="T4" fmla="*/ 5449 w 5536"/>
                  <a:gd name="T5" fmla="*/ 139 h 2610"/>
                  <a:gd name="T6" fmla="*/ 5061 w 5536"/>
                  <a:gd name="T7" fmla="*/ 164 h 2610"/>
                  <a:gd name="T8" fmla="*/ 4881 w 5536"/>
                  <a:gd name="T9" fmla="*/ 189 h 2610"/>
                  <a:gd name="T10" fmla="*/ 4722 w 5536"/>
                  <a:gd name="T11" fmla="*/ 247 h 2610"/>
                  <a:gd name="T12" fmla="*/ 4585 w 5536"/>
                  <a:gd name="T13" fmla="*/ 336 h 2610"/>
                  <a:gd name="T14" fmla="*/ 4471 w 5536"/>
                  <a:gd name="T15" fmla="*/ 460 h 2610"/>
                  <a:gd name="T16" fmla="*/ 4380 w 5536"/>
                  <a:gd name="T17" fmla="*/ 618 h 2610"/>
                  <a:gd name="T18" fmla="*/ 4338 w 5536"/>
                  <a:gd name="T19" fmla="*/ 757 h 2610"/>
                  <a:gd name="T20" fmla="*/ 4318 w 5536"/>
                  <a:gd name="T21" fmla="*/ 902 h 2610"/>
                  <a:gd name="T22" fmla="*/ 4305 w 5536"/>
                  <a:gd name="T23" fmla="*/ 1107 h 2610"/>
                  <a:gd name="T24" fmla="*/ 4278 w 5536"/>
                  <a:gd name="T25" fmla="*/ 1312 h 2610"/>
                  <a:gd name="T26" fmla="*/ 4208 w 5536"/>
                  <a:gd name="T27" fmla="*/ 1538 h 2610"/>
                  <a:gd name="T28" fmla="*/ 4100 w 5536"/>
                  <a:gd name="T29" fmla="*/ 1768 h 2610"/>
                  <a:gd name="T30" fmla="*/ 3963 w 5536"/>
                  <a:gd name="T31" fmla="*/ 1971 h 2610"/>
                  <a:gd name="T32" fmla="*/ 3800 w 5536"/>
                  <a:gd name="T33" fmla="*/ 2146 h 2610"/>
                  <a:gd name="T34" fmla="*/ 3609 w 5536"/>
                  <a:gd name="T35" fmla="*/ 2293 h 2610"/>
                  <a:gd name="T36" fmla="*/ 3391 w 5536"/>
                  <a:gd name="T37" fmla="*/ 2413 h 2610"/>
                  <a:gd name="T38" fmla="*/ 3145 w 5536"/>
                  <a:gd name="T39" fmla="*/ 2504 h 2610"/>
                  <a:gd name="T40" fmla="*/ 2911 w 5536"/>
                  <a:gd name="T41" fmla="*/ 2552 h 2610"/>
                  <a:gd name="T42" fmla="*/ 2671 w 5536"/>
                  <a:gd name="T43" fmla="*/ 2585 h 2610"/>
                  <a:gd name="T44" fmla="*/ 2378 w 5536"/>
                  <a:gd name="T45" fmla="*/ 2608 h 2610"/>
                  <a:gd name="T46" fmla="*/ 2084 w 5536"/>
                  <a:gd name="T47" fmla="*/ 2608 h 2610"/>
                  <a:gd name="T48" fmla="*/ 54 w 5536"/>
                  <a:gd name="T49" fmla="*/ 2608 h 2610"/>
                  <a:gd name="T50" fmla="*/ 0 w 5536"/>
                  <a:gd name="T51" fmla="*/ 2608 h 2610"/>
                  <a:gd name="T52" fmla="*/ 64 w 5536"/>
                  <a:gd name="T53" fmla="*/ 2477 h 2610"/>
                  <a:gd name="T54" fmla="*/ 93 w 5536"/>
                  <a:gd name="T55" fmla="*/ 2436 h 2610"/>
                  <a:gd name="T56" fmla="*/ 143 w 5536"/>
                  <a:gd name="T57" fmla="*/ 2426 h 2610"/>
                  <a:gd name="T58" fmla="*/ 1098 w 5536"/>
                  <a:gd name="T59" fmla="*/ 2419 h 2610"/>
                  <a:gd name="T60" fmla="*/ 1469 w 5536"/>
                  <a:gd name="T61" fmla="*/ 2396 h 2610"/>
                  <a:gd name="T62" fmla="*/ 1753 w 5536"/>
                  <a:gd name="T63" fmla="*/ 2368 h 2610"/>
                  <a:gd name="T64" fmla="*/ 1947 w 5536"/>
                  <a:gd name="T65" fmla="*/ 2336 h 2610"/>
                  <a:gd name="T66" fmla="*/ 2155 w 5536"/>
                  <a:gd name="T67" fmla="*/ 2268 h 2610"/>
                  <a:gd name="T68" fmla="*/ 2362 w 5536"/>
                  <a:gd name="T69" fmla="*/ 2162 h 2610"/>
                  <a:gd name="T70" fmla="*/ 2540 w 5536"/>
                  <a:gd name="T71" fmla="*/ 2028 h 2610"/>
                  <a:gd name="T72" fmla="*/ 2687 w 5536"/>
                  <a:gd name="T73" fmla="*/ 1866 h 2610"/>
                  <a:gd name="T74" fmla="*/ 2807 w 5536"/>
                  <a:gd name="T75" fmla="*/ 1675 h 2610"/>
                  <a:gd name="T76" fmla="*/ 2896 w 5536"/>
                  <a:gd name="T77" fmla="*/ 1453 h 2610"/>
                  <a:gd name="T78" fmla="*/ 3064 w 5536"/>
                  <a:gd name="T79" fmla="*/ 881 h 2610"/>
                  <a:gd name="T80" fmla="*/ 3108 w 5536"/>
                  <a:gd name="T81" fmla="*/ 732 h 2610"/>
                  <a:gd name="T82" fmla="*/ 3170 w 5536"/>
                  <a:gd name="T83" fmla="*/ 591 h 2610"/>
                  <a:gd name="T84" fmla="*/ 3290 w 5536"/>
                  <a:gd name="T85" fmla="*/ 423 h 2610"/>
                  <a:gd name="T86" fmla="*/ 3431 w 5536"/>
                  <a:gd name="T87" fmla="*/ 288 h 2610"/>
                  <a:gd name="T88" fmla="*/ 3595 w 5536"/>
                  <a:gd name="T89" fmla="*/ 187 h 2610"/>
                  <a:gd name="T90" fmla="*/ 3785 w 5536"/>
                  <a:gd name="T91" fmla="*/ 122 h 2610"/>
                  <a:gd name="T92" fmla="*/ 4003 w 5536"/>
                  <a:gd name="T93" fmla="*/ 91 h 2610"/>
                  <a:gd name="T94" fmla="*/ 4235 w 5536"/>
                  <a:gd name="T95" fmla="*/ 79 h 2610"/>
                  <a:gd name="T96" fmla="*/ 5498 w 5536"/>
                  <a:gd name="T97" fmla="*/ 0 h 26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5536" h="2610">
                    <a:moveTo>
                      <a:pt x="5515" y="0"/>
                    </a:moveTo>
                    <a:lnTo>
                      <a:pt x="5536" y="0"/>
                    </a:lnTo>
                    <a:lnTo>
                      <a:pt x="5503" y="66"/>
                    </a:lnTo>
                    <a:lnTo>
                      <a:pt x="5470" y="127"/>
                    </a:lnTo>
                    <a:lnTo>
                      <a:pt x="5463" y="135"/>
                    </a:lnTo>
                    <a:lnTo>
                      <a:pt x="5449" y="139"/>
                    </a:lnTo>
                    <a:lnTo>
                      <a:pt x="5436" y="141"/>
                    </a:lnTo>
                    <a:lnTo>
                      <a:pt x="5061" y="164"/>
                    </a:lnTo>
                    <a:lnTo>
                      <a:pt x="4968" y="172"/>
                    </a:lnTo>
                    <a:lnTo>
                      <a:pt x="4881" y="189"/>
                    </a:lnTo>
                    <a:lnTo>
                      <a:pt x="4798" y="214"/>
                    </a:lnTo>
                    <a:lnTo>
                      <a:pt x="4722" y="247"/>
                    </a:lnTo>
                    <a:lnTo>
                      <a:pt x="4651" y="288"/>
                    </a:lnTo>
                    <a:lnTo>
                      <a:pt x="4585" y="336"/>
                    </a:lnTo>
                    <a:lnTo>
                      <a:pt x="4525" y="394"/>
                    </a:lnTo>
                    <a:lnTo>
                      <a:pt x="4471" y="460"/>
                    </a:lnTo>
                    <a:lnTo>
                      <a:pt x="4423" y="535"/>
                    </a:lnTo>
                    <a:lnTo>
                      <a:pt x="4380" y="618"/>
                    </a:lnTo>
                    <a:lnTo>
                      <a:pt x="4353" y="686"/>
                    </a:lnTo>
                    <a:lnTo>
                      <a:pt x="4338" y="757"/>
                    </a:lnTo>
                    <a:lnTo>
                      <a:pt x="4326" y="829"/>
                    </a:lnTo>
                    <a:lnTo>
                      <a:pt x="4318" y="902"/>
                    </a:lnTo>
                    <a:lnTo>
                      <a:pt x="4311" y="1004"/>
                    </a:lnTo>
                    <a:lnTo>
                      <a:pt x="4305" y="1107"/>
                    </a:lnTo>
                    <a:lnTo>
                      <a:pt x="4295" y="1209"/>
                    </a:lnTo>
                    <a:lnTo>
                      <a:pt x="4278" y="1312"/>
                    </a:lnTo>
                    <a:lnTo>
                      <a:pt x="4253" y="1412"/>
                    </a:lnTo>
                    <a:lnTo>
                      <a:pt x="4208" y="1538"/>
                    </a:lnTo>
                    <a:lnTo>
                      <a:pt x="4158" y="1656"/>
                    </a:lnTo>
                    <a:lnTo>
                      <a:pt x="4100" y="1768"/>
                    </a:lnTo>
                    <a:lnTo>
                      <a:pt x="4034" y="1872"/>
                    </a:lnTo>
                    <a:lnTo>
                      <a:pt x="3963" y="1971"/>
                    </a:lnTo>
                    <a:lnTo>
                      <a:pt x="3885" y="2061"/>
                    </a:lnTo>
                    <a:lnTo>
                      <a:pt x="3800" y="2146"/>
                    </a:lnTo>
                    <a:lnTo>
                      <a:pt x="3708" y="2224"/>
                    </a:lnTo>
                    <a:lnTo>
                      <a:pt x="3609" y="2293"/>
                    </a:lnTo>
                    <a:lnTo>
                      <a:pt x="3503" y="2357"/>
                    </a:lnTo>
                    <a:lnTo>
                      <a:pt x="3391" y="2413"/>
                    </a:lnTo>
                    <a:lnTo>
                      <a:pt x="3271" y="2461"/>
                    </a:lnTo>
                    <a:lnTo>
                      <a:pt x="3145" y="2504"/>
                    </a:lnTo>
                    <a:lnTo>
                      <a:pt x="3029" y="2533"/>
                    </a:lnTo>
                    <a:lnTo>
                      <a:pt x="2911" y="2552"/>
                    </a:lnTo>
                    <a:lnTo>
                      <a:pt x="2791" y="2569"/>
                    </a:lnTo>
                    <a:lnTo>
                      <a:pt x="2671" y="2585"/>
                    </a:lnTo>
                    <a:lnTo>
                      <a:pt x="2525" y="2602"/>
                    </a:lnTo>
                    <a:lnTo>
                      <a:pt x="2378" y="2608"/>
                    </a:lnTo>
                    <a:lnTo>
                      <a:pt x="2231" y="2610"/>
                    </a:lnTo>
                    <a:lnTo>
                      <a:pt x="2084" y="2608"/>
                    </a:lnTo>
                    <a:lnTo>
                      <a:pt x="1937" y="2608"/>
                    </a:lnTo>
                    <a:lnTo>
                      <a:pt x="54" y="2608"/>
                    </a:lnTo>
                    <a:lnTo>
                      <a:pt x="0" y="2608"/>
                    </a:lnTo>
                    <a:lnTo>
                      <a:pt x="0" y="2608"/>
                    </a:lnTo>
                    <a:lnTo>
                      <a:pt x="33" y="2540"/>
                    </a:lnTo>
                    <a:lnTo>
                      <a:pt x="64" y="2477"/>
                    </a:lnTo>
                    <a:lnTo>
                      <a:pt x="75" y="2452"/>
                    </a:lnTo>
                    <a:lnTo>
                      <a:pt x="93" y="2436"/>
                    </a:lnTo>
                    <a:lnTo>
                      <a:pt x="114" y="2428"/>
                    </a:lnTo>
                    <a:lnTo>
                      <a:pt x="143" y="2426"/>
                    </a:lnTo>
                    <a:lnTo>
                      <a:pt x="621" y="2426"/>
                    </a:lnTo>
                    <a:lnTo>
                      <a:pt x="1098" y="2419"/>
                    </a:lnTo>
                    <a:lnTo>
                      <a:pt x="1284" y="2409"/>
                    </a:lnTo>
                    <a:lnTo>
                      <a:pt x="1469" y="2396"/>
                    </a:lnTo>
                    <a:lnTo>
                      <a:pt x="1655" y="2378"/>
                    </a:lnTo>
                    <a:lnTo>
                      <a:pt x="1753" y="2368"/>
                    </a:lnTo>
                    <a:lnTo>
                      <a:pt x="1850" y="2355"/>
                    </a:lnTo>
                    <a:lnTo>
                      <a:pt x="1947" y="2336"/>
                    </a:lnTo>
                    <a:lnTo>
                      <a:pt x="2043" y="2311"/>
                    </a:lnTo>
                    <a:lnTo>
                      <a:pt x="2155" y="2268"/>
                    </a:lnTo>
                    <a:lnTo>
                      <a:pt x="2264" y="2218"/>
                    </a:lnTo>
                    <a:lnTo>
                      <a:pt x="2362" y="2162"/>
                    </a:lnTo>
                    <a:lnTo>
                      <a:pt x="2455" y="2098"/>
                    </a:lnTo>
                    <a:lnTo>
                      <a:pt x="2540" y="2028"/>
                    </a:lnTo>
                    <a:lnTo>
                      <a:pt x="2617" y="1951"/>
                    </a:lnTo>
                    <a:lnTo>
                      <a:pt x="2687" y="1866"/>
                    </a:lnTo>
                    <a:lnTo>
                      <a:pt x="2751" y="1773"/>
                    </a:lnTo>
                    <a:lnTo>
                      <a:pt x="2807" y="1675"/>
                    </a:lnTo>
                    <a:lnTo>
                      <a:pt x="2855" y="1569"/>
                    </a:lnTo>
                    <a:lnTo>
                      <a:pt x="2896" y="1453"/>
                    </a:lnTo>
                    <a:lnTo>
                      <a:pt x="2983" y="1167"/>
                    </a:lnTo>
                    <a:lnTo>
                      <a:pt x="3064" y="881"/>
                    </a:lnTo>
                    <a:lnTo>
                      <a:pt x="3085" y="805"/>
                    </a:lnTo>
                    <a:lnTo>
                      <a:pt x="3108" y="732"/>
                    </a:lnTo>
                    <a:lnTo>
                      <a:pt x="3135" y="661"/>
                    </a:lnTo>
                    <a:lnTo>
                      <a:pt x="3170" y="591"/>
                    </a:lnTo>
                    <a:lnTo>
                      <a:pt x="3226" y="502"/>
                    </a:lnTo>
                    <a:lnTo>
                      <a:pt x="3290" y="423"/>
                    </a:lnTo>
                    <a:lnTo>
                      <a:pt x="3358" y="351"/>
                    </a:lnTo>
                    <a:lnTo>
                      <a:pt x="3431" y="288"/>
                    </a:lnTo>
                    <a:lnTo>
                      <a:pt x="3510" y="234"/>
                    </a:lnTo>
                    <a:lnTo>
                      <a:pt x="3595" y="187"/>
                    </a:lnTo>
                    <a:lnTo>
                      <a:pt x="3688" y="151"/>
                    </a:lnTo>
                    <a:lnTo>
                      <a:pt x="3785" y="122"/>
                    </a:lnTo>
                    <a:lnTo>
                      <a:pt x="3887" y="102"/>
                    </a:lnTo>
                    <a:lnTo>
                      <a:pt x="4003" y="91"/>
                    </a:lnTo>
                    <a:lnTo>
                      <a:pt x="4119" y="85"/>
                    </a:lnTo>
                    <a:lnTo>
                      <a:pt x="4235" y="79"/>
                    </a:lnTo>
                    <a:lnTo>
                      <a:pt x="4923" y="35"/>
                    </a:lnTo>
                    <a:lnTo>
                      <a:pt x="5498" y="0"/>
                    </a:lnTo>
                    <a:lnTo>
                      <a:pt x="5515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7" name="Freeform 7">
                <a:extLst>
                  <a:ext uri="{FF2B5EF4-FFF2-40B4-BE49-F238E27FC236}">
                    <a16:creationId xmlns:a16="http://schemas.microsoft.com/office/drawing/2014/main" id="{0BE6F8E9-24BA-47B8-9CCD-E18AD0A434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55" y="-1283"/>
                <a:ext cx="4960" cy="1437"/>
              </a:xfrm>
              <a:custGeom>
                <a:avLst/>
                <a:gdLst>
                  <a:gd name="T0" fmla="*/ 4896 w 4960"/>
                  <a:gd name="T1" fmla="*/ 0 h 1437"/>
                  <a:gd name="T2" fmla="*/ 4960 w 4960"/>
                  <a:gd name="T3" fmla="*/ 0 h 1437"/>
                  <a:gd name="T4" fmla="*/ 4935 w 4960"/>
                  <a:gd name="T5" fmla="*/ 46 h 1437"/>
                  <a:gd name="T6" fmla="*/ 4912 w 4960"/>
                  <a:gd name="T7" fmla="*/ 89 h 1437"/>
                  <a:gd name="T8" fmla="*/ 4892 w 4960"/>
                  <a:gd name="T9" fmla="*/ 131 h 1437"/>
                  <a:gd name="T10" fmla="*/ 4879 w 4960"/>
                  <a:gd name="T11" fmla="*/ 162 h 1437"/>
                  <a:gd name="T12" fmla="*/ 4860 w 4960"/>
                  <a:gd name="T13" fmla="*/ 181 h 1437"/>
                  <a:gd name="T14" fmla="*/ 4838 w 4960"/>
                  <a:gd name="T15" fmla="*/ 195 h 1437"/>
                  <a:gd name="T16" fmla="*/ 4809 w 4960"/>
                  <a:gd name="T17" fmla="*/ 201 h 1437"/>
                  <a:gd name="T18" fmla="*/ 4776 w 4960"/>
                  <a:gd name="T19" fmla="*/ 203 h 1437"/>
                  <a:gd name="T20" fmla="*/ 4287 w 4960"/>
                  <a:gd name="T21" fmla="*/ 201 h 1437"/>
                  <a:gd name="T22" fmla="*/ 3798 w 4960"/>
                  <a:gd name="T23" fmla="*/ 203 h 1437"/>
                  <a:gd name="T24" fmla="*/ 3590 w 4960"/>
                  <a:gd name="T25" fmla="*/ 207 h 1437"/>
                  <a:gd name="T26" fmla="*/ 3381 w 4960"/>
                  <a:gd name="T27" fmla="*/ 216 h 1437"/>
                  <a:gd name="T28" fmla="*/ 3172 w 4960"/>
                  <a:gd name="T29" fmla="*/ 234 h 1437"/>
                  <a:gd name="T30" fmla="*/ 2965 w 4960"/>
                  <a:gd name="T31" fmla="*/ 261 h 1437"/>
                  <a:gd name="T32" fmla="*/ 2826 w 4960"/>
                  <a:gd name="T33" fmla="*/ 284 h 1437"/>
                  <a:gd name="T34" fmla="*/ 2689 w 4960"/>
                  <a:gd name="T35" fmla="*/ 313 h 1437"/>
                  <a:gd name="T36" fmla="*/ 2554 w 4960"/>
                  <a:gd name="T37" fmla="*/ 350 h 1437"/>
                  <a:gd name="T38" fmla="*/ 2420 w 4960"/>
                  <a:gd name="T39" fmla="*/ 394 h 1437"/>
                  <a:gd name="T40" fmla="*/ 2289 w 4960"/>
                  <a:gd name="T41" fmla="*/ 446 h 1437"/>
                  <a:gd name="T42" fmla="*/ 2161 w 4960"/>
                  <a:gd name="T43" fmla="*/ 508 h 1437"/>
                  <a:gd name="T44" fmla="*/ 2047 w 4960"/>
                  <a:gd name="T45" fmla="*/ 576 h 1437"/>
                  <a:gd name="T46" fmla="*/ 1941 w 4960"/>
                  <a:gd name="T47" fmla="*/ 651 h 1437"/>
                  <a:gd name="T48" fmla="*/ 1840 w 4960"/>
                  <a:gd name="T49" fmla="*/ 734 h 1437"/>
                  <a:gd name="T50" fmla="*/ 1746 w 4960"/>
                  <a:gd name="T51" fmla="*/ 823 h 1437"/>
                  <a:gd name="T52" fmla="*/ 1660 w 4960"/>
                  <a:gd name="T53" fmla="*/ 921 h 1437"/>
                  <a:gd name="T54" fmla="*/ 1579 w 4960"/>
                  <a:gd name="T55" fmla="*/ 1026 h 1437"/>
                  <a:gd name="T56" fmla="*/ 1496 w 4960"/>
                  <a:gd name="T57" fmla="*/ 1151 h 1437"/>
                  <a:gd name="T58" fmla="*/ 1417 w 4960"/>
                  <a:gd name="T59" fmla="*/ 1281 h 1437"/>
                  <a:gd name="T60" fmla="*/ 1338 w 4960"/>
                  <a:gd name="T61" fmla="*/ 1410 h 1437"/>
                  <a:gd name="T62" fmla="*/ 1326 w 4960"/>
                  <a:gd name="T63" fmla="*/ 1426 h 1437"/>
                  <a:gd name="T64" fmla="*/ 1313 w 4960"/>
                  <a:gd name="T65" fmla="*/ 1433 h 1437"/>
                  <a:gd name="T66" fmla="*/ 1295 w 4960"/>
                  <a:gd name="T67" fmla="*/ 1437 h 1437"/>
                  <a:gd name="T68" fmla="*/ 37 w 4960"/>
                  <a:gd name="T69" fmla="*/ 1437 h 1437"/>
                  <a:gd name="T70" fmla="*/ 21 w 4960"/>
                  <a:gd name="T71" fmla="*/ 1435 h 1437"/>
                  <a:gd name="T72" fmla="*/ 0 w 4960"/>
                  <a:gd name="T73" fmla="*/ 1435 h 1437"/>
                  <a:gd name="T74" fmla="*/ 64 w 4960"/>
                  <a:gd name="T75" fmla="*/ 1310 h 1437"/>
                  <a:gd name="T76" fmla="*/ 126 w 4960"/>
                  <a:gd name="T77" fmla="*/ 1186 h 1437"/>
                  <a:gd name="T78" fmla="*/ 186 w 4960"/>
                  <a:gd name="T79" fmla="*/ 1061 h 1437"/>
                  <a:gd name="T80" fmla="*/ 247 w 4960"/>
                  <a:gd name="T81" fmla="*/ 937 h 1437"/>
                  <a:gd name="T82" fmla="*/ 315 w 4960"/>
                  <a:gd name="T83" fmla="*/ 817 h 1437"/>
                  <a:gd name="T84" fmla="*/ 389 w 4960"/>
                  <a:gd name="T85" fmla="*/ 701 h 1437"/>
                  <a:gd name="T86" fmla="*/ 458 w 4960"/>
                  <a:gd name="T87" fmla="*/ 607 h 1437"/>
                  <a:gd name="T88" fmla="*/ 533 w 4960"/>
                  <a:gd name="T89" fmla="*/ 520 h 1437"/>
                  <a:gd name="T90" fmla="*/ 615 w 4960"/>
                  <a:gd name="T91" fmla="*/ 440 h 1437"/>
                  <a:gd name="T92" fmla="*/ 700 w 4960"/>
                  <a:gd name="T93" fmla="*/ 367 h 1437"/>
                  <a:gd name="T94" fmla="*/ 791 w 4960"/>
                  <a:gd name="T95" fmla="*/ 301 h 1437"/>
                  <a:gd name="T96" fmla="*/ 887 w 4960"/>
                  <a:gd name="T97" fmla="*/ 243 h 1437"/>
                  <a:gd name="T98" fmla="*/ 990 w 4960"/>
                  <a:gd name="T99" fmla="*/ 191 h 1437"/>
                  <a:gd name="T100" fmla="*/ 1096 w 4960"/>
                  <a:gd name="T101" fmla="*/ 147 h 1437"/>
                  <a:gd name="T102" fmla="*/ 1206 w 4960"/>
                  <a:gd name="T103" fmla="*/ 108 h 1437"/>
                  <a:gd name="T104" fmla="*/ 1351 w 4960"/>
                  <a:gd name="T105" fmla="*/ 69 h 1437"/>
                  <a:gd name="T106" fmla="*/ 1496 w 4960"/>
                  <a:gd name="T107" fmla="*/ 40 h 1437"/>
                  <a:gd name="T108" fmla="*/ 1645 w 4960"/>
                  <a:gd name="T109" fmla="*/ 21 h 1437"/>
                  <a:gd name="T110" fmla="*/ 1794 w 4960"/>
                  <a:gd name="T111" fmla="*/ 10 h 1437"/>
                  <a:gd name="T112" fmla="*/ 1954 w 4960"/>
                  <a:gd name="T113" fmla="*/ 4 h 1437"/>
                  <a:gd name="T114" fmla="*/ 2117 w 4960"/>
                  <a:gd name="T115" fmla="*/ 2 h 1437"/>
                  <a:gd name="T116" fmla="*/ 4896 w 4960"/>
                  <a:gd name="T117" fmla="*/ 0 h 1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4960" h="1437">
                    <a:moveTo>
                      <a:pt x="4896" y="0"/>
                    </a:moveTo>
                    <a:lnTo>
                      <a:pt x="4960" y="0"/>
                    </a:lnTo>
                    <a:lnTo>
                      <a:pt x="4935" y="46"/>
                    </a:lnTo>
                    <a:lnTo>
                      <a:pt x="4912" y="89"/>
                    </a:lnTo>
                    <a:lnTo>
                      <a:pt x="4892" y="131"/>
                    </a:lnTo>
                    <a:lnTo>
                      <a:pt x="4879" y="162"/>
                    </a:lnTo>
                    <a:lnTo>
                      <a:pt x="4860" y="181"/>
                    </a:lnTo>
                    <a:lnTo>
                      <a:pt x="4838" y="195"/>
                    </a:lnTo>
                    <a:lnTo>
                      <a:pt x="4809" y="201"/>
                    </a:lnTo>
                    <a:lnTo>
                      <a:pt x="4776" y="203"/>
                    </a:lnTo>
                    <a:lnTo>
                      <a:pt x="4287" y="201"/>
                    </a:lnTo>
                    <a:lnTo>
                      <a:pt x="3798" y="203"/>
                    </a:lnTo>
                    <a:lnTo>
                      <a:pt x="3590" y="207"/>
                    </a:lnTo>
                    <a:lnTo>
                      <a:pt x="3381" y="216"/>
                    </a:lnTo>
                    <a:lnTo>
                      <a:pt x="3172" y="234"/>
                    </a:lnTo>
                    <a:lnTo>
                      <a:pt x="2965" y="261"/>
                    </a:lnTo>
                    <a:lnTo>
                      <a:pt x="2826" y="284"/>
                    </a:lnTo>
                    <a:lnTo>
                      <a:pt x="2689" y="313"/>
                    </a:lnTo>
                    <a:lnTo>
                      <a:pt x="2554" y="350"/>
                    </a:lnTo>
                    <a:lnTo>
                      <a:pt x="2420" y="394"/>
                    </a:lnTo>
                    <a:lnTo>
                      <a:pt x="2289" y="446"/>
                    </a:lnTo>
                    <a:lnTo>
                      <a:pt x="2161" y="508"/>
                    </a:lnTo>
                    <a:lnTo>
                      <a:pt x="2047" y="576"/>
                    </a:lnTo>
                    <a:lnTo>
                      <a:pt x="1941" y="651"/>
                    </a:lnTo>
                    <a:lnTo>
                      <a:pt x="1840" y="734"/>
                    </a:lnTo>
                    <a:lnTo>
                      <a:pt x="1746" y="823"/>
                    </a:lnTo>
                    <a:lnTo>
                      <a:pt x="1660" y="921"/>
                    </a:lnTo>
                    <a:lnTo>
                      <a:pt x="1579" y="1026"/>
                    </a:lnTo>
                    <a:lnTo>
                      <a:pt x="1496" y="1151"/>
                    </a:lnTo>
                    <a:lnTo>
                      <a:pt x="1417" y="1281"/>
                    </a:lnTo>
                    <a:lnTo>
                      <a:pt x="1338" y="1410"/>
                    </a:lnTo>
                    <a:lnTo>
                      <a:pt x="1326" y="1426"/>
                    </a:lnTo>
                    <a:lnTo>
                      <a:pt x="1313" y="1433"/>
                    </a:lnTo>
                    <a:lnTo>
                      <a:pt x="1295" y="1437"/>
                    </a:lnTo>
                    <a:lnTo>
                      <a:pt x="37" y="1437"/>
                    </a:lnTo>
                    <a:lnTo>
                      <a:pt x="21" y="1435"/>
                    </a:lnTo>
                    <a:lnTo>
                      <a:pt x="0" y="1435"/>
                    </a:lnTo>
                    <a:lnTo>
                      <a:pt x="64" y="1310"/>
                    </a:lnTo>
                    <a:lnTo>
                      <a:pt x="126" y="1186"/>
                    </a:lnTo>
                    <a:lnTo>
                      <a:pt x="186" y="1061"/>
                    </a:lnTo>
                    <a:lnTo>
                      <a:pt x="247" y="937"/>
                    </a:lnTo>
                    <a:lnTo>
                      <a:pt x="315" y="817"/>
                    </a:lnTo>
                    <a:lnTo>
                      <a:pt x="389" y="701"/>
                    </a:lnTo>
                    <a:lnTo>
                      <a:pt x="458" y="607"/>
                    </a:lnTo>
                    <a:lnTo>
                      <a:pt x="533" y="520"/>
                    </a:lnTo>
                    <a:lnTo>
                      <a:pt x="615" y="440"/>
                    </a:lnTo>
                    <a:lnTo>
                      <a:pt x="700" y="367"/>
                    </a:lnTo>
                    <a:lnTo>
                      <a:pt x="791" y="301"/>
                    </a:lnTo>
                    <a:lnTo>
                      <a:pt x="887" y="243"/>
                    </a:lnTo>
                    <a:lnTo>
                      <a:pt x="990" y="191"/>
                    </a:lnTo>
                    <a:lnTo>
                      <a:pt x="1096" y="147"/>
                    </a:lnTo>
                    <a:lnTo>
                      <a:pt x="1206" y="108"/>
                    </a:lnTo>
                    <a:lnTo>
                      <a:pt x="1351" y="69"/>
                    </a:lnTo>
                    <a:lnTo>
                      <a:pt x="1496" y="40"/>
                    </a:lnTo>
                    <a:lnTo>
                      <a:pt x="1645" y="21"/>
                    </a:lnTo>
                    <a:lnTo>
                      <a:pt x="1794" y="10"/>
                    </a:lnTo>
                    <a:lnTo>
                      <a:pt x="1954" y="4"/>
                    </a:lnTo>
                    <a:lnTo>
                      <a:pt x="2117" y="2"/>
                    </a:lnTo>
                    <a:lnTo>
                      <a:pt x="4896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8" name="Freeform 8">
                <a:extLst>
                  <a:ext uri="{FF2B5EF4-FFF2-40B4-BE49-F238E27FC236}">
                    <a16:creationId xmlns:a16="http://schemas.microsoft.com/office/drawing/2014/main" id="{61144228-6360-4B55-95F5-F9B22AED9A8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-365" y="643"/>
                <a:ext cx="2316" cy="1988"/>
              </a:xfrm>
              <a:custGeom>
                <a:avLst/>
                <a:gdLst>
                  <a:gd name="T0" fmla="*/ 2297 w 2316"/>
                  <a:gd name="T1" fmla="*/ 0 h 1988"/>
                  <a:gd name="T2" fmla="*/ 2316 w 2316"/>
                  <a:gd name="T3" fmla="*/ 0 h 1988"/>
                  <a:gd name="T4" fmla="*/ 2250 w 2316"/>
                  <a:gd name="T5" fmla="*/ 124 h 1988"/>
                  <a:gd name="T6" fmla="*/ 2185 w 2316"/>
                  <a:gd name="T7" fmla="*/ 245 h 1988"/>
                  <a:gd name="T8" fmla="*/ 2038 w 2316"/>
                  <a:gd name="T9" fmla="*/ 510 h 1988"/>
                  <a:gd name="T10" fmla="*/ 1885 w 2316"/>
                  <a:gd name="T11" fmla="*/ 771 h 1988"/>
                  <a:gd name="T12" fmla="*/ 1726 w 2316"/>
                  <a:gd name="T13" fmla="*/ 1028 h 1988"/>
                  <a:gd name="T14" fmla="*/ 1560 w 2316"/>
                  <a:gd name="T15" fmla="*/ 1281 h 1988"/>
                  <a:gd name="T16" fmla="*/ 1496 w 2316"/>
                  <a:gd name="T17" fmla="*/ 1368 h 1988"/>
                  <a:gd name="T18" fmla="*/ 1431 w 2316"/>
                  <a:gd name="T19" fmla="*/ 1455 h 1988"/>
                  <a:gd name="T20" fmla="*/ 1361 w 2316"/>
                  <a:gd name="T21" fmla="*/ 1536 h 1988"/>
                  <a:gd name="T22" fmla="*/ 1286 w 2316"/>
                  <a:gd name="T23" fmla="*/ 1613 h 1988"/>
                  <a:gd name="T24" fmla="*/ 1205 w 2316"/>
                  <a:gd name="T25" fmla="*/ 1685 h 1988"/>
                  <a:gd name="T26" fmla="*/ 1118 w 2316"/>
                  <a:gd name="T27" fmla="*/ 1751 h 1988"/>
                  <a:gd name="T28" fmla="*/ 1036 w 2316"/>
                  <a:gd name="T29" fmla="*/ 1803 h 1988"/>
                  <a:gd name="T30" fmla="*/ 951 w 2316"/>
                  <a:gd name="T31" fmla="*/ 1847 h 1988"/>
                  <a:gd name="T32" fmla="*/ 864 w 2316"/>
                  <a:gd name="T33" fmla="*/ 1884 h 1988"/>
                  <a:gd name="T34" fmla="*/ 773 w 2316"/>
                  <a:gd name="T35" fmla="*/ 1913 h 1988"/>
                  <a:gd name="T36" fmla="*/ 683 w 2316"/>
                  <a:gd name="T37" fmla="*/ 1936 h 1988"/>
                  <a:gd name="T38" fmla="*/ 586 w 2316"/>
                  <a:gd name="T39" fmla="*/ 1953 h 1988"/>
                  <a:gd name="T40" fmla="*/ 449 w 2316"/>
                  <a:gd name="T41" fmla="*/ 1971 h 1988"/>
                  <a:gd name="T42" fmla="*/ 311 w 2316"/>
                  <a:gd name="T43" fmla="*/ 1980 h 1988"/>
                  <a:gd name="T44" fmla="*/ 172 w 2316"/>
                  <a:gd name="T45" fmla="*/ 1986 h 1988"/>
                  <a:gd name="T46" fmla="*/ 33 w 2316"/>
                  <a:gd name="T47" fmla="*/ 1988 h 1988"/>
                  <a:gd name="T48" fmla="*/ 18 w 2316"/>
                  <a:gd name="T49" fmla="*/ 1988 h 1988"/>
                  <a:gd name="T50" fmla="*/ 0 w 2316"/>
                  <a:gd name="T51" fmla="*/ 1988 h 1988"/>
                  <a:gd name="T52" fmla="*/ 8 w 2316"/>
                  <a:gd name="T53" fmla="*/ 1969 h 1988"/>
                  <a:gd name="T54" fmla="*/ 14 w 2316"/>
                  <a:gd name="T55" fmla="*/ 1955 h 1988"/>
                  <a:gd name="T56" fmla="*/ 916 w 2316"/>
                  <a:gd name="T57" fmla="*/ 168 h 1988"/>
                  <a:gd name="T58" fmla="*/ 928 w 2316"/>
                  <a:gd name="T59" fmla="*/ 149 h 1988"/>
                  <a:gd name="T60" fmla="*/ 945 w 2316"/>
                  <a:gd name="T61" fmla="*/ 137 h 1988"/>
                  <a:gd name="T62" fmla="*/ 967 w 2316"/>
                  <a:gd name="T63" fmla="*/ 133 h 1988"/>
                  <a:gd name="T64" fmla="*/ 1753 w 2316"/>
                  <a:gd name="T65" fmla="*/ 54 h 1988"/>
                  <a:gd name="T66" fmla="*/ 2281 w 2316"/>
                  <a:gd name="T67" fmla="*/ 0 h 1988"/>
                  <a:gd name="T68" fmla="*/ 2297 w 2316"/>
                  <a:gd name="T69" fmla="*/ 0 h 19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316" h="1988">
                    <a:moveTo>
                      <a:pt x="2297" y="0"/>
                    </a:moveTo>
                    <a:lnTo>
                      <a:pt x="2316" y="0"/>
                    </a:lnTo>
                    <a:lnTo>
                      <a:pt x="2250" y="124"/>
                    </a:lnTo>
                    <a:lnTo>
                      <a:pt x="2185" y="245"/>
                    </a:lnTo>
                    <a:lnTo>
                      <a:pt x="2038" y="510"/>
                    </a:lnTo>
                    <a:lnTo>
                      <a:pt x="1885" y="771"/>
                    </a:lnTo>
                    <a:lnTo>
                      <a:pt x="1726" y="1028"/>
                    </a:lnTo>
                    <a:lnTo>
                      <a:pt x="1560" y="1281"/>
                    </a:lnTo>
                    <a:lnTo>
                      <a:pt x="1496" y="1368"/>
                    </a:lnTo>
                    <a:lnTo>
                      <a:pt x="1431" y="1455"/>
                    </a:lnTo>
                    <a:lnTo>
                      <a:pt x="1361" y="1536"/>
                    </a:lnTo>
                    <a:lnTo>
                      <a:pt x="1286" y="1613"/>
                    </a:lnTo>
                    <a:lnTo>
                      <a:pt x="1205" y="1685"/>
                    </a:lnTo>
                    <a:lnTo>
                      <a:pt x="1118" y="1751"/>
                    </a:lnTo>
                    <a:lnTo>
                      <a:pt x="1036" y="1803"/>
                    </a:lnTo>
                    <a:lnTo>
                      <a:pt x="951" y="1847"/>
                    </a:lnTo>
                    <a:lnTo>
                      <a:pt x="864" y="1884"/>
                    </a:lnTo>
                    <a:lnTo>
                      <a:pt x="773" y="1913"/>
                    </a:lnTo>
                    <a:lnTo>
                      <a:pt x="683" y="1936"/>
                    </a:lnTo>
                    <a:lnTo>
                      <a:pt x="586" y="1953"/>
                    </a:lnTo>
                    <a:lnTo>
                      <a:pt x="449" y="1971"/>
                    </a:lnTo>
                    <a:lnTo>
                      <a:pt x="311" y="1980"/>
                    </a:lnTo>
                    <a:lnTo>
                      <a:pt x="172" y="1986"/>
                    </a:lnTo>
                    <a:lnTo>
                      <a:pt x="33" y="1988"/>
                    </a:lnTo>
                    <a:lnTo>
                      <a:pt x="18" y="1988"/>
                    </a:lnTo>
                    <a:lnTo>
                      <a:pt x="0" y="1988"/>
                    </a:lnTo>
                    <a:lnTo>
                      <a:pt x="8" y="1969"/>
                    </a:lnTo>
                    <a:lnTo>
                      <a:pt x="14" y="1955"/>
                    </a:lnTo>
                    <a:lnTo>
                      <a:pt x="916" y="168"/>
                    </a:lnTo>
                    <a:lnTo>
                      <a:pt x="928" y="149"/>
                    </a:lnTo>
                    <a:lnTo>
                      <a:pt x="945" y="137"/>
                    </a:lnTo>
                    <a:lnTo>
                      <a:pt x="967" y="133"/>
                    </a:lnTo>
                    <a:lnTo>
                      <a:pt x="1753" y="54"/>
                    </a:lnTo>
                    <a:lnTo>
                      <a:pt x="2281" y="0"/>
                    </a:lnTo>
                    <a:lnTo>
                      <a:pt x="2297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  <p:sp>
            <p:nvSpPr>
              <p:cNvPr id="29" name="Freeform 9">
                <a:extLst>
                  <a:ext uri="{FF2B5EF4-FFF2-40B4-BE49-F238E27FC236}">
                    <a16:creationId xmlns:a16="http://schemas.microsoft.com/office/drawing/2014/main" id="{88DFCB77-4787-41C9-BEEE-C96E24C96E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46" y="-875"/>
                <a:ext cx="2472" cy="1029"/>
              </a:xfrm>
              <a:custGeom>
                <a:avLst/>
                <a:gdLst>
                  <a:gd name="T0" fmla="*/ 2451 w 2472"/>
                  <a:gd name="T1" fmla="*/ 0 h 1029"/>
                  <a:gd name="T2" fmla="*/ 2472 w 2472"/>
                  <a:gd name="T3" fmla="*/ 0 h 1029"/>
                  <a:gd name="T4" fmla="*/ 2426 w 2472"/>
                  <a:gd name="T5" fmla="*/ 94 h 1029"/>
                  <a:gd name="T6" fmla="*/ 2379 w 2472"/>
                  <a:gd name="T7" fmla="*/ 185 h 1029"/>
                  <a:gd name="T8" fmla="*/ 1977 w 2472"/>
                  <a:gd name="T9" fmla="*/ 1004 h 1029"/>
                  <a:gd name="T10" fmla="*/ 1967 w 2472"/>
                  <a:gd name="T11" fmla="*/ 1018 h 1029"/>
                  <a:gd name="T12" fmla="*/ 1956 w 2472"/>
                  <a:gd name="T13" fmla="*/ 1027 h 1029"/>
                  <a:gd name="T14" fmla="*/ 1937 w 2472"/>
                  <a:gd name="T15" fmla="*/ 1029 h 1029"/>
                  <a:gd name="T16" fmla="*/ 23 w 2472"/>
                  <a:gd name="T17" fmla="*/ 1029 h 1029"/>
                  <a:gd name="T18" fmla="*/ 17 w 2472"/>
                  <a:gd name="T19" fmla="*/ 1027 h 1029"/>
                  <a:gd name="T20" fmla="*/ 9 w 2472"/>
                  <a:gd name="T21" fmla="*/ 1027 h 1029"/>
                  <a:gd name="T22" fmla="*/ 0 w 2472"/>
                  <a:gd name="T23" fmla="*/ 1027 h 1029"/>
                  <a:gd name="T24" fmla="*/ 48 w 2472"/>
                  <a:gd name="T25" fmla="*/ 938 h 1029"/>
                  <a:gd name="T26" fmla="*/ 100 w 2472"/>
                  <a:gd name="T27" fmla="*/ 852 h 1029"/>
                  <a:gd name="T28" fmla="*/ 152 w 2472"/>
                  <a:gd name="T29" fmla="*/ 767 h 1029"/>
                  <a:gd name="T30" fmla="*/ 210 w 2472"/>
                  <a:gd name="T31" fmla="*/ 683 h 1029"/>
                  <a:gd name="T32" fmla="*/ 270 w 2472"/>
                  <a:gd name="T33" fmla="*/ 606 h 1029"/>
                  <a:gd name="T34" fmla="*/ 334 w 2472"/>
                  <a:gd name="T35" fmla="*/ 531 h 1029"/>
                  <a:gd name="T36" fmla="*/ 404 w 2472"/>
                  <a:gd name="T37" fmla="*/ 461 h 1029"/>
                  <a:gd name="T38" fmla="*/ 479 w 2472"/>
                  <a:gd name="T39" fmla="*/ 396 h 1029"/>
                  <a:gd name="T40" fmla="*/ 560 w 2472"/>
                  <a:gd name="T41" fmla="*/ 336 h 1029"/>
                  <a:gd name="T42" fmla="*/ 647 w 2472"/>
                  <a:gd name="T43" fmla="*/ 284 h 1029"/>
                  <a:gd name="T44" fmla="*/ 744 w 2472"/>
                  <a:gd name="T45" fmla="*/ 235 h 1029"/>
                  <a:gd name="T46" fmla="*/ 842 w 2472"/>
                  <a:gd name="T47" fmla="*/ 195 h 1029"/>
                  <a:gd name="T48" fmla="*/ 941 w 2472"/>
                  <a:gd name="T49" fmla="*/ 162 h 1029"/>
                  <a:gd name="T50" fmla="*/ 1043 w 2472"/>
                  <a:gd name="T51" fmla="*/ 133 h 1029"/>
                  <a:gd name="T52" fmla="*/ 1148 w 2472"/>
                  <a:gd name="T53" fmla="*/ 108 h 1029"/>
                  <a:gd name="T54" fmla="*/ 1320 w 2472"/>
                  <a:gd name="T55" fmla="*/ 75 h 1029"/>
                  <a:gd name="T56" fmla="*/ 1492 w 2472"/>
                  <a:gd name="T57" fmla="*/ 50 h 1029"/>
                  <a:gd name="T58" fmla="*/ 1666 w 2472"/>
                  <a:gd name="T59" fmla="*/ 32 h 1029"/>
                  <a:gd name="T60" fmla="*/ 1842 w 2472"/>
                  <a:gd name="T61" fmla="*/ 21 h 1029"/>
                  <a:gd name="T62" fmla="*/ 2138 w 2472"/>
                  <a:gd name="T63" fmla="*/ 9 h 1029"/>
                  <a:gd name="T64" fmla="*/ 2433 w 2472"/>
                  <a:gd name="T65" fmla="*/ 0 h 1029"/>
                  <a:gd name="T66" fmla="*/ 2451 w 2472"/>
                  <a:gd name="T67" fmla="*/ 0 h 10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2472" h="1029">
                    <a:moveTo>
                      <a:pt x="2451" y="0"/>
                    </a:moveTo>
                    <a:lnTo>
                      <a:pt x="2472" y="0"/>
                    </a:lnTo>
                    <a:lnTo>
                      <a:pt x="2426" y="94"/>
                    </a:lnTo>
                    <a:lnTo>
                      <a:pt x="2379" y="185"/>
                    </a:lnTo>
                    <a:lnTo>
                      <a:pt x="1977" y="1004"/>
                    </a:lnTo>
                    <a:lnTo>
                      <a:pt x="1967" y="1018"/>
                    </a:lnTo>
                    <a:lnTo>
                      <a:pt x="1956" y="1027"/>
                    </a:lnTo>
                    <a:lnTo>
                      <a:pt x="1937" y="1029"/>
                    </a:lnTo>
                    <a:lnTo>
                      <a:pt x="23" y="1029"/>
                    </a:lnTo>
                    <a:lnTo>
                      <a:pt x="17" y="1027"/>
                    </a:lnTo>
                    <a:lnTo>
                      <a:pt x="9" y="1027"/>
                    </a:lnTo>
                    <a:lnTo>
                      <a:pt x="0" y="1027"/>
                    </a:lnTo>
                    <a:lnTo>
                      <a:pt x="48" y="938"/>
                    </a:lnTo>
                    <a:lnTo>
                      <a:pt x="100" y="852"/>
                    </a:lnTo>
                    <a:lnTo>
                      <a:pt x="152" y="767"/>
                    </a:lnTo>
                    <a:lnTo>
                      <a:pt x="210" y="683"/>
                    </a:lnTo>
                    <a:lnTo>
                      <a:pt x="270" y="606"/>
                    </a:lnTo>
                    <a:lnTo>
                      <a:pt x="334" y="531"/>
                    </a:lnTo>
                    <a:lnTo>
                      <a:pt x="404" y="461"/>
                    </a:lnTo>
                    <a:lnTo>
                      <a:pt x="479" y="396"/>
                    </a:lnTo>
                    <a:lnTo>
                      <a:pt x="560" y="336"/>
                    </a:lnTo>
                    <a:lnTo>
                      <a:pt x="647" y="284"/>
                    </a:lnTo>
                    <a:lnTo>
                      <a:pt x="744" y="235"/>
                    </a:lnTo>
                    <a:lnTo>
                      <a:pt x="842" y="195"/>
                    </a:lnTo>
                    <a:lnTo>
                      <a:pt x="941" y="162"/>
                    </a:lnTo>
                    <a:lnTo>
                      <a:pt x="1043" y="133"/>
                    </a:lnTo>
                    <a:lnTo>
                      <a:pt x="1148" y="108"/>
                    </a:lnTo>
                    <a:lnTo>
                      <a:pt x="1320" y="75"/>
                    </a:lnTo>
                    <a:lnTo>
                      <a:pt x="1492" y="50"/>
                    </a:lnTo>
                    <a:lnTo>
                      <a:pt x="1666" y="32"/>
                    </a:lnTo>
                    <a:lnTo>
                      <a:pt x="1842" y="21"/>
                    </a:lnTo>
                    <a:lnTo>
                      <a:pt x="2138" y="9"/>
                    </a:lnTo>
                    <a:lnTo>
                      <a:pt x="2433" y="0"/>
                    </a:lnTo>
                    <a:lnTo>
                      <a:pt x="2451" y="0"/>
                    </a:lnTo>
                    <a:close/>
                  </a:path>
                </a:pathLst>
              </a:custGeom>
              <a:solidFill>
                <a:srgbClr val="0E6B69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it-IT"/>
              </a:p>
            </p:txBody>
          </p:sp>
        </p:grpSp>
      </p:grpSp>
      <p:sp>
        <p:nvSpPr>
          <p:cNvPr id="17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Titolo Calibri 28pt </a:t>
            </a:r>
          </a:p>
        </p:txBody>
      </p:sp>
      <p:sp>
        <p:nvSpPr>
          <p:cNvPr id="19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bg1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/>
              <a:t>Sottotitolo Calibri 22pt</a:t>
            </a:r>
          </a:p>
        </p:txBody>
      </p:sp>
      <p:sp>
        <p:nvSpPr>
          <p:cNvPr id="3" name="Segnaposto testo 2">
            <a:extLst>
              <a:ext uri="{FF2B5EF4-FFF2-40B4-BE49-F238E27FC236}">
                <a16:creationId xmlns:a16="http://schemas.microsoft.com/office/drawing/2014/main" id="{6197E883-74D9-DD49-9664-52FC49ABA78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988" y="1520825"/>
            <a:ext cx="11176000" cy="428466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it-IT"/>
              <a:t>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>
              <a:solidFill>
                <a:schemeClr val="tx2"/>
              </a:solidFill>
            </a:endParaRPr>
          </a:p>
        </p:txBody>
      </p:sp>
      <p:sp>
        <p:nvSpPr>
          <p:cNvPr id="3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</a:p>
        </p:txBody>
      </p:sp>
      <p:sp>
        <p:nvSpPr>
          <p:cNvPr id="3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err="1"/>
              <a:t>Titolo</a:t>
            </a:r>
            <a:r>
              <a:rPr lang="en-GB"/>
              <a:t> </a:t>
            </a:r>
            <a:r>
              <a:rPr lang="en-GB" err="1"/>
              <a:t>presentazione</a:t>
            </a:r>
            <a:r>
              <a:rPr lang="en-GB"/>
              <a:t>   I   Nome </a:t>
            </a:r>
            <a:r>
              <a:rPr lang="en-GB" err="1"/>
              <a:t>relatore</a:t>
            </a:r>
            <a:endParaRPr lang="en-GB"/>
          </a:p>
        </p:txBody>
      </p:sp>
      <p:pic>
        <p:nvPicPr>
          <p:cNvPr id="41" name="Immagine 4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087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ROSSO1_COPY 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2000"/>
          </a:p>
        </p:txBody>
      </p:sp>
      <p:sp>
        <p:nvSpPr>
          <p:cNvPr id="22" name="Rettangolo 21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8170" y="0"/>
            <a:ext cx="4728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23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6074" y="90427"/>
            <a:ext cx="346160" cy="234428"/>
            <a:chOff x="-560" y="-1287"/>
            <a:chExt cx="6379" cy="4320"/>
          </a:xfrm>
        </p:grpSpPr>
        <p:sp>
          <p:nvSpPr>
            <p:cNvPr id="24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5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6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7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8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29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rgbClr val="0E6B69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21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>
                <a:solidFill>
                  <a:schemeClr val="tx2"/>
                </a:solidFill>
              </a:rPr>
              <a:pPr defTabSz="1219170"/>
              <a:t>‹N›</a:t>
            </a:fld>
            <a:endParaRPr lang="it-IT">
              <a:solidFill>
                <a:schemeClr val="tx2"/>
              </a:solidFill>
            </a:endParaRP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10" hasCustomPrompt="1"/>
          </p:nvPr>
        </p:nvSpPr>
        <p:spPr>
          <a:xfrm>
            <a:off x="407988" y="901700"/>
            <a:ext cx="11176000" cy="4903789"/>
          </a:xfrm>
        </p:spPr>
        <p:txBody>
          <a:bodyPr anchor="ctr" anchorCtr="0"/>
          <a:lstStyle>
            <a:lvl1pPr algn="ctr">
              <a:defRPr sz="12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it-IT"/>
              <a:t>Inserire il testo</a:t>
            </a:r>
          </a:p>
        </p:txBody>
      </p:sp>
      <p:sp>
        <p:nvSpPr>
          <p:cNvPr id="16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noFill/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bg1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</a:p>
        </p:txBody>
      </p:sp>
      <p:sp>
        <p:nvSpPr>
          <p:cNvPr id="17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1"/>
                </a:solidFill>
              </a:defRPr>
            </a:lvl1pPr>
          </a:lstStyle>
          <a:p>
            <a:pPr algn="r" defTabSz="1219170"/>
            <a:r>
              <a:rPr lang="en-GB" err="1"/>
              <a:t>Titolo</a:t>
            </a:r>
            <a:r>
              <a:rPr lang="en-GB"/>
              <a:t> </a:t>
            </a:r>
            <a:r>
              <a:rPr lang="en-GB" err="1"/>
              <a:t>presentazione</a:t>
            </a:r>
            <a:r>
              <a:rPr lang="en-GB"/>
              <a:t>   I   Nome </a:t>
            </a:r>
            <a:r>
              <a:rPr lang="en-GB" err="1"/>
              <a:t>relatore</a:t>
            </a:r>
            <a:endParaRPr lang="en-GB"/>
          </a:p>
        </p:txBody>
      </p:sp>
      <p:pic>
        <p:nvPicPr>
          <p:cNvPr id="31" name="Immagine 3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2535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58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olo Sott. e contenuto testo 20p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8F060CD7-CC5C-456C-8692-6917CA25CF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368" y="0"/>
            <a:ext cx="11176620" cy="866367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>
              <a:defRPr lang="it-IT">
                <a:solidFill>
                  <a:schemeClr val="tx2"/>
                </a:solidFill>
              </a:defRPr>
            </a:lvl1pPr>
          </a:lstStyle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30" name="Segnaposto contenuto 2">
            <a:extLst>
              <a:ext uri="{FF2B5EF4-FFF2-40B4-BE49-F238E27FC236}">
                <a16:creationId xmlns:a16="http://schemas.microsoft.com/office/drawing/2014/main" id="{6D2B416D-7B49-44B1-B69F-DA365E602485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407368" y="866367"/>
            <a:ext cx="11176620" cy="390933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>
            <a:lvl1pPr>
              <a:spcBef>
                <a:spcPts val="1200"/>
              </a:spcBef>
              <a:defRPr lang="it-IT" sz="2000" b="1" smtClean="0">
                <a:solidFill>
                  <a:schemeClr val="accent2"/>
                </a:solidFill>
              </a:defRPr>
            </a:lvl1pPr>
            <a:lvl2pPr>
              <a:defRPr lang="it-IT" smtClean="0"/>
            </a:lvl2pPr>
            <a:lvl3pPr>
              <a:defRPr lang="it-IT" smtClean="0"/>
            </a:lvl3pPr>
            <a:lvl4pPr>
              <a:defRPr lang="it-IT" smtClean="0"/>
            </a:lvl4pPr>
            <a:lvl5pPr>
              <a:defRPr lang="it-IT"/>
            </a:lvl5pPr>
          </a:lstStyle>
          <a:p>
            <a:pPr lvl="0"/>
            <a:r>
              <a:rPr lang="it-IT" dirty="0"/>
              <a:t>Sottotitolo Calibri 20pt</a:t>
            </a:r>
          </a:p>
        </p:txBody>
      </p:sp>
      <p:sp>
        <p:nvSpPr>
          <p:cNvPr id="11" name="Segnaposto testo 4">
            <a:extLst>
              <a:ext uri="{FF2B5EF4-FFF2-40B4-BE49-F238E27FC236}">
                <a16:creationId xmlns:a16="http://schemas.microsoft.com/office/drawing/2014/main" id="{E039BC0C-CF88-8949-86AB-999C6D80F16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07367" y="1577975"/>
            <a:ext cx="11176621" cy="4227513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tx2"/>
              </a:buClr>
              <a:buSzPct val="140000"/>
              <a:buFontTx/>
              <a:buNone/>
              <a:defRPr sz="2000"/>
            </a:lvl1pPr>
            <a:lvl2pPr marL="452437" indent="0">
              <a:buClr>
                <a:schemeClr val="tx2"/>
              </a:buClr>
              <a:buSzPct val="140000"/>
              <a:buFontTx/>
              <a:buNone/>
              <a:defRPr sz="1800"/>
            </a:lvl2pPr>
            <a:lvl3pPr marL="895350" indent="0">
              <a:buClr>
                <a:schemeClr val="tx2"/>
              </a:buClr>
              <a:buSzPct val="140000"/>
              <a:buFontTx/>
              <a:buNone/>
              <a:defRPr sz="1600"/>
            </a:lvl3pPr>
            <a:lvl4pPr marL="1343025" indent="0">
              <a:buClr>
                <a:schemeClr val="tx2"/>
              </a:buClr>
              <a:buSzPct val="140000"/>
              <a:buFontTx/>
              <a:buNone/>
              <a:defRPr sz="1400"/>
            </a:lvl4pPr>
            <a:lvl5pPr marL="1795462" indent="0">
              <a:buClr>
                <a:schemeClr val="tx2"/>
              </a:buClr>
              <a:buSzPct val="140000"/>
              <a:buFontTx/>
              <a:buNone/>
              <a:defRPr sz="1200"/>
            </a:lvl5pPr>
          </a:lstStyle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9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10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71923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slideLayout" Target="../slideLayouts/slideLayout149.xml"/><Relationship Id="rId18" Type="http://schemas.openxmlformats.org/officeDocument/2006/relationships/slideLayout" Target="../slideLayouts/slideLayout154.xml"/><Relationship Id="rId3" Type="http://schemas.openxmlformats.org/officeDocument/2006/relationships/slideLayout" Target="../slideLayouts/slideLayout139.xml"/><Relationship Id="rId21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43.xml"/><Relationship Id="rId12" Type="http://schemas.openxmlformats.org/officeDocument/2006/relationships/slideLayout" Target="../slideLayouts/slideLayout148.xml"/><Relationship Id="rId17" Type="http://schemas.openxmlformats.org/officeDocument/2006/relationships/slideLayout" Target="../slideLayouts/slideLayout153.xml"/><Relationship Id="rId2" Type="http://schemas.openxmlformats.org/officeDocument/2006/relationships/slideLayout" Target="../slideLayouts/slideLayout138.xml"/><Relationship Id="rId16" Type="http://schemas.openxmlformats.org/officeDocument/2006/relationships/slideLayout" Target="../slideLayouts/slideLayout152.xml"/><Relationship Id="rId20" Type="http://schemas.openxmlformats.org/officeDocument/2006/relationships/slideLayout" Target="../slideLayouts/slideLayout156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47.xml"/><Relationship Id="rId24" Type="http://schemas.openxmlformats.org/officeDocument/2006/relationships/image" Target="../media/image8.png"/><Relationship Id="rId5" Type="http://schemas.openxmlformats.org/officeDocument/2006/relationships/slideLayout" Target="../slideLayouts/slideLayout141.xml"/><Relationship Id="rId15" Type="http://schemas.openxmlformats.org/officeDocument/2006/relationships/slideLayout" Target="../slideLayouts/slideLayout151.xml"/><Relationship Id="rId23" Type="http://schemas.openxmlformats.org/officeDocument/2006/relationships/theme" Target="../theme/theme10.xml"/><Relationship Id="rId10" Type="http://schemas.openxmlformats.org/officeDocument/2006/relationships/slideLayout" Target="../slideLayouts/slideLayout146.xml"/><Relationship Id="rId19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Relationship Id="rId14" Type="http://schemas.openxmlformats.org/officeDocument/2006/relationships/slideLayout" Target="../slideLayouts/slideLayout150.xml"/><Relationship Id="rId22" Type="http://schemas.openxmlformats.org/officeDocument/2006/relationships/slideLayout" Target="../slideLayouts/slideLayout158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6.xml"/><Relationship Id="rId13" Type="http://schemas.openxmlformats.org/officeDocument/2006/relationships/slideLayout" Target="../slideLayouts/slideLayout171.xml"/><Relationship Id="rId18" Type="http://schemas.openxmlformats.org/officeDocument/2006/relationships/slideLayout" Target="../slideLayouts/slideLayout176.xml"/><Relationship Id="rId3" Type="http://schemas.openxmlformats.org/officeDocument/2006/relationships/slideLayout" Target="../slideLayouts/slideLayout161.xml"/><Relationship Id="rId21" Type="http://schemas.openxmlformats.org/officeDocument/2006/relationships/theme" Target="../theme/theme11.xml"/><Relationship Id="rId7" Type="http://schemas.openxmlformats.org/officeDocument/2006/relationships/slideLayout" Target="../slideLayouts/slideLayout165.xml"/><Relationship Id="rId12" Type="http://schemas.openxmlformats.org/officeDocument/2006/relationships/slideLayout" Target="../slideLayouts/slideLayout170.xml"/><Relationship Id="rId17" Type="http://schemas.openxmlformats.org/officeDocument/2006/relationships/slideLayout" Target="../slideLayouts/slideLayout175.xml"/><Relationship Id="rId2" Type="http://schemas.openxmlformats.org/officeDocument/2006/relationships/slideLayout" Target="../slideLayouts/slideLayout160.xml"/><Relationship Id="rId16" Type="http://schemas.openxmlformats.org/officeDocument/2006/relationships/slideLayout" Target="../slideLayouts/slideLayout174.xml"/><Relationship Id="rId20" Type="http://schemas.openxmlformats.org/officeDocument/2006/relationships/slideLayout" Target="../slideLayouts/slideLayout178.xml"/><Relationship Id="rId1" Type="http://schemas.openxmlformats.org/officeDocument/2006/relationships/slideLayout" Target="../slideLayouts/slideLayout159.xml"/><Relationship Id="rId6" Type="http://schemas.openxmlformats.org/officeDocument/2006/relationships/slideLayout" Target="../slideLayouts/slideLayout164.xml"/><Relationship Id="rId11" Type="http://schemas.openxmlformats.org/officeDocument/2006/relationships/slideLayout" Target="../slideLayouts/slideLayout169.xml"/><Relationship Id="rId5" Type="http://schemas.openxmlformats.org/officeDocument/2006/relationships/slideLayout" Target="../slideLayouts/slideLayout163.xml"/><Relationship Id="rId15" Type="http://schemas.openxmlformats.org/officeDocument/2006/relationships/slideLayout" Target="../slideLayouts/slideLayout173.xml"/><Relationship Id="rId10" Type="http://schemas.openxmlformats.org/officeDocument/2006/relationships/slideLayout" Target="../slideLayouts/slideLayout168.xml"/><Relationship Id="rId19" Type="http://schemas.openxmlformats.org/officeDocument/2006/relationships/slideLayout" Target="../slideLayouts/slideLayout177.xml"/><Relationship Id="rId4" Type="http://schemas.openxmlformats.org/officeDocument/2006/relationships/slideLayout" Target="../slideLayouts/slideLayout162.xml"/><Relationship Id="rId9" Type="http://schemas.openxmlformats.org/officeDocument/2006/relationships/slideLayout" Target="../slideLayouts/slideLayout167.xml"/><Relationship Id="rId14" Type="http://schemas.openxmlformats.org/officeDocument/2006/relationships/slideLayout" Target="../slideLayouts/slideLayout172.xml"/><Relationship Id="rId22" Type="http://schemas.openxmlformats.org/officeDocument/2006/relationships/image" Target="../media/image1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14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25.xml"/><Relationship Id="rId21" Type="http://schemas.openxmlformats.org/officeDocument/2006/relationships/image" Target="../media/image5.png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19" Type="http://schemas.openxmlformats.org/officeDocument/2006/relationships/slideLayout" Target="../slideLayouts/slideLayout41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18" Type="http://schemas.openxmlformats.org/officeDocument/2006/relationships/slideLayout" Target="../slideLayouts/slideLayout59.xml"/><Relationship Id="rId3" Type="http://schemas.openxmlformats.org/officeDocument/2006/relationships/slideLayout" Target="../slideLayouts/slideLayout44.xml"/><Relationship Id="rId21" Type="http://schemas.openxmlformats.org/officeDocument/2006/relationships/theme" Target="../theme/theme5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43.xml"/><Relationship Id="rId16" Type="http://schemas.openxmlformats.org/officeDocument/2006/relationships/slideLayout" Target="../slideLayouts/slideLayout57.xml"/><Relationship Id="rId20" Type="http://schemas.openxmlformats.org/officeDocument/2006/relationships/slideLayout" Target="../slideLayouts/slideLayout61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19" Type="http://schemas.openxmlformats.org/officeDocument/2006/relationships/slideLayout" Target="../slideLayouts/slideLayout60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Relationship Id="rId22" Type="http://schemas.openxmlformats.org/officeDocument/2006/relationships/image" Target="../media/image6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64.xml"/><Relationship Id="rId21" Type="http://schemas.openxmlformats.org/officeDocument/2006/relationships/image" Target="../media/image7.png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80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8.xml"/><Relationship Id="rId13" Type="http://schemas.openxmlformats.org/officeDocument/2006/relationships/slideLayout" Target="../slideLayouts/slideLayout93.xml"/><Relationship Id="rId18" Type="http://schemas.openxmlformats.org/officeDocument/2006/relationships/slideLayout" Target="../slideLayouts/slideLayout98.xml"/><Relationship Id="rId3" Type="http://schemas.openxmlformats.org/officeDocument/2006/relationships/slideLayout" Target="../slideLayouts/slideLayout83.xml"/><Relationship Id="rId7" Type="http://schemas.openxmlformats.org/officeDocument/2006/relationships/slideLayout" Target="../slideLayouts/slideLayout87.xml"/><Relationship Id="rId12" Type="http://schemas.openxmlformats.org/officeDocument/2006/relationships/slideLayout" Target="../slideLayouts/slideLayout92.xml"/><Relationship Id="rId17" Type="http://schemas.openxmlformats.org/officeDocument/2006/relationships/slideLayout" Target="../slideLayouts/slideLayout97.xml"/><Relationship Id="rId2" Type="http://schemas.openxmlformats.org/officeDocument/2006/relationships/slideLayout" Target="../slideLayouts/slideLayout82.xml"/><Relationship Id="rId16" Type="http://schemas.openxmlformats.org/officeDocument/2006/relationships/slideLayout" Target="../slideLayouts/slideLayout96.xml"/><Relationship Id="rId20" Type="http://schemas.openxmlformats.org/officeDocument/2006/relationships/image" Target="../media/image8.png"/><Relationship Id="rId1" Type="http://schemas.openxmlformats.org/officeDocument/2006/relationships/slideLayout" Target="../slideLayouts/slideLayout81.xml"/><Relationship Id="rId6" Type="http://schemas.openxmlformats.org/officeDocument/2006/relationships/slideLayout" Target="../slideLayouts/slideLayout86.xml"/><Relationship Id="rId11" Type="http://schemas.openxmlformats.org/officeDocument/2006/relationships/slideLayout" Target="../slideLayouts/slideLayout91.xml"/><Relationship Id="rId5" Type="http://schemas.openxmlformats.org/officeDocument/2006/relationships/slideLayout" Target="../slideLayouts/slideLayout85.xml"/><Relationship Id="rId15" Type="http://schemas.openxmlformats.org/officeDocument/2006/relationships/slideLayout" Target="../slideLayouts/slideLayout95.xml"/><Relationship Id="rId10" Type="http://schemas.openxmlformats.org/officeDocument/2006/relationships/slideLayout" Target="../slideLayouts/slideLayout90.xml"/><Relationship Id="rId19" Type="http://schemas.openxmlformats.org/officeDocument/2006/relationships/theme" Target="../theme/theme7.xml"/><Relationship Id="rId4" Type="http://schemas.openxmlformats.org/officeDocument/2006/relationships/slideLayout" Target="../slideLayouts/slideLayout84.xml"/><Relationship Id="rId9" Type="http://schemas.openxmlformats.org/officeDocument/2006/relationships/slideLayout" Target="../slideLayouts/slideLayout89.xml"/><Relationship Id="rId14" Type="http://schemas.openxmlformats.org/officeDocument/2006/relationships/slideLayout" Target="../slideLayouts/slideLayout94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01.xml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image" Target="../media/image7.png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108.xml"/><Relationship Id="rId19" Type="http://schemas.openxmlformats.org/officeDocument/2006/relationships/theme" Target="../theme/theme8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4.xml"/><Relationship Id="rId13" Type="http://schemas.openxmlformats.org/officeDocument/2006/relationships/slideLayout" Target="../slideLayouts/slideLayout129.xml"/><Relationship Id="rId18" Type="http://schemas.openxmlformats.org/officeDocument/2006/relationships/slideLayout" Target="../slideLayouts/slideLayout134.xml"/><Relationship Id="rId3" Type="http://schemas.openxmlformats.org/officeDocument/2006/relationships/slideLayout" Target="../slideLayouts/slideLayout119.xml"/><Relationship Id="rId21" Type="http://schemas.openxmlformats.org/officeDocument/2006/relationships/theme" Target="../theme/theme9.xml"/><Relationship Id="rId7" Type="http://schemas.openxmlformats.org/officeDocument/2006/relationships/slideLayout" Target="../slideLayouts/slideLayout123.xml"/><Relationship Id="rId12" Type="http://schemas.openxmlformats.org/officeDocument/2006/relationships/slideLayout" Target="../slideLayouts/slideLayout128.xml"/><Relationship Id="rId17" Type="http://schemas.openxmlformats.org/officeDocument/2006/relationships/slideLayout" Target="../slideLayouts/slideLayout133.xml"/><Relationship Id="rId25" Type="http://schemas.openxmlformats.org/officeDocument/2006/relationships/image" Target="../media/image10.emf"/><Relationship Id="rId2" Type="http://schemas.openxmlformats.org/officeDocument/2006/relationships/slideLayout" Target="../slideLayouts/slideLayout118.xml"/><Relationship Id="rId16" Type="http://schemas.openxmlformats.org/officeDocument/2006/relationships/slideLayout" Target="../slideLayouts/slideLayout132.xml"/><Relationship Id="rId20" Type="http://schemas.openxmlformats.org/officeDocument/2006/relationships/slideLayout" Target="../slideLayouts/slideLayout136.xml"/><Relationship Id="rId1" Type="http://schemas.openxmlformats.org/officeDocument/2006/relationships/slideLayout" Target="../slideLayouts/slideLayout117.xml"/><Relationship Id="rId6" Type="http://schemas.openxmlformats.org/officeDocument/2006/relationships/slideLayout" Target="../slideLayouts/slideLayout122.xml"/><Relationship Id="rId11" Type="http://schemas.openxmlformats.org/officeDocument/2006/relationships/slideLayout" Target="../slideLayouts/slideLayout127.xml"/><Relationship Id="rId24" Type="http://schemas.openxmlformats.org/officeDocument/2006/relationships/image" Target="../media/image9.emf"/><Relationship Id="rId5" Type="http://schemas.openxmlformats.org/officeDocument/2006/relationships/slideLayout" Target="../slideLayouts/slideLayout121.xml"/><Relationship Id="rId15" Type="http://schemas.openxmlformats.org/officeDocument/2006/relationships/slideLayout" Target="../slideLayouts/slideLayout131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26.xml"/><Relationship Id="rId19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0.xml"/><Relationship Id="rId9" Type="http://schemas.openxmlformats.org/officeDocument/2006/relationships/slideLayout" Target="../slideLayouts/slideLayout125.xml"/><Relationship Id="rId14" Type="http://schemas.openxmlformats.org/officeDocument/2006/relationships/slideLayout" Target="../slideLayouts/slideLayout130.xml"/><Relationship Id="rId22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6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Immagine 17"/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28282" y="4032501"/>
            <a:ext cx="11908093" cy="2120669"/>
          </a:xfrm>
          <a:prstGeom prst="rect">
            <a:avLst/>
          </a:prstGeom>
        </p:spPr>
      </p:pic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3" name="MSIPCMContentMarking" descr="{&quot;HashCode&quot;:817245865,&quot;Placement&quot;:&quot;Footer&quot;}"/>
          <p:cNvSpPr txBox="1"/>
          <p:nvPr userDrawn="1"/>
        </p:nvSpPr>
        <p:spPr>
          <a:xfrm>
            <a:off x="5370580" y="6595656"/>
            <a:ext cx="145084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Informazione pubblica</a:t>
            </a:r>
          </a:p>
        </p:txBody>
      </p:sp>
    </p:spTree>
    <p:extLst>
      <p:ext uri="{BB962C8B-B14F-4D97-AF65-F5344CB8AC3E}">
        <p14:creationId xmlns:p14="http://schemas.microsoft.com/office/powerpoint/2010/main" val="2538451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/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pic>
        <p:nvPicPr>
          <p:cNvPr id="26" name="Immagine 25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699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7" r:id="rId2"/>
    <p:sldLayoutId id="2147483818" r:id="rId3"/>
    <p:sldLayoutId id="2147483819" r:id="rId4"/>
    <p:sldLayoutId id="2147483820" r:id="rId5"/>
    <p:sldLayoutId id="2147483821" r:id="rId6"/>
    <p:sldLayoutId id="2147483822" r:id="rId7"/>
    <p:sldLayoutId id="2147483823" r:id="rId8"/>
    <p:sldLayoutId id="2147483824" r:id="rId9"/>
    <p:sldLayoutId id="2147483825" r:id="rId10"/>
    <p:sldLayoutId id="2147483826" r:id="rId11"/>
    <p:sldLayoutId id="2147483827" r:id="rId12"/>
    <p:sldLayoutId id="2147483828" r:id="rId13"/>
    <p:sldLayoutId id="2147483829" r:id="rId14"/>
    <p:sldLayoutId id="2147483830" r:id="rId15"/>
    <p:sldLayoutId id="2147483831" r:id="rId16"/>
    <p:sldLayoutId id="2147483832" r:id="rId17"/>
    <p:sldLayoutId id="2147483833" r:id="rId18"/>
    <p:sldLayoutId id="2147483834" r:id="rId19"/>
    <p:sldLayoutId id="2147483835" r:id="rId20"/>
    <p:sldLayoutId id="2147483837" r:id="rId21"/>
    <p:sldLayoutId id="2147483838" r:id="rId22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/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pic>
        <p:nvPicPr>
          <p:cNvPr id="26" name="Immagine 25"/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1"/>
          </a:xfrm>
          <a:prstGeom prst="rect">
            <a:avLst/>
          </a:prstGeom>
        </p:spPr>
      </p:pic>
      <p:sp>
        <p:nvSpPr>
          <p:cNvPr id="2" name="MSIPCMContentMarking" descr="{&quot;HashCode&quot;:-382466809,&quot;Placement&quot;:&quot;Footer&quot;,&quot;Top&quot;:519.343,&quot;Left&quot;:355.551178,&quot;SlideWidth&quot;:960,&quot;SlideHeight&quot;:540}"/>
          <p:cNvSpPr txBox="1"/>
          <p:nvPr userDrawn="1"/>
        </p:nvSpPr>
        <p:spPr>
          <a:xfrm>
            <a:off x="4515500" y="6595656"/>
            <a:ext cx="3160999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1000">
                <a:solidFill>
                  <a:srgbClr val="000000"/>
                </a:solidFill>
                <a:latin typeface="Calibri" panose="020F0502020204030204" pitchFamily="34" charset="0"/>
              </a:rPr>
              <a:t>Informazione ad uso interno - Internal use information</a:t>
            </a:r>
          </a:p>
        </p:txBody>
      </p:sp>
    </p:spTree>
    <p:extLst>
      <p:ext uri="{BB962C8B-B14F-4D97-AF65-F5344CB8AC3E}">
        <p14:creationId xmlns:p14="http://schemas.microsoft.com/office/powerpoint/2010/main" val="2264331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0" r:id="rId1"/>
    <p:sldLayoutId id="2147483841" r:id="rId2"/>
    <p:sldLayoutId id="2147483842" r:id="rId3"/>
    <p:sldLayoutId id="2147483843" r:id="rId4"/>
    <p:sldLayoutId id="2147483844" r:id="rId5"/>
    <p:sldLayoutId id="2147483845" r:id="rId6"/>
    <p:sldLayoutId id="2147483846" r:id="rId7"/>
    <p:sldLayoutId id="2147483847" r:id="rId8"/>
    <p:sldLayoutId id="2147483848" r:id="rId9"/>
    <p:sldLayoutId id="2147483849" r:id="rId10"/>
    <p:sldLayoutId id="2147483850" r:id="rId11"/>
    <p:sldLayoutId id="2147483851" r:id="rId12"/>
    <p:sldLayoutId id="2147483852" r:id="rId13"/>
    <p:sldLayoutId id="2147483853" r:id="rId14"/>
    <p:sldLayoutId id="2147483854" r:id="rId15"/>
    <p:sldLayoutId id="2147483855" r:id="rId16"/>
    <p:sldLayoutId id="2147483856" r:id="rId17"/>
    <p:sldLayoutId id="2147483857" r:id="rId18"/>
    <p:sldLayoutId id="2147483858" r:id="rId19"/>
    <p:sldLayoutId id="2147483859" r:id="rId20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Immagine 19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28282" y="4032501"/>
            <a:ext cx="11908093" cy="2120669"/>
          </a:xfrm>
          <a:prstGeom prst="rect">
            <a:avLst/>
          </a:prstGeom>
        </p:spPr>
      </p:pic>
      <p:sp>
        <p:nvSpPr>
          <p:cNvPr id="18" name="Rettangolo 17"/>
          <p:cNvSpPr/>
          <p:nvPr userDrawn="1"/>
        </p:nvSpPr>
        <p:spPr>
          <a:xfrm>
            <a:off x="-40456" y="3429000"/>
            <a:ext cx="12232455" cy="3429000"/>
          </a:xfrm>
          <a:prstGeom prst="rect">
            <a:avLst/>
          </a:prstGeom>
          <a:solidFill>
            <a:schemeClr val="bg1">
              <a:lumMod val="85000"/>
              <a:alpha val="6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19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/>
          </a:p>
        </p:txBody>
      </p:sp>
      <p:sp>
        <p:nvSpPr>
          <p:cNvPr id="3" name="MSIPCMContentMarking" descr="{&quot;HashCode&quot;:817245865,&quot;Placement&quot;:&quot;Footer&quot;}"/>
          <p:cNvSpPr txBox="1"/>
          <p:nvPr userDrawn="1"/>
        </p:nvSpPr>
        <p:spPr>
          <a:xfrm>
            <a:off x="5370580" y="6595656"/>
            <a:ext cx="145084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Informazione pubblica</a:t>
            </a:r>
          </a:p>
        </p:txBody>
      </p:sp>
    </p:spTree>
    <p:extLst>
      <p:ext uri="{BB962C8B-B14F-4D97-AF65-F5344CB8AC3E}">
        <p14:creationId xmlns:p14="http://schemas.microsoft.com/office/powerpoint/2010/main" val="23537597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/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pic>
        <p:nvPicPr>
          <p:cNvPr id="26" name="Immagine 25"/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1"/>
          </a:xfrm>
          <a:prstGeom prst="rect">
            <a:avLst/>
          </a:prstGeom>
        </p:spPr>
      </p:pic>
      <p:sp>
        <p:nvSpPr>
          <p:cNvPr id="3" name="MSIPCMContentMarking" descr="{&quot;HashCode&quot;:817245865,&quot;Placement&quot;:&quot;Footer&quot;}"/>
          <p:cNvSpPr txBox="1"/>
          <p:nvPr userDrawn="1"/>
        </p:nvSpPr>
        <p:spPr>
          <a:xfrm>
            <a:off x="5370580" y="6595656"/>
            <a:ext cx="145084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Informazione pubblica</a:t>
            </a:r>
          </a:p>
        </p:txBody>
      </p:sp>
    </p:spTree>
    <p:extLst>
      <p:ext uri="{BB962C8B-B14F-4D97-AF65-F5344CB8AC3E}">
        <p14:creationId xmlns:p14="http://schemas.microsoft.com/office/powerpoint/2010/main" val="8207299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it-IT" sz="1800">
              <a:solidFill>
                <a:srgbClr val="FFFFFF"/>
              </a:solidFill>
            </a:endParaRPr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it-IT" sz="180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it-IT" sz="180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it-IT" sz="180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it-IT" sz="180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it-IT" sz="180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it-IT" sz="1800">
                <a:solidFill>
                  <a:srgbClr val="000000"/>
                </a:solidFill>
                <a:latin typeface="Calibri" panose="020F0502020204030204"/>
              </a:endParaRPr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1" y="6495907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40" fontAlgn="auto">
              <a:spcBef>
                <a:spcPts val="0"/>
              </a:spcBef>
              <a:spcAft>
                <a:spcPts val="0"/>
              </a:spcAft>
            </a:pPr>
            <a:fld id="{B9D7DBFB-DCE9-42BC-A361-A0671D12ADFC}" type="slidenum">
              <a:rPr lang="it-IT" sz="1000">
                <a:solidFill>
                  <a:srgbClr val="FFFFFF"/>
                </a:solidFill>
              </a:rPr>
              <a:pPr defTabSz="1219140" fontAlgn="auto">
                <a:spcBef>
                  <a:spcPts val="0"/>
                </a:spcBef>
                <a:spcAft>
                  <a:spcPts val="0"/>
                </a:spcAft>
              </a:pPr>
              <a:t>‹N›</a:t>
            </a:fld>
            <a:endParaRPr lang="it-IT" sz="1000">
              <a:solidFill>
                <a:srgbClr val="FFFFFF"/>
              </a:solidFill>
            </a:endParaRPr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1"/>
            <a:ext cx="11164887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1" y="6414803"/>
            <a:ext cx="1210267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40"/>
            <a:r>
              <a:rPr lang="it-IT">
                <a:solidFill>
                  <a:srgbClr val="DC002E"/>
                </a:solidFill>
              </a:rPr>
              <a:t>Formato data GG/MM/AAAA</a:t>
            </a:r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8" y="6551997"/>
            <a:ext cx="8465703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40"/>
            <a:r>
              <a:rPr lang="en-GB">
                <a:solidFill>
                  <a:srgbClr val="717073"/>
                </a:solidFill>
              </a:rPr>
              <a:t>Titolo presentazione   </a:t>
            </a:r>
            <a:r>
              <a:rPr lang="en-GB">
                <a:solidFill>
                  <a:srgbClr val="DC002E"/>
                </a:solidFill>
              </a:rPr>
              <a:t>I</a:t>
            </a:r>
            <a:r>
              <a:rPr lang="en-GB">
                <a:solidFill>
                  <a:srgbClr val="717073"/>
                </a:solidFill>
              </a:rPr>
              <a:t>   Nome relatore</a:t>
            </a:r>
          </a:p>
        </p:txBody>
      </p:sp>
      <p:pic>
        <p:nvPicPr>
          <p:cNvPr id="26" name="Immagine 25"/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9" y="6300561"/>
            <a:ext cx="1745747" cy="358881"/>
          </a:xfrm>
          <a:prstGeom prst="rect">
            <a:avLst/>
          </a:prstGeom>
        </p:spPr>
      </p:pic>
      <p:sp>
        <p:nvSpPr>
          <p:cNvPr id="2" name="MSIPCMContentMarking" descr="{&quot;HashCode&quot;:817245865,&quot;Placement&quot;:&quot;Footer&quot;}"/>
          <p:cNvSpPr txBox="1"/>
          <p:nvPr userDrawn="1"/>
        </p:nvSpPr>
        <p:spPr>
          <a:xfrm>
            <a:off x="5370580" y="6595656"/>
            <a:ext cx="145084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1000">
                <a:solidFill>
                  <a:srgbClr val="000000"/>
                </a:solidFill>
                <a:latin typeface="Calibri" panose="020F0502020204030204" pitchFamily="34" charset="0"/>
              </a:rPr>
              <a:t>Informazione pubblica</a:t>
            </a:r>
          </a:p>
        </p:txBody>
      </p:sp>
    </p:spTree>
    <p:extLst>
      <p:ext uri="{BB962C8B-B14F-4D97-AF65-F5344CB8AC3E}">
        <p14:creationId xmlns:p14="http://schemas.microsoft.com/office/powerpoint/2010/main" val="24875912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  <p:sldLayoutId id="2147483704" r:id="rId18"/>
    <p:sldLayoutId id="2147483705" r:id="rId19"/>
  </p:sldLayoutIdLst>
  <p:hf sldNum="0" hdr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indent="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31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indent="0" algn="l" defTabSz="71435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indent="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indent="0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/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pic>
        <p:nvPicPr>
          <p:cNvPr id="26" name="Immagine 25"/>
          <p:cNvPicPr>
            <a:picLocks noChangeAspect="1"/>
          </p:cNvPicPr>
          <p:nvPr userDrawn="1"/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1"/>
          </a:xfrm>
          <a:prstGeom prst="rect">
            <a:avLst/>
          </a:prstGeom>
        </p:spPr>
      </p:pic>
      <p:sp>
        <p:nvSpPr>
          <p:cNvPr id="3" name="MSIPCMContentMarking" descr="{&quot;HashCode&quot;:-8838709,&quot;Placement&quot;:&quot;Footer&quot;}"/>
          <p:cNvSpPr txBox="1"/>
          <p:nvPr userDrawn="1"/>
        </p:nvSpPr>
        <p:spPr>
          <a:xfrm>
            <a:off x="5211861" y="6595656"/>
            <a:ext cx="176827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Informazione ad uso interno</a:t>
            </a:r>
          </a:p>
        </p:txBody>
      </p:sp>
    </p:spTree>
    <p:extLst>
      <p:ext uri="{BB962C8B-B14F-4D97-AF65-F5344CB8AC3E}">
        <p14:creationId xmlns:p14="http://schemas.microsoft.com/office/powerpoint/2010/main" val="892626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  <p:sldLayoutId id="2147483719" r:id="rId10"/>
    <p:sldLayoutId id="2147483720" r:id="rId11"/>
    <p:sldLayoutId id="2147483721" r:id="rId12"/>
    <p:sldLayoutId id="2147483722" r:id="rId13"/>
    <p:sldLayoutId id="2147483723" r:id="rId14"/>
    <p:sldLayoutId id="2147483724" r:id="rId15"/>
    <p:sldLayoutId id="2147483725" r:id="rId16"/>
    <p:sldLayoutId id="2147483726" r:id="rId17"/>
    <p:sldLayoutId id="2147483727" r:id="rId18"/>
    <p:sldLayoutId id="2147483728" r:id="rId19"/>
    <p:sldLayoutId id="2147483729" r:id="rId20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/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pic>
        <p:nvPicPr>
          <p:cNvPr id="26" name="Immagine 25"/>
          <p:cNvPicPr>
            <a:picLocks noChangeAspect="1"/>
          </p:cNvPicPr>
          <p:nvPr userDrawn="1"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1"/>
          </a:xfrm>
          <a:prstGeom prst="rect">
            <a:avLst/>
          </a:prstGeom>
        </p:spPr>
      </p:pic>
      <p:sp>
        <p:nvSpPr>
          <p:cNvPr id="2" name="MSIPCMContentMarking" descr="{&quot;HashCode&quot;:-8838709,&quot;Placement&quot;:&quot;Footer&quot;}"/>
          <p:cNvSpPr txBox="1"/>
          <p:nvPr userDrawn="1"/>
        </p:nvSpPr>
        <p:spPr>
          <a:xfrm>
            <a:off x="5211861" y="6595656"/>
            <a:ext cx="176827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1000">
                <a:solidFill>
                  <a:srgbClr val="000000"/>
                </a:solidFill>
                <a:latin typeface="Calibri" panose="020F0502020204030204" pitchFamily="34" charset="0"/>
              </a:rPr>
              <a:t>Informazione ad uso interno</a:t>
            </a:r>
          </a:p>
        </p:txBody>
      </p:sp>
    </p:spTree>
    <p:extLst>
      <p:ext uri="{BB962C8B-B14F-4D97-AF65-F5344CB8AC3E}">
        <p14:creationId xmlns:p14="http://schemas.microsoft.com/office/powerpoint/2010/main" val="30548012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1" r:id="rId1"/>
    <p:sldLayoutId id="2147483732" r:id="rId2"/>
    <p:sldLayoutId id="2147483733" r:id="rId3"/>
    <p:sldLayoutId id="2147483734" r:id="rId4"/>
    <p:sldLayoutId id="2147483735" r:id="rId5"/>
    <p:sldLayoutId id="2147483736" r:id="rId6"/>
    <p:sldLayoutId id="2147483737" r:id="rId7"/>
    <p:sldLayoutId id="2147483738" r:id="rId8"/>
    <p:sldLayoutId id="2147483739" r:id="rId9"/>
    <p:sldLayoutId id="2147483740" r:id="rId10"/>
    <p:sldLayoutId id="2147483741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71" r:id="rId19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/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/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  <p:pic>
        <p:nvPicPr>
          <p:cNvPr id="26" name="Immagine 25"/>
          <p:cNvPicPr>
            <a:picLocks noChangeAspect="1"/>
          </p:cNvPicPr>
          <p:nvPr userDrawn="1"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1"/>
          </a:xfrm>
          <a:prstGeom prst="rect">
            <a:avLst/>
          </a:prstGeom>
        </p:spPr>
      </p:pic>
      <p:sp>
        <p:nvSpPr>
          <p:cNvPr id="2" name="MSIPCMContentMarking" descr="{&quot;HashCode&quot;:-8838709,&quot;Placement&quot;:&quot;Footer&quot;}"/>
          <p:cNvSpPr txBox="1"/>
          <p:nvPr userDrawn="1"/>
        </p:nvSpPr>
        <p:spPr>
          <a:xfrm>
            <a:off x="5211861" y="6595656"/>
            <a:ext cx="176827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it-IT" sz="1000">
                <a:solidFill>
                  <a:srgbClr val="000000"/>
                </a:solidFill>
                <a:latin typeface="Calibri" panose="020F0502020204030204" pitchFamily="34" charset="0"/>
              </a:rPr>
              <a:t>Informazione ad uso interno</a:t>
            </a:r>
          </a:p>
        </p:txBody>
      </p:sp>
    </p:spTree>
    <p:extLst>
      <p:ext uri="{BB962C8B-B14F-4D97-AF65-F5344CB8AC3E}">
        <p14:creationId xmlns:p14="http://schemas.microsoft.com/office/powerpoint/2010/main" val="2531141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51" r:id="rId2"/>
    <p:sldLayoutId id="2147483752" r:id="rId3"/>
    <p:sldLayoutId id="2147483753" r:id="rId4"/>
    <p:sldLayoutId id="2147483754" r:id="rId5"/>
    <p:sldLayoutId id="2147483755" r:id="rId6"/>
    <p:sldLayoutId id="2147483756" r:id="rId7"/>
    <p:sldLayoutId id="2147483757" r:id="rId8"/>
    <p:sldLayoutId id="2147483758" r:id="rId9"/>
    <p:sldLayoutId id="2147483759" r:id="rId10"/>
    <p:sldLayoutId id="2147483760" r:id="rId11"/>
    <p:sldLayoutId id="2147483761" r:id="rId12"/>
    <p:sldLayoutId id="2147483762" r:id="rId13"/>
    <p:sldLayoutId id="2147483763" r:id="rId14"/>
    <p:sldLayoutId id="2147483764" r:id="rId15"/>
    <p:sldLayoutId id="2147483765" r:id="rId16"/>
    <p:sldLayoutId id="2147483766" r:id="rId17"/>
    <p:sldLayoutId id="2147483767" r:id="rId18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2" y="0"/>
            <a:ext cx="472888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16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/>
            </a:p>
          </p:txBody>
        </p:sp>
      </p:grpSp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70" y="6495906"/>
            <a:ext cx="472888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170"/>
            <a:fld id="{B9D7DBFB-DCE9-42BC-A361-A0671D12ADFC}" type="slidenum">
              <a:rPr lang="it-IT" smtClean="0"/>
              <a:pPr defTabSz="1219170"/>
              <a:t>‹N›</a:t>
            </a:fld>
            <a:endParaRPr lang="it-IT" dirty="0"/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0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6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dirty="0"/>
              <a:t>Testo Calibri 20pt</a:t>
            </a:r>
          </a:p>
          <a:p>
            <a:pPr lvl="1"/>
            <a:r>
              <a:rPr lang="it-IT" dirty="0"/>
              <a:t>Secondo livello 18pt</a:t>
            </a:r>
          </a:p>
          <a:p>
            <a:pPr lvl="2"/>
            <a:r>
              <a:rPr lang="it-IT" dirty="0"/>
              <a:t>Terzo livello 16pt</a:t>
            </a:r>
          </a:p>
          <a:p>
            <a:pPr lvl="3"/>
            <a:r>
              <a:rPr lang="it-IT" dirty="0"/>
              <a:t>Quarto livello 14pt</a:t>
            </a:r>
          </a:p>
          <a:p>
            <a:pPr lvl="4"/>
            <a:r>
              <a:rPr lang="it-IT" dirty="0"/>
              <a:t>Quinto livello 12pt</a:t>
            </a:r>
          </a:p>
        </p:txBody>
      </p:sp>
      <p:sp>
        <p:nvSpPr>
          <p:cNvPr id="2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1093469" y="6414801"/>
            <a:ext cx="490519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170"/>
            <a:r>
              <a:rPr lang="it-IT"/>
              <a:t>Formato data GG/MM/AAAA</a:t>
            </a:r>
            <a:endParaRPr lang="en-GB" dirty="0"/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57" y="6551995"/>
            <a:ext cx="8465702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170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  <a:endParaRPr lang="en-GB" dirty="0"/>
          </a:p>
        </p:txBody>
      </p:sp>
      <p:pic>
        <p:nvPicPr>
          <p:cNvPr id="26" name="Immagine 25"/>
          <p:cNvPicPr>
            <a:picLocks noChangeAspect="1"/>
          </p:cNvPicPr>
          <p:nvPr userDrawn="1"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7988" y="6300559"/>
            <a:ext cx="1745747" cy="3588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2561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78" r:id="rId3"/>
    <p:sldLayoutId id="2147483779" r:id="rId4"/>
    <p:sldLayoutId id="2147483780" r:id="rId5"/>
    <p:sldLayoutId id="2147483781" r:id="rId6"/>
    <p:sldLayoutId id="2147483782" r:id="rId7"/>
    <p:sldLayoutId id="2147483783" r:id="rId8"/>
    <p:sldLayoutId id="2147483784" r:id="rId9"/>
    <p:sldLayoutId id="2147483785" r:id="rId10"/>
    <p:sldLayoutId id="2147483786" r:id="rId11"/>
    <p:sldLayoutId id="2147483787" r:id="rId12"/>
    <p:sldLayoutId id="2147483788" r:id="rId13"/>
    <p:sldLayoutId id="2147483789" r:id="rId14"/>
    <p:sldLayoutId id="2147483790" r:id="rId15"/>
    <p:sldLayoutId id="2147483791" r:id="rId16"/>
    <p:sldLayoutId id="2147483792" r:id="rId17"/>
    <p:sldLayoutId id="2147483793" r:id="rId18"/>
  </p:sldLayoutIdLst>
  <p:hf sldNum="0"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50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0" algn="l" defTabSz="71437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7">
          <p15:clr>
            <a:srgbClr val="F26B43"/>
          </p15:clr>
        </p15:guide>
        <p15:guide id="6" pos="257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1B47680-60C6-46D2-BF28-CFDECDEAED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13631267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3" imgW="347" imgH="348" progId="TCLayout.ActiveDocument.1">
                  <p:embed/>
                </p:oleObj>
              </mc:Choice>
              <mc:Fallback>
                <p:oleObj name="Diapositiva think-cell" r:id="rId23" imgW="347" imgH="348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1B47680-60C6-46D2-BF28-CFDECDEAED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ttangolo 9">
            <a:extLst>
              <a:ext uri="{FF2B5EF4-FFF2-40B4-BE49-F238E27FC236}">
                <a16:creationId xmlns:a16="http://schemas.microsoft.com/office/drawing/2014/main" id="{7466584B-8BD1-48B2-BD0C-DC7DD5380BEF}"/>
              </a:ext>
            </a:extLst>
          </p:cNvPr>
          <p:cNvSpPr/>
          <p:nvPr userDrawn="1"/>
        </p:nvSpPr>
        <p:spPr>
          <a:xfrm>
            <a:off x="11719111" y="0"/>
            <a:ext cx="472889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801"/>
          </a:p>
        </p:txBody>
      </p:sp>
      <p:grpSp>
        <p:nvGrpSpPr>
          <p:cNvPr id="11" name="Group 4">
            <a:extLst>
              <a:ext uri="{FF2B5EF4-FFF2-40B4-BE49-F238E27FC236}">
                <a16:creationId xmlns:a16="http://schemas.microsoft.com/office/drawing/2014/main" id="{E93527B5-7425-47AC-89C0-2B32AE601683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11787021" y="90427"/>
            <a:ext cx="346160" cy="234428"/>
            <a:chOff x="-560" y="-1287"/>
            <a:chExt cx="6379" cy="4320"/>
          </a:xfrm>
        </p:grpSpPr>
        <p:sp>
          <p:nvSpPr>
            <p:cNvPr id="12" name="AutoShape 3">
              <a:extLst>
                <a:ext uri="{FF2B5EF4-FFF2-40B4-BE49-F238E27FC236}">
                  <a16:creationId xmlns:a16="http://schemas.microsoft.com/office/drawing/2014/main" id="{85DBAE22-A53B-46F6-A1C2-9F9E40807B3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 sz="1801"/>
            </a:p>
          </p:txBody>
        </p:sp>
        <p:sp>
          <p:nvSpPr>
            <p:cNvPr id="13" name="Rectangle 5">
              <a:extLst>
                <a:ext uri="{FF2B5EF4-FFF2-40B4-BE49-F238E27FC236}">
                  <a16:creationId xmlns:a16="http://schemas.microsoft.com/office/drawing/2014/main" id="{B355A452-2788-4C68-9C15-CC51FD59A8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60" y="-1287"/>
              <a:ext cx="6379" cy="4320"/>
            </a:xfrm>
            <a:prstGeom prst="rect">
              <a:avLst/>
            </a:prstGeom>
            <a:noFill/>
            <a:ln w="0">
              <a:noFill/>
              <a:prstDash val="solid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 sz="1801"/>
            </a:p>
          </p:txBody>
        </p:sp>
        <p:sp>
          <p:nvSpPr>
            <p:cNvPr id="14" name="Freeform 6">
              <a:extLst>
                <a:ext uri="{FF2B5EF4-FFF2-40B4-BE49-F238E27FC236}">
                  <a16:creationId xmlns:a16="http://schemas.microsoft.com/office/drawing/2014/main" id="{B83AE660-1A7F-4C22-9AF1-535B2E94E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-560" y="423"/>
              <a:ext cx="5536" cy="2610"/>
            </a:xfrm>
            <a:custGeom>
              <a:avLst/>
              <a:gdLst>
                <a:gd name="T0" fmla="*/ 5536 w 5536"/>
                <a:gd name="T1" fmla="*/ 0 h 2610"/>
                <a:gd name="T2" fmla="*/ 5470 w 5536"/>
                <a:gd name="T3" fmla="*/ 127 h 2610"/>
                <a:gd name="T4" fmla="*/ 5449 w 5536"/>
                <a:gd name="T5" fmla="*/ 139 h 2610"/>
                <a:gd name="T6" fmla="*/ 5061 w 5536"/>
                <a:gd name="T7" fmla="*/ 164 h 2610"/>
                <a:gd name="T8" fmla="*/ 4881 w 5536"/>
                <a:gd name="T9" fmla="*/ 189 h 2610"/>
                <a:gd name="T10" fmla="*/ 4722 w 5536"/>
                <a:gd name="T11" fmla="*/ 247 h 2610"/>
                <a:gd name="T12" fmla="*/ 4585 w 5536"/>
                <a:gd name="T13" fmla="*/ 336 h 2610"/>
                <a:gd name="T14" fmla="*/ 4471 w 5536"/>
                <a:gd name="T15" fmla="*/ 460 h 2610"/>
                <a:gd name="T16" fmla="*/ 4380 w 5536"/>
                <a:gd name="T17" fmla="*/ 618 h 2610"/>
                <a:gd name="T18" fmla="*/ 4338 w 5536"/>
                <a:gd name="T19" fmla="*/ 757 h 2610"/>
                <a:gd name="T20" fmla="*/ 4318 w 5536"/>
                <a:gd name="T21" fmla="*/ 902 h 2610"/>
                <a:gd name="T22" fmla="*/ 4305 w 5536"/>
                <a:gd name="T23" fmla="*/ 1107 h 2610"/>
                <a:gd name="T24" fmla="*/ 4278 w 5536"/>
                <a:gd name="T25" fmla="*/ 1312 h 2610"/>
                <a:gd name="T26" fmla="*/ 4208 w 5536"/>
                <a:gd name="T27" fmla="*/ 1538 h 2610"/>
                <a:gd name="T28" fmla="*/ 4100 w 5536"/>
                <a:gd name="T29" fmla="*/ 1768 h 2610"/>
                <a:gd name="T30" fmla="*/ 3963 w 5536"/>
                <a:gd name="T31" fmla="*/ 1971 h 2610"/>
                <a:gd name="T32" fmla="*/ 3800 w 5536"/>
                <a:gd name="T33" fmla="*/ 2146 h 2610"/>
                <a:gd name="T34" fmla="*/ 3609 w 5536"/>
                <a:gd name="T35" fmla="*/ 2293 h 2610"/>
                <a:gd name="T36" fmla="*/ 3391 w 5536"/>
                <a:gd name="T37" fmla="*/ 2413 h 2610"/>
                <a:gd name="T38" fmla="*/ 3145 w 5536"/>
                <a:gd name="T39" fmla="*/ 2504 h 2610"/>
                <a:gd name="T40" fmla="*/ 2911 w 5536"/>
                <a:gd name="T41" fmla="*/ 2552 h 2610"/>
                <a:gd name="T42" fmla="*/ 2671 w 5536"/>
                <a:gd name="T43" fmla="*/ 2585 h 2610"/>
                <a:gd name="T44" fmla="*/ 2378 w 5536"/>
                <a:gd name="T45" fmla="*/ 2608 h 2610"/>
                <a:gd name="T46" fmla="*/ 2084 w 5536"/>
                <a:gd name="T47" fmla="*/ 2608 h 2610"/>
                <a:gd name="T48" fmla="*/ 54 w 5536"/>
                <a:gd name="T49" fmla="*/ 2608 h 2610"/>
                <a:gd name="T50" fmla="*/ 0 w 5536"/>
                <a:gd name="T51" fmla="*/ 2608 h 2610"/>
                <a:gd name="T52" fmla="*/ 64 w 5536"/>
                <a:gd name="T53" fmla="*/ 2477 h 2610"/>
                <a:gd name="T54" fmla="*/ 93 w 5536"/>
                <a:gd name="T55" fmla="*/ 2436 h 2610"/>
                <a:gd name="T56" fmla="*/ 143 w 5536"/>
                <a:gd name="T57" fmla="*/ 2426 h 2610"/>
                <a:gd name="T58" fmla="*/ 1098 w 5536"/>
                <a:gd name="T59" fmla="*/ 2419 h 2610"/>
                <a:gd name="T60" fmla="*/ 1469 w 5536"/>
                <a:gd name="T61" fmla="*/ 2396 h 2610"/>
                <a:gd name="T62" fmla="*/ 1753 w 5536"/>
                <a:gd name="T63" fmla="*/ 2368 h 2610"/>
                <a:gd name="T64" fmla="*/ 1947 w 5536"/>
                <a:gd name="T65" fmla="*/ 2336 h 2610"/>
                <a:gd name="T66" fmla="*/ 2155 w 5536"/>
                <a:gd name="T67" fmla="*/ 2268 h 2610"/>
                <a:gd name="T68" fmla="*/ 2362 w 5536"/>
                <a:gd name="T69" fmla="*/ 2162 h 2610"/>
                <a:gd name="T70" fmla="*/ 2540 w 5536"/>
                <a:gd name="T71" fmla="*/ 2028 h 2610"/>
                <a:gd name="T72" fmla="*/ 2687 w 5536"/>
                <a:gd name="T73" fmla="*/ 1866 h 2610"/>
                <a:gd name="T74" fmla="*/ 2807 w 5536"/>
                <a:gd name="T75" fmla="*/ 1675 h 2610"/>
                <a:gd name="T76" fmla="*/ 2896 w 5536"/>
                <a:gd name="T77" fmla="*/ 1453 h 2610"/>
                <a:gd name="T78" fmla="*/ 3064 w 5536"/>
                <a:gd name="T79" fmla="*/ 881 h 2610"/>
                <a:gd name="T80" fmla="*/ 3108 w 5536"/>
                <a:gd name="T81" fmla="*/ 732 h 2610"/>
                <a:gd name="T82" fmla="*/ 3170 w 5536"/>
                <a:gd name="T83" fmla="*/ 591 h 2610"/>
                <a:gd name="T84" fmla="*/ 3290 w 5536"/>
                <a:gd name="T85" fmla="*/ 423 h 2610"/>
                <a:gd name="T86" fmla="*/ 3431 w 5536"/>
                <a:gd name="T87" fmla="*/ 288 h 2610"/>
                <a:gd name="T88" fmla="*/ 3595 w 5536"/>
                <a:gd name="T89" fmla="*/ 187 h 2610"/>
                <a:gd name="T90" fmla="*/ 3785 w 5536"/>
                <a:gd name="T91" fmla="*/ 122 h 2610"/>
                <a:gd name="T92" fmla="*/ 4003 w 5536"/>
                <a:gd name="T93" fmla="*/ 91 h 2610"/>
                <a:gd name="T94" fmla="*/ 4235 w 5536"/>
                <a:gd name="T95" fmla="*/ 79 h 2610"/>
                <a:gd name="T96" fmla="*/ 5498 w 5536"/>
                <a:gd name="T97" fmla="*/ 0 h 26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5536" h="2610">
                  <a:moveTo>
                    <a:pt x="5515" y="0"/>
                  </a:moveTo>
                  <a:lnTo>
                    <a:pt x="5536" y="0"/>
                  </a:lnTo>
                  <a:lnTo>
                    <a:pt x="5503" y="66"/>
                  </a:lnTo>
                  <a:lnTo>
                    <a:pt x="5470" y="127"/>
                  </a:lnTo>
                  <a:lnTo>
                    <a:pt x="5463" y="135"/>
                  </a:lnTo>
                  <a:lnTo>
                    <a:pt x="5449" y="139"/>
                  </a:lnTo>
                  <a:lnTo>
                    <a:pt x="5436" y="141"/>
                  </a:lnTo>
                  <a:lnTo>
                    <a:pt x="5061" y="164"/>
                  </a:lnTo>
                  <a:lnTo>
                    <a:pt x="4968" y="172"/>
                  </a:lnTo>
                  <a:lnTo>
                    <a:pt x="4881" y="189"/>
                  </a:lnTo>
                  <a:lnTo>
                    <a:pt x="4798" y="214"/>
                  </a:lnTo>
                  <a:lnTo>
                    <a:pt x="4722" y="247"/>
                  </a:lnTo>
                  <a:lnTo>
                    <a:pt x="4651" y="288"/>
                  </a:lnTo>
                  <a:lnTo>
                    <a:pt x="4585" y="336"/>
                  </a:lnTo>
                  <a:lnTo>
                    <a:pt x="4525" y="394"/>
                  </a:lnTo>
                  <a:lnTo>
                    <a:pt x="4471" y="460"/>
                  </a:lnTo>
                  <a:lnTo>
                    <a:pt x="4423" y="535"/>
                  </a:lnTo>
                  <a:lnTo>
                    <a:pt x="4380" y="618"/>
                  </a:lnTo>
                  <a:lnTo>
                    <a:pt x="4353" y="686"/>
                  </a:lnTo>
                  <a:lnTo>
                    <a:pt x="4338" y="757"/>
                  </a:lnTo>
                  <a:lnTo>
                    <a:pt x="4326" y="829"/>
                  </a:lnTo>
                  <a:lnTo>
                    <a:pt x="4318" y="902"/>
                  </a:lnTo>
                  <a:lnTo>
                    <a:pt x="4311" y="1004"/>
                  </a:lnTo>
                  <a:lnTo>
                    <a:pt x="4305" y="1107"/>
                  </a:lnTo>
                  <a:lnTo>
                    <a:pt x="4295" y="1209"/>
                  </a:lnTo>
                  <a:lnTo>
                    <a:pt x="4278" y="1312"/>
                  </a:lnTo>
                  <a:lnTo>
                    <a:pt x="4253" y="1412"/>
                  </a:lnTo>
                  <a:lnTo>
                    <a:pt x="4208" y="1538"/>
                  </a:lnTo>
                  <a:lnTo>
                    <a:pt x="4158" y="1656"/>
                  </a:lnTo>
                  <a:lnTo>
                    <a:pt x="4100" y="1768"/>
                  </a:lnTo>
                  <a:lnTo>
                    <a:pt x="4034" y="1872"/>
                  </a:lnTo>
                  <a:lnTo>
                    <a:pt x="3963" y="1971"/>
                  </a:lnTo>
                  <a:lnTo>
                    <a:pt x="3885" y="2061"/>
                  </a:lnTo>
                  <a:lnTo>
                    <a:pt x="3800" y="2146"/>
                  </a:lnTo>
                  <a:lnTo>
                    <a:pt x="3708" y="2224"/>
                  </a:lnTo>
                  <a:lnTo>
                    <a:pt x="3609" y="2293"/>
                  </a:lnTo>
                  <a:lnTo>
                    <a:pt x="3503" y="2357"/>
                  </a:lnTo>
                  <a:lnTo>
                    <a:pt x="3391" y="2413"/>
                  </a:lnTo>
                  <a:lnTo>
                    <a:pt x="3271" y="2461"/>
                  </a:lnTo>
                  <a:lnTo>
                    <a:pt x="3145" y="2504"/>
                  </a:lnTo>
                  <a:lnTo>
                    <a:pt x="3029" y="2533"/>
                  </a:lnTo>
                  <a:lnTo>
                    <a:pt x="2911" y="2552"/>
                  </a:lnTo>
                  <a:lnTo>
                    <a:pt x="2791" y="2569"/>
                  </a:lnTo>
                  <a:lnTo>
                    <a:pt x="2671" y="2585"/>
                  </a:lnTo>
                  <a:lnTo>
                    <a:pt x="2525" y="2602"/>
                  </a:lnTo>
                  <a:lnTo>
                    <a:pt x="2378" y="2608"/>
                  </a:lnTo>
                  <a:lnTo>
                    <a:pt x="2231" y="2610"/>
                  </a:lnTo>
                  <a:lnTo>
                    <a:pt x="2084" y="2608"/>
                  </a:lnTo>
                  <a:lnTo>
                    <a:pt x="1937" y="2608"/>
                  </a:lnTo>
                  <a:lnTo>
                    <a:pt x="54" y="2608"/>
                  </a:lnTo>
                  <a:lnTo>
                    <a:pt x="0" y="2608"/>
                  </a:lnTo>
                  <a:lnTo>
                    <a:pt x="0" y="2608"/>
                  </a:lnTo>
                  <a:lnTo>
                    <a:pt x="33" y="2540"/>
                  </a:lnTo>
                  <a:lnTo>
                    <a:pt x="64" y="2477"/>
                  </a:lnTo>
                  <a:lnTo>
                    <a:pt x="75" y="2452"/>
                  </a:lnTo>
                  <a:lnTo>
                    <a:pt x="93" y="2436"/>
                  </a:lnTo>
                  <a:lnTo>
                    <a:pt x="114" y="2428"/>
                  </a:lnTo>
                  <a:lnTo>
                    <a:pt x="143" y="2426"/>
                  </a:lnTo>
                  <a:lnTo>
                    <a:pt x="621" y="2426"/>
                  </a:lnTo>
                  <a:lnTo>
                    <a:pt x="1098" y="2419"/>
                  </a:lnTo>
                  <a:lnTo>
                    <a:pt x="1284" y="2409"/>
                  </a:lnTo>
                  <a:lnTo>
                    <a:pt x="1469" y="2396"/>
                  </a:lnTo>
                  <a:lnTo>
                    <a:pt x="1655" y="2378"/>
                  </a:lnTo>
                  <a:lnTo>
                    <a:pt x="1753" y="2368"/>
                  </a:lnTo>
                  <a:lnTo>
                    <a:pt x="1850" y="2355"/>
                  </a:lnTo>
                  <a:lnTo>
                    <a:pt x="1947" y="2336"/>
                  </a:lnTo>
                  <a:lnTo>
                    <a:pt x="2043" y="2311"/>
                  </a:lnTo>
                  <a:lnTo>
                    <a:pt x="2155" y="2268"/>
                  </a:lnTo>
                  <a:lnTo>
                    <a:pt x="2264" y="2218"/>
                  </a:lnTo>
                  <a:lnTo>
                    <a:pt x="2362" y="2162"/>
                  </a:lnTo>
                  <a:lnTo>
                    <a:pt x="2455" y="2098"/>
                  </a:lnTo>
                  <a:lnTo>
                    <a:pt x="2540" y="2028"/>
                  </a:lnTo>
                  <a:lnTo>
                    <a:pt x="2617" y="1951"/>
                  </a:lnTo>
                  <a:lnTo>
                    <a:pt x="2687" y="1866"/>
                  </a:lnTo>
                  <a:lnTo>
                    <a:pt x="2751" y="1773"/>
                  </a:lnTo>
                  <a:lnTo>
                    <a:pt x="2807" y="1675"/>
                  </a:lnTo>
                  <a:lnTo>
                    <a:pt x="2855" y="1569"/>
                  </a:lnTo>
                  <a:lnTo>
                    <a:pt x="2896" y="1453"/>
                  </a:lnTo>
                  <a:lnTo>
                    <a:pt x="2983" y="1167"/>
                  </a:lnTo>
                  <a:lnTo>
                    <a:pt x="3064" y="881"/>
                  </a:lnTo>
                  <a:lnTo>
                    <a:pt x="3085" y="805"/>
                  </a:lnTo>
                  <a:lnTo>
                    <a:pt x="3108" y="732"/>
                  </a:lnTo>
                  <a:lnTo>
                    <a:pt x="3135" y="661"/>
                  </a:lnTo>
                  <a:lnTo>
                    <a:pt x="3170" y="591"/>
                  </a:lnTo>
                  <a:lnTo>
                    <a:pt x="3226" y="502"/>
                  </a:lnTo>
                  <a:lnTo>
                    <a:pt x="3290" y="423"/>
                  </a:lnTo>
                  <a:lnTo>
                    <a:pt x="3358" y="351"/>
                  </a:lnTo>
                  <a:lnTo>
                    <a:pt x="3431" y="288"/>
                  </a:lnTo>
                  <a:lnTo>
                    <a:pt x="3510" y="234"/>
                  </a:lnTo>
                  <a:lnTo>
                    <a:pt x="3595" y="187"/>
                  </a:lnTo>
                  <a:lnTo>
                    <a:pt x="3688" y="151"/>
                  </a:lnTo>
                  <a:lnTo>
                    <a:pt x="3785" y="122"/>
                  </a:lnTo>
                  <a:lnTo>
                    <a:pt x="3887" y="102"/>
                  </a:lnTo>
                  <a:lnTo>
                    <a:pt x="4003" y="91"/>
                  </a:lnTo>
                  <a:lnTo>
                    <a:pt x="4119" y="85"/>
                  </a:lnTo>
                  <a:lnTo>
                    <a:pt x="4235" y="79"/>
                  </a:lnTo>
                  <a:lnTo>
                    <a:pt x="4923" y="35"/>
                  </a:lnTo>
                  <a:lnTo>
                    <a:pt x="5498" y="0"/>
                  </a:lnTo>
                  <a:lnTo>
                    <a:pt x="5515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 sz="1801"/>
            </a:p>
          </p:txBody>
        </p:sp>
        <p:sp>
          <p:nvSpPr>
            <p:cNvPr id="15" name="Freeform 7">
              <a:extLst>
                <a:ext uri="{FF2B5EF4-FFF2-40B4-BE49-F238E27FC236}">
                  <a16:creationId xmlns:a16="http://schemas.microsoft.com/office/drawing/2014/main" id="{0BE6F8E9-24BA-47B8-9CCD-E18AD0A4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5" y="-1283"/>
              <a:ext cx="4960" cy="1437"/>
            </a:xfrm>
            <a:custGeom>
              <a:avLst/>
              <a:gdLst>
                <a:gd name="T0" fmla="*/ 4896 w 4960"/>
                <a:gd name="T1" fmla="*/ 0 h 1437"/>
                <a:gd name="T2" fmla="*/ 4960 w 4960"/>
                <a:gd name="T3" fmla="*/ 0 h 1437"/>
                <a:gd name="T4" fmla="*/ 4935 w 4960"/>
                <a:gd name="T5" fmla="*/ 46 h 1437"/>
                <a:gd name="T6" fmla="*/ 4912 w 4960"/>
                <a:gd name="T7" fmla="*/ 89 h 1437"/>
                <a:gd name="T8" fmla="*/ 4892 w 4960"/>
                <a:gd name="T9" fmla="*/ 131 h 1437"/>
                <a:gd name="T10" fmla="*/ 4879 w 4960"/>
                <a:gd name="T11" fmla="*/ 162 h 1437"/>
                <a:gd name="T12" fmla="*/ 4860 w 4960"/>
                <a:gd name="T13" fmla="*/ 181 h 1437"/>
                <a:gd name="T14" fmla="*/ 4838 w 4960"/>
                <a:gd name="T15" fmla="*/ 195 h 1437"/>
                <a:gd name="T16" fmla="*/ 4809 w 4960"/>
                <a:gd name="T17" fmla="*/ 201 h 1437"/>
                <a:gd name="T18" fmla="*/ 4776 w 4960"/>
                <a:gd name="T19" fmla="*/ 203 h 1437"/>
                <a:gd name="T20" fmla="*/ 4287 w 4960"/>
                <a:gd name="T21" fmla="*/ 201 h 1437"/>
                <a:gd name="T22" fmla="*/ 3798 w 4960"/>
                <a:gd name="T23" fmla="*/ 203 h 1437"/>
                <a:gd name="T24" fmla="*/ 3590 w 4960"/>
                <a:gd name="T25" fmla="*/ 207 h 1437"/>
                <a:gd name="T26" fmla="*/ 3381 w 4960"/>
                <a:gd name="T27" fmla="*/ 216 h 1437"/>
                <a:gd name="T28" fmla="*/ 3172 w 4960"/>
                <a:gd name="T29" fmla="*/ 234 h 1437"/>
                <a:gd name="T30" fmla="*/ 2965 w 4960"/>
                <a:gd name="T31" fmla="*/ 261 h 1437"/>
                <a:gd name="T32" fmla="*/ 2826 w 4960"/>
                <a:gd name="T33" fmla="*/ 284 h 1437"/>
                <a:gd name="T34" fmla="*/ 2689 w 4960"/>
                <a:gd name="T35" fmla="*/ 313 h 1437"/>
                <a:gd name="T36" fmla="*/ 2554 w 4960"/>
                <a:gd name="T37" fmla="*/ 350 h 1437"/>
                <a:gd name="T38" fmla="*/ 2420 w 4960"/>
                <a:gd name="T39" fmla="*/ 394 h 1437"/>
                <a:gd name="T40" fmla="*/ 2289 w 4960"/>
                <a:gd name="T41" fmla="*/ 446 h 1437"/>
                <a:gd name="T42" fmla="*/ 2161 w 4960"/>
                <a:gd name="T43" fmla="*/ 508 h 1437"/>
                <a:gd name="T44" fmla="*/ 2047 w 4960"/>
                <a:gd name="T45" fmla="*/ 576 h 1437"/>
                <a:gd name="T46" fmla="*/ 1941 w 4960"/>
                <a:gd name="T47" fmla="*/ 651 h 1437"/>
                <a:gd name="T48" fmla="*/ 1840 w 4960"/>
                <a:gd name="T49" fmla="*/ 734 h 1437"/>
                <a:gd name="T50" fmla="*/ 1746 w 4960"/>
                <a:gd name="T51" fmla="*/ 823 h 1437"/>
                <a:gd name="T52" fmla="*/ 1660 w 4960"/>
                <a:gd name="T53" fmla="*/ 921 h 1437"/>
                <a:gd name="T54" fmla="*/ 1579 w 4960"/>
                <a:gd name="T55" fmla="*/ 1026 h 1437"/>
                <a:gd name="T56" fmla="*/ 1496 w 4960"/>
                <a:gd name="T57" fmla="*/ 1151 h 1437"/>
                <a:gd name="T58" fmla="*/ 1417 w 4960"/>
                <a:gd name="T59" fmla="*/ 1281 h 1437"/>
                <a:gd name="T60" fmla="*/ 1338 w 4960"/>
                <a:gd name="T61" fmla="*/ 1410 h 1437"/>
                <a:gd name="T62" fmla="*/ 1326 w 4960"/>
                <a:gd name="T63" fmla="*/ 1426 h 1437"/>
                <a:gd name="T64" fmla="*/ 1313 w 4960"/>
                <a:gd name="T65" fmla="*/ 1433 h 1437"/>
                <a:gd name="T66" fmla="*/ 1295 w 4960"/>
                <a:gd name="T67" fmla="*/ 1437 h 1437"/>
                <a:gd name="T68" fmla="*/ 37 w 4960"/>
                <a:gd name="T69" fmla="*/ 1437 h 1437"/>
                <a:gd name="T70" fmla="*/ 21 w 4960"/>
                <a:gd name="T71" fmla="*/ 1435 h 1437"/>
                <a:gd name="T72" fmla="*/ 0 w 4960"/>
                <a:gd name="T73" fmla="*/ 1435 h 1437"/>
                <a:gd name="T74" fmla="*/ 64 w 4960"/>
                <a:gd name="T75" fmla="*/ 1310 h 1437"/>
                <a:gd name="T76" fmla="*/ 126 w 4960"/>
                <a:gd name="T77" fmla="*/ 1186 h 1437"/>
                <a:gd name="T78" fmla="*/ 186 w 4960"/>
                <a:gd name="T79" fmla="*/ 1061 h 1437"/>
                <a:gd name="T80" fmla="*/ 247 w 4960"/>
                <a:gd name="T81" fmla="*/ 937 h 1437"/>
                <a:gd name="T82" fmla="*/ 315 w 4960"/>
                <a:gd name="T83" fmla="*/ 817 h 1437"/>
                <a:gd name="T84" fmla="*/ 389 w 4960"/>
                <a:gd name="T85" fmla="*/ 701 h 1437"/>
                <a:gd name="T86" fmla="*/ 458 w 4960"/>
                <a:gd name="T87" fmla="*/ 607 h 1437"/>
                <a:gd name="T88" fmla="*/ 533 w 4960"/>
                <a:gd name="T89" fmla="*/ 520 h 1437"/>
                <a:gd name="T90" fmla="*/ 615 w 4960"/>
                <a:gd name="T91" fmla="*/ 440 h 1437"/>
                <a:gd name="T92" fmla="*/ 700 w 4960"/>
                <a:gd name="T93" fmla="*/ 367 h 1437"/>
                <a:gd name="T94" fmla="*/ 791 w 4960"/>
                <a:gd name="T95" fmla="*/ 301 h 1437"/>
                <a:gd name="T96" fmla="*/ 887 w 4960"/>
                <a:gd name="T97" fmla="*/ 243 h 1437"/>
                <a:gd name="T98" fmla="*/ 990 w 4960"/>
                <a:gd name="T99" fmla="*/ 191 h 1437"/>
                <a:gd name="T100" fmla="*/ 1096 w 4960"/>
                <a:gd name="T101" fmla="*/ 147 h 1437"/>
                <a:gd name="T102" fmla="*/ 1206 w 4960"/>
                <a:gd name="T103" fmla="*/ 108 h 1437"/>
                <a:gd name="T104" fmla="*/ 1351 w 4960"/>
                <a:gd name="T105" fmla="*/ 69 h 1437"/>
                <a:gd name="T106" fmla="*/ 1496 w 4960"/>
                <a:gd name="T107" fmla="*/ 40 h 1437"/>
                <a:gd name="T108" fmla="*/ 1645 w 4960"/>
                <a:gd name="T109" fmla="*/ 21 h 1437"/>
                <a:gd name="T110" fmla="*/ 1794 w 4960"/>
                <a:gd name="T111" fmla="*/ 10 h 1437"/>
                <a:gd name="T112" fmla="*/ 1954 w 4960"/>
                <a:gd name="T113" fmla="*/ 4 h 1437"/>
                <a:gd name="T114" fmla="*/ 2117 w 4960"/>
                <a:gd name="T115" fmla="*/ 2 h 1437"/>
                <a:gd name="T116" fmla="*/ 4896 w 4960"/>
                <a:gd name="T117" fmla="*/ 0 h 1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60" h="1437">
                  <a:moveTo>
                    <a:pt x="4896" y="0"/>
                  </a:moveTo>
                  <a:lnTo>
                    <a:pt x="4960" y="0"/>
                  </a:lnTo>
                  <a:lnTo>
                    <a:pt x="4935" y="46"/>
                  </a:lnTo>
                  <a:lnTo>
                    <a:pt x="4912" y="89"/>
                  </a:lnTo>
                  <a:lnTo>
                    <a:pt x="4892" y="131"/>
                  </a:lnTo>
                  <a:lnTo>
                    <a:pt x="4879" y="162"/>
                  </a:lnTo>
                  <a:lnTo>
                    <a:pt x="4860" y="181"/>
                  </a:lnTo>
                  <a:lnTo>
                    <a:pt x="4838" y="195"/>
                  </a:lnTo>
                  <a:lnTo>
                    <a:pt x="4809" y="201"/>
                  </a:lnTo>
                  <a:lnTo>
                    <a:pt x="4776" y="203"/>
                  </a:lnTo>
                  <a:lnTo>
                    <a:pt x="4287" y="201"/>
                  </a:lnTo>
                  <a:lnTo>
                    <a:pt x="3798" y="203"/>
                  </a:lnTo>
                  <a:lnTo>
                    <a:pt x="3590" y="207"/>
                  </a:lnTo>
                  <a:lnTo>
                    <a:pt x="3381" y="216"/>
                  </a:lnTo>
                  <a:lnTo>
                    <a:pt x="3172" y="234"/>
                  </a:lnTo>
                  <a:lnTo>
                    <a:pt x="2965" y="261"/>
                  </a:lnTo>
                  <a:lnTo>
                    <a:pt x="2826" y="284"/>
                  </a:lnTo>
                  <a:lnTo>
                    <a:pt x="2689" y="313"/>
                  </a:lnTo>
                  <a:lnTo>
                    <a:pt x="2554" y="350"/>
                  </a:lnTo>
                  <a:lnTo>
                    <a:pt x="2420" y="394"/>
                  </a:lnTo>
                  <a:lnTo>
                    <a:pt x="2289" y="446"/>
                  </a:lnTo>
                  <a:lnTo>
                    <a:pt x="2161" y="508"/>
                  </a:lnTo>
                  <a:lnTo>
                    <a:pt x="2047" y="576"/>
                  </a:lnTo>
                  <a:lnTo>
                    <a:pt x="1941" y="651"/>
                  </a:lnTo>
                  <a:lnTo>
                    <a:pt x="1840" y="734"/>
                  </a:lnTo>
                  <a:lnTo>
                    <a:pt x="1746" y="823"/>
                  </a:lnTo>
                  <a:lnTo>
                    <a:pt x="1660" y="921"/>
                  </a:lnTo>
                  <a:lnTo>
                    <a:pt x="1579" y="1026"/>
                  </a:lnTo>
                  <a:lnTo>
                    <a:pt x="1496" y="1151"/>
                  </a:lnTo>
                  <a:lnTo>
                    <a:pt x="1417" y="1281"/>
                  </a:lnTo>
                  <a:lnTo>
                    <a:pt x="1338" y="1410"/>
                  </a:lnTo>
                  <a:lnTo>
                    <a:pt x="1326" y="1426"/>
                  </a:lnTo>
                  <a:lnTo>
                    <a:pt x="1313" y="1433"/>
                  </a:lnTo>
                  <a:lnTo>
                    <a:pt x="1295" y="1437"/>
                  </a:lnTo>
                  <a:lnTo>
                    <a:pt x="37" y="1437"/>
                  </a:lnTo>
                  <a:lnTo>
                    <a:pt x="21" y="1435"/>
                  </a:lnTo>
                  <a:lnTo>
                    <a:pt x="0" y="1435"/>
                  </a:lnTo>
                  <a:lnTo>
                    <a:pt x="64" y="1310"/>
                  </a:lnTo>
                  <a:lnTo>
                    <a:pt x="126" y="1186"/>
                  </a:lnTo>
                  <a:lnTo>
                    <a:pt x="186" y="1061"/>
                  </a:lnTo>
                  <a:lnTo>
                    <a:pt x="247" y="937"/>
                  </a:lnTo>
                  <a:lnTo>
                    <a:pt x="315" y="817"/>
                  </a:lnTo>
                  <a:lnTo>
                    <a:pt x="389" y="701"/>
                  </a:lnTo>
                  <a:lnTo>
                    <a:pt x="458" y="607"/>
                  </a:lnTo>
                  <a:lnTo>
                    <a:pt x="533" y="520"/>
                  </a:lnTo>
                  <a:lnTo>
                    <a:pt x="615" y="440"/>
                  </a:lnTo>
                  <a:lnTo>
                    <a:pt x="700" y="367"/>
                  </a:lnTo>
                  <a:lnTo>
                    <a:pt x="791" y="301"/>
                  </a:lnTo>
                  <a:lnTo>
                    <a:pt x="887" y="243"/>
                  </a:lnTo>
                  <a:lnTo>
                    <a:pt x="990" y="191"/>
                  </a:lnTo>
                  <a:lnTo>
                    <a:pt x="1096" y="147"/>
                  </a:lnTo>
                  <a:lnTo>
                    <a:pt x="1206" y="108"/>
                  </a:lnTo>
                  <a:lnTo>
                    <a:pt x="1351" y="69"/>
                  </a:lnTo>
                  <a:lnTo>
                    <a:pt x="1496" y="40"/>
                  </a:lnTo>
                  <a:lnTo>
                    <a:pt x="1645" y="21"/>
                  </a:lnTo>
                  <a:lnTo>
                    <a:pt x="1794" y="10"/>
                  </a:lnTo>
                  <a:lnTo>
                    <a:pt x="1954" y="4"/>
                  </a:lnTo>
                  <a:lnTo>
                    <a:pt x="2117" y="2"/>
                  </a:lnTo>
                  <a:lnTo>
                    <a:pt x="4896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 sz="1801"/>
            </a:p>
          </p:txBody>
        </p:sp>
        <p:sp>
          <p:nvSpPr>
            <p:cNvPr id="16" name="Freeform 8">
              <a:extLst>
                <a:ext uri="{FF2B5EF4-FFF2-40B4-BE49-F238E27FC236}">
                  <a16:creationId xmlns:a16="http://schemas.microsoft.com/office/drawing/2014/main" id="{61144228-6360-4B55-95F5-F9B22AED9A89}"/>
                </a:ext>
              </a:extLst>
            </p:cNvPr>
            <p:cNvSpPr>
              <a:spLocks/>
            </p:cNvSpPr>
            <p:nvPr/>
          </p:nvSpPr>
          <p:spPr bwMode="auto">
            <a:xfrm>
              <a:off x="-365" y="643"/>
              <a:ext cx="2316" cy="1988"/>
            </a:xfrm>
            <a:custGeom>
              <a:avLst/>
              <a:gdLst>
                <a:gd name="T0" fmla="*/ 2297 w 2316"/>
                <a:gd name="T1" fmla="*/ 0 h 1988"/>
                <a:gd name="T2" fmla="*/ 2316 w 2316"/>
                <a:gd name="T3" fmla="*/ 0 h 1988"/>
                <a:gd name="T4" fmla="*/ 2250 w 2316"/>
                <a:gd name="T5" fmla="*/ 124 h 1988"/>
                <a:gd name="T6" fmla="*/ 2185 w 2316"/>
                <a:gd name="T7" fmla="*/ 245 h 1988"/>
                <a:gd name="T8" fmla="*/ 2038 w 2316"/>
                <a:gd name="T9" fmla="*/ 510 h 1988"/>
                <a:gd name="T10" fmla="*/ 1885 w 2316"/>
                <a:gd name="T11" fmla="*/ 771 h 1988"/>
                <a:gd name="T12" fmla="*/ 1726 w 2316"/>
                <a:gd name="T13" fmla="*/ 1028 h 1988"/>
                <a:gd name="T14" fmla="*/ 1560 w 2316"/>
                <a:gd name="T15" fmla="*/ 1281 h 1988"/>
                <a:gd name="T16" fmla="*/ 1496 w 2316"/>
                <a:gd name="T17" fmla="*/ 1368 h 1988"/>
                <a:gd name="T18" fmla="*/ 1431 w 2316"/>
                <a:gd name="T19" fmla="*/ 1455 h 1988"/>
                <a:gd name="T20" fmla="*/ 1361 w 2316"/>
                <a:gd name="T21" fmla="*/ 1536 h 1988"/>
                <a:gd name="T22" fmla="*/ 1286 w 2316"/>
                <a:gd name="T23" fmla="*/ 1613 h 1988"/>
                <a:gd name="T24" fmla="*/ 1205 w 2316"/>
                <a:gd name="T25" fmla="*/ 1685 h 1988"/>
                <a:gd name="T26" fmla="*/ 1118 w 2316"/>
                <a:gd name="T27" fmla="*/ 1751 h 1988"/>
                <a:gd name="T28" fmla="*/ 1036 w 2316"/>
                <a:gd name="T29" fmla="*/ 1803 h 1988"/>
                <a:gd name="T30" fmla="*/ 951 w 2316"/>
                <a:gd name="T31" fmla="*/ 1847 h 1988"/>
                <a:gd name="T32" fmla="*/ 864 w 2316"/>
                <a:gd name="T33" fmla="*/ 1884 h 1988"/>
                <a:gd name="T34" fmla="*/ 773 w 2316"/>
                <a:gd name="T35" fmla="*/ 1913 h 1988"/>
                <a:gd name="T36" fmla="*/ 683 w 2316"/>
                <a:gd name="T37" fmla="*/ 1936 h 1988"/>
                <a:gd name="T38" fmla="*/ 586 w 2316"/>
                <a:gd name="T39" fmla="*/ 1953 h 1988"/>
                <a:gd name="T40" fmla="*/ 449 w 2316"/>
                <a:gd name="T41" fmla="*/ 1971 h 1988"/>
                <a:gd name="T42" fmla="*/ 311 w 2316"/>
                <a:gd name="T43" fmla="*/ 1980 h 1988"/>
                <a:gd name="T44" fmla="*/ 172 w 2316"/>
                <a:gd name="T45" fmla="*/ 1986 h 1988"/>
                <a:gd name="T46" fmla="*/ 33 w 2316"/>
                <a:gd name="T47" fmla="*/ 1988 h 1988"/>
                <a:gd name="T48" fmla="*/ 18 w 2316"/>
                <a:gd name="T49" fmla="*/ 1988 h 1988"/>
                <a:gd name="T50" fmla="*/ 0 w 2316"/>
                <a:gd name="T51" fmla="*/ 1988 h 1988"/>
                <a:gd name="T52" fmla="*/ 8 w 2316"/>
                <a:gd name="T53" fmla="*/ 1969 h 1988"/>
                <a:gd name="T54" fmla="*/ 14 w 2316"/>
                <a:gd name="T55" fmla="*/ 1955 h 1988"/>
                <a:gd name="T56" fmla="*/ 916 w 2316"/>
                <a:gd name="T57" fmla="*/ 168 h 1988"/>
                <a:gd name="T58" fmla="*/ 928 w 2316"/>
                <a:gd name="T59" fmla="*/ 149 h 1988"/>
                <a:gd name="T60" fmla="*/ 945 w 2316"/>
                <a:gd name="T61" fmla="*/ 137 h 1988"/>
                <a:gd name="T62" fmla="*/ 967 w 2316"/>
                <a:gd name="T63" fmla="*/ 133 h 1988"/>
                <a:gd name="T64" fmla="*/ 1753 w 2316"/>
                <a:gd name="T65" fmla="*/ 54 h 1988"/>
                <a:gd name="T66" fmla="*/ 2281 w 2316"/>
                <a:gd name="T67" fmla="*/ 0 h 1988"/>
                <a:gd name="T68" fmla="*/ 2297 w 2316"/>
                <a:gd name="T69" fmla="*/ 0 h 1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16" h="1988">
                  <a:moveTo>
                    <a:pt x="2297" y="0"/>
                  </a:moveTo>
                  <a:lnTo>
                    <a:pt x="2316" y="0"/>
                  </a:lnTo>
                  <a:lnTo>
                    <a:pt x="2250" y="124"/>
                  </a:lnTo>
                  <a:lnTo>
                    <a:pt x="2185" y="245"/>
                  </a:lnTo>
                  <a:lnTo>
                    <a:pt x="2038" y="510"/>
                  </a:lnTo>
                  <a:lnTo>
                    <a:pt x="1885" y="771"/>
                  </a:lnTo>
                  <a:lnTo>
                    <a:pt x="1726" y="1028"/>
                  </a:lnTo>
                  <a:lnTo>
                    <a:pt x="1560" y="1281"/>
                  </a:lnTo>
                  <a:lnTo>
                    <a:pt x="1496" y="1368"/>
                  </a:lnTo>
                  <a:lnTo>
                    <a:pt x="1431" y="1455"/>
                  </a:lnTo>
                  <a:lnTo>
                    <a:pt x="1361" y="1536"/>
                  </a:lnTo>
                  <a:lnTo>
                    <a:pt x="1286" y="1613"/>
                  </a:lnTo>
                  <a:lnTo>
                    <a:pt x="1205" y="1685"/>
                  </a:lnTo>
                  <a:lnTo>
                    <a:pt x="1118" y="1751"/>
                  </a:lnTo>
                  <a:lnTo>
                    <a:pt x="1036" y="1803"/>
                  </a:lnTo>
                  <a:lnTo>
                    <a:pt x="951" y="1847"/>
                  </a:lnTo>
                  <a:lnTo>
                    <a:pt x="864" y="1884"/>
                  </a:lnTo>
                  <a:lnTo>
                    <a:pt x="773" y="1913"/>
                  </a:lnTo>
                  <a:lnTo>
                    <a:pt x="683" y="1936"/>
                  </a:lnTo>
                  <a:lnTo>
                    <a:pt x="586" y="1953"/>
                  </a:lnTo>
                  <a:lnTo>
                    <a:pt x="449" y="1971"/>
                  </a:lnTo>
                  <a:lnTo>
                    <a:pt x="311" y="1980"/>
                  </a:lnTo>
                  <a:lnTo>
                    <a:pt x="172" y="1986"/>
                  </a:lnTo>
                  <a:lnTo>
                    <a:pt x="33" y="1988"/>
                  </a:lnTo>
                  <a:lnTo>
                    <a:pt x="18" y="1988"/>
                  </a:lnTo>
                  <a:lnTo>
                    <a:pt x="0" y="1988"/>
                  </a:lnTo>
                  <a:lnTo>
                    <a:pt x="8" y="1969"/>
                  </a:lnTo>
                  <a:lnTo>
                    <a:pt x="14" y="1955"/>
                  </a:lnTo>
                  <a:lnTo>
                    <a:pt x="916" y="168"/>
                  </a:lnTo>
                  <a:lnTo>
                    <a:pt x="928" y="149"/>
                  </a:lnTo>
                  <a:lnTo>
                    <a:pt x="945" y="137"/>
                  </a:lnTo>
                  <a:lnTo>
                    <a:pt x="967" y="133"/>
                  </a:lnTo>
                  <a:lnTo>
                    <a:pt x="1753" y="54"/>
                  </a:lnTo>
                  <a:lnTo>
                    <a:pt x="2281" y="0"/>
                  </a:lnTo>
                  <a:lnTo>
                    <a:pt x="2297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 sz="1801"/>
            </a:p>
          </p:txBody>
        </p:sp>
        <p:sp>
          <p:nvSpPr>
            <p:cNvPr id="17" name="Freeform 9">
              <a:extLst>
                <a:ext uri="{FF2B5EF4-FFF2-40B4-BE49-F238E27FC236}">
                  <a16:creationId xmlns:a16="http://schemas.microsoft.com/office/drawing/2014/main" id="{88DFCB77-4787-41C9-BEEE-C96E24C96E86}"/>
                </a:ext>
              </a:extLst>
            </p:cNvPr>
            <p:cNvSpPr>
              <a:spLocks/>
            </p:cNvSpPr>
            <p:nvPr/>
          </p:nvSpPr>
          <p:spPr bwMode="auto">
            <a:xfrm>
              <a:off x="3146" y="-875"/>
              <a:ext cx="2472" cy="1029"/>
            </a:xfrm>
            <a:custGeom>
              <a:avLst/>
              <a:gdLst>
                <a:gd name="T0" fmla="*/ 2451 w 2472"/>
                <a:gd name="T1" fmla="*/ 0 h 1029"/>
                <a:gd name="T2" fmla="*/ 2472 w 2472"/>
                <a:gd name="T3" fmla="*/ 0 h 1029"/>
                <a:gd name="T4" fmla="*/ 2426 w 2472"/>
                <a:gd name="T5" fmla="*/ 94 h 1029"/>
                <a:gd name="T6" fmla="*/ 2379 w 2472"/>
                <a:gd name="T7" fmla="*/ 185 h 1029"/>
                <a:gd name="T8" fmla="*/ 1977 w 2472"/>
                <a:gd name="T9" fmla="*/ 1004 h 1029"/>
                <a:gd name="T10" fmla="*/ 1967 w 2472"/>
                <a:gd name="T11" fmla="*/ 1018 h 1029"/>
                <a:gd name="T12" fmla="*/ 1956 w 2472"/>
                <a:gd name="T13" fmla="*/ 1027 h 1029"/>
                <a:gd name="T14" fmla="*/ 1937 w 2472"/>
                <a:gd name="T15" fmla="*/ 1029 h 1029"/>
                <a:gd name="T16" fmla="*/ 23 w 2472"/>
                <a:gd name="T17" fmla="*/ 1029 h 1029"/>
                <a:gd name="T18" fmla="*/ 17 w 2472"/>
                <a:gd name="T19" fmla="*/ 1027 h 1029"/>
                <a:gd name="T20" fmla="*/ 9 w 2472"/>
                <a:gd name="T21" fmla="*/ 1027 h 1029"/>
                <a:gd name="T22" fmla="*/ 0 w 2472"/>
                <a:gd name="T23" fmla="*/ 1027 h 1029"/>
                <a:gd name="T24" fmla="*/ 48 w 2472"/>
                <a:gd name="T25" fmla="*/ 938 h 1029"/>
                <a:gd name="T26" fmla="*/ 100 w 2472"/>
                <a:gd name="T27" fmla="*/ 852 h 1029"/>
                <a:gd name="T28" fmla="*/ 152 w 2472"/>
                <a:gd name="T29" fmla="*/ 767 h 1029"/>
                <a:gd name="T30" fmla="*/ 210 w 2472"/>
                <a:gd name="T31" fmla="*/ 683 h 1029"/>
                <a:gd name="T32" fmla="*/ 270 w 2472"/>
                <a:gd name="T33" fmla="*/ 606 h 1029"/>
                <a:gd name="T34" fmla="*/ 334 w 2472"/>
                <a:gd name="T35" fmla="*/ 531 h 1029"/>
                <a:gd name="T36" fmla="*/ 404 w 2472"/>
                <a:gd name="T37" fmla="*/ 461 h 1029"/>
                <a:gd name="T38" fmla="*/ 479 w 2472"/>
                <a:gd name="T39" fmla="*/ 396 h 1029"/>
                <a:gd name="T40" fmla="*/ 560 w 2472"/>
                <a:gd name="T41" fmla="*/ 336 h 1029"/>
                <a:gd name="T42" fmla="*/ 647 w 2472"/>
                <a:gd name="T43" fmla="*/ 284 h 1029"/>
                <a:gd name="T44" fmla="*/ 744 w 2472"/>
                <a:gd name="T45" fmla="*/ 235 h 1029"/>
                <a:gd name="T46" fmla="*/ 842 w 2472"/>
                <a:gd name="T47" fmla="*/ 195 h 1029"/>
                <a:gd name="T48" fmla="*/ 941 w 2472"/>
                <a:gd name="T49" fmla="*/ 162 h 1029"/>
                <a:gd name="T50" fmla="*/ 1043 w 2472"/>
                <a:gd name="T51" fmla="*/ 133 h 1029"/>
                <a:gd name="T52" fmla="*/ 1148 w 2472"/>
                <a:gd name="T53" fmla="*/ 108 h 1029"/>
                <a:gd name="T54" fmla="*/ 1320 w 2472"/>
                <a:gd name="T55" fmla="*/ 75 h 1029"/>
                <a:gd name="T56" fmla="*/ 1492 w 2472"/>
                <a:gd name="T57" fmla="*/ 50 h 1029"/>
                <a:gd name="T58" fmla="*/ 1666 w 2472"/>
                <a:gd name="T59" fmla="*/ 32 h 1029"/>
                <a:gd name="T60" fmla="*/ 1842 w 2472"/>
                <a:gd name="T61" fmla="*/ 21 h 1029"/>
                <a:gd name="T62" fmla="*/ 2138 w 2472"/>
                <a:gd name="T63" fmla="*/ 9 h 1029"/>
                <a:gd name="T64" fmla="*/ 2433 w 2472"/>
                <a:gd name="T65" fmla="*/ 0 h 1029"/>
                <a:gd name="T66" fmla="*/ 2451 w 2472"/>
                <a:gd name="T67" fmla="*/ 0 h 10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472" h="1029">
                  <a:moveTo>
                    <a:pt x="2451" y="0"/>
                  </a:moveTo>
                  <a:lnTo>
                    <a:pt x="2472" y="0"/>
                  </a:lnTo>
                  <a:lnTo>
                    <a:pt x="2426" y="94"/>
                  </a:lnTo>
                  <a:lnTo>
                    <a:pt x="2379" y="185"/>
                  </a:lnTo>
                  <a:lnTo>
                    <a:pt x="1977" y="1004"/>
                  </a:lnTo>
                  <a:lnTo>
                    <a:pt x="1967" y="1018"/>
                  </a:lnTo>
                  <a:lnTo>
                    <a:pt x="1956" y="1027"/>
                  </a:lnTo>
                  <a:lnTo>
                    <a:pt x="1937" y="1029"/>
                  </a:lnTo>
                  <a:lnTo>
                    <a:pt x="23" y="1029"/>
                  </a:lnTo>
                  <a:lnTo>
                    <a:pt x="17" y="1027"/>
                  </a:lnTo>
                  <a:lnTo>
                    <a:pt x="9" y="1027"/>
                  </a:lnTo>
                  <a:lnTo>
                    <a:pt x="0" y="1027"/>
                  </a:lnTo>
                  <a:lnTo>
                    <a:pt x="48" y="938"/>
                  </a:lnTo>
                  <a:lnTo>
                    <a:pt x="100" y="852"/>
                  </a:lnTo>
                  <a:lnTo>
                    <a:pt x="152" y="767"/>
                  </a:lnTo>
                  <a:lnTo>
                    <a:pt x="210" y="683"/>
                  </a:lnTo>
                  <a:lnTo>
                    <a:pt x="270" y="606"/>
                  </a:lnTo>
                  <a:lnTo>
                    <a:pt x="334" y="531"/>
                  </a:lnTo>
                  <a:lnTo>
                    <a:pt x="404" y="461"/>
                  </a:lnTo>
                  <a:lnTo>
                    <a:pt x="479" y="396"/>
                  </a:lnTo>
                  <a:lnTo>
                    <a:pt x="560" y="336"/>
                  </a:lnTo>
                  <a:lnTo>
                    <a:pt x="647" y="284"/>
                  </a:lnTo>
                  <a:lnTo>
                    <a:pt x="744" y="235"/>
                  </a:lnTo>
                  <a:lnTo>
                    <a:pt x="842" y="195"/>
                  </a:lnTo>
                  <a:lnTo>
                    <a:pt x="941" y="162"/>
                  </a:lnTo>
                  <a:lnTo>
                    <a:pt x="1043" y="133"/>
                  </a:lnTo>
                  <a:lnTo>
                    <a:pt x="1148" y="108"/>
                  </a:lnTo>
                  <a:lnTo>
                    <a:pt x="1320" y="75"/>
                  </a:lnTo>
                  <a:lnTo>
                    <a:pt x="1492" y="50"/>
                  </a:lnTo>
                  <a:lnTo>
                    <a:pt x="1666" y="32"/>
                  </a:lnTo>
                  <a:lnTo>
                    <a:pt x="1842" y="21"/>
                  </a:lnTo>
                  <a:lnTo>
                    <a:pt x="2138" y="9"/>
                  </a:lnTo>
                  <a:lnTo>
                    <a:pt x="2433" y="0"/>
                  </a:lnTo>
                  <a:lnTo>
                    <a:pt x="2451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it-IT" sz="1801"/>
            </a:p>
          </p:txBody>
        </p:sp>
      </p:grpSp>
      <p:pic>
        <p:nvPicPr>
          <p:cNvPr id="26" name="Immagine 25"/>
          <p:cNvPicPr>
            <a:picLocks noChangeAspect="1"/>
          </p:cNvPicPr>
          <p:nvPr userDrawn="1"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73" y="6301149"/>
            <a:ext cx="1237296" cy="360000"/>
          </a:xfrm>
          <a:prstGeom prst="rect">
            <a:avLst/>
          </a:prstGeom>
        </p:spPr>
      </p:pic>
      <p:sp>
        <p:nvSpPr>
          <p:cNvPr id="36" name="Segnaposto numero diapositiva 5">
            <a:extLst>
              <a:ext uri="{FF2B5EF4-FFF2-40B4-BE49-F238E27FC236}">
                <a16:creationId xmlns:a16="http://schemas.microsoft.com/office/drawing/2014/main" id="{79A77BD1-CC86-49F8-A7FD-E0EB30E9AA60}"/>
              </a:ext>
            </a:extLst>
          </p:cNvPr>
          <p:cNvSpPr txBox="1">
            <a:spLocks/>
          </p:cNvSpPr>
          <p:nvPr userDrawn="1"/>
        </p:nvSpPr>
        <p:spPr>
          <a:xfrm>
            <a:off x="11718169" y="6495906"/>
            <a:ext cx="472889" cy="231173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>
            <a:defPPr>
              <a:defRPr lang="en-US"/>
            </a:defPPr>
            <a:lvl1pPr marL="0" algn="ctr" defTabSz="914400" rtl="0" eaLnBrk="1" latinLnBrk="0" hangingPunct="1">
              <a:defRPr lang="en-GB" sz="1000" b="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19215"/>
            <a:fld id="{B9D7DBFB-DCE9-42BC-A361-A0671D12ADFC}" type="slidenum">
              <a:rPr lang="it-IT" sz="1001" smtClean="0"/>
              <a:pPr defTabSz="1219215"/>
              <a:t>‹N›</a:t>
            </a:fld>
            <a:endParaRPr lang="it-IT" sz="1001"/>
          </a:p>
        </p:txBody>
      </p:sp>
      <p:sp>
        <p:nvSpPr>
          <p:cNvPr id="4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06804" y="0"/>
            <a:ext cx="11178000" cy="867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itolo Calibri 28pt </a:t>
            </a:r>
          </a:p>
        </p:txBody>
      </p:sp>
      <p:sp>
        <p:nvSpPr>
          <p:cNvPr id="4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7111" y="1270450"/>
            <a:ext cx="11164885" cy="4201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/>
              <a:t>Testo Calibri 20pt</a:t>
            </a:r>
          </a:p>
          <a:p>
            <a:pPr lvl="1"/>
            <a:r>
              <a:rPr lang="it-IT"/>
              <a:t>Secondo livello 18pt</a:t>
            </a:r>
          </a:p>
          <a:p>
            <a:pPr lvl="2"/>
            <a:r>
              <a:rPr lang="it-IT"/>
              <a:t>Terzo livello 16pt</a:t>
            </a:r>
          </a:p>
          <a:p>
            <a:pPr lvl="3"/>
            <a:r>
              <a:rPr lang="it-IT"/>
              <a:t>Quarto livello 14pt</a:t>
            </a:r>
          </a:p>
          <a:p>
            <a:pPr lvl="4"/>
            <a:r>
              <a:rPr lang="it-IT"/>
              <a:t>Quinto livello 12pt</a:t>
            </a:r>
          </a:p>
        </p:txBody>
      </p:sp>
      <p:sp>
        <p:nvSpPr>
          <p:cNvPr id="20" name="Segnaposto data 3">
            <a:extLst>
              <a:ext uri="{FF2B5EF4-FFF2-40B4-BE49-F238E27FC236}">
                <a16:creationId xmlns:a16="http://schemas.microsoft.com/office/drawing/2014/main" id="{5B33189C-D6BE-4D66-A355-57BDFCA767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373723" y="6414802"/>
            <a:ext cx="1210268" cy="123111"/>
          </a:xfrm>
          <a:prstGeom prst="rect">
            <a:avLst/>
          </a:prstGeom>
          <a:solidFill>
            <a:schemeClr val="bg1"/>
          </a:solidFill>
          <a:effectLst/>
        </p:spPr>
        <p:txBody>
          <a:bodyPr wrap="none" lIns="0" tIns="0" rIns="0" bIns="0" rtlCol="0" anchor="ctr">
            <a:spAutoFit/>
          </a:bodyPr>
          <a:lstStyle>
            <a:lvl1pPr algn="r">
              <a:defRPr lang="it-IT" sz="800" smtClean="0">
                <a:solidFill>
                  <a:schemeClr val="tx2"/>
                </a:solidFill>
                <a:effectLst/>
              </a:defRPr>
            </a:lvl1pPr>
          </a:lstStyle>
          <a:p>
            <a:pPr defTabSz="1219215"/>
            <a:r>
              <a:rPr lang="it-IT"/>
              <a:t>Formato data GG/MM/AAAA</a:t>
            </a:r>
          </a:p>
        </p:txBody>
      </p:sp>
      <p:sp>
        <p:nvSpPr>
          <p:cNvPr id="21" name="Segnaposto piè di pagina 4">
            <a:extLst>
              <a:ext uri="{FF2B5EF4-FFF2-40B4-BE49-F238E27FC236}">
                <a16:creationId xmlns:a16="http://schemas.microsoft.com/office/drawing/2014/main" id="{5074485A-342B-4C89-A9CC-264412B3EE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118762" y="6551995"/>
            <a:ext cx="846570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>
              <a:defRPr lang="it-IT" sz="800" i="0">
                <a:solidFill>
                  <a:schemeClr val="bg2"/>
                </a:solidFill>
              </a:defRPr>
            </a:lvl1pPr>
          </a:lstStyle>
          <a:p>
            <a:pPr algn="r" defTabSz="1219215"/>
            <a:r>
              <a:rPr lang="en-GB"/>
              <a:t>Titolo presentazione   </a:t>
            </a:r>
            <a:r>
              <a:rPr lang="en-GB">
                <a:solidFill>
                  <a:schemeClr val="tx2"/>
                </a:solidFill>
              </a:rPr>
              <a:t>I</a:t>
            </a:r>
            <a:r>
              <a:rPr lang="en-GB"/>
              <a:t>   Nome relatore</a:t>
            </a:r>
          </a:p>
        </p:txBody>
      </p:sp>
    </p:spTree>
    <p:extLst>
      <p:ext uri="{BB962C8B-B14F-4D97-AF65-F5344CB8AC3E}">
        <p14:creationId xmlns:p14="http://schemas.microsoft.com/office/powerpoint/2010/main" val="12445734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  <p:sldLayoutId id="2147483809" r:id="rId15"/>
    <p:sldLayoutId id="2147483810" r:id="rId16"/>
    <p:sldLayoutId id="2147483811" r:id="rId17"/>
    <p:sldLayoutId id="2147483812" r:id="rId18"/>
    <p:sldLayoutId id="2147483813" r:id="rId19"/>
    <p:sldLayoutId id="2147483814" r:id="rId20"/>
  </p:sldLayoutIdLst>
  <p:hf sldNum="0" hdr="0"/>
  <p:txStyles>
    <p:titleStyle>
      <a:lvl1pPr algn="l" defTabSz="91443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35" rtl="0" eaLnBrk="1" latinLnBrk="0" hangingPunct="1">
        <a:lnSpc>
          <a:spcPct val="90000"/>
        </a:lnSpc>
        <a:spcBef>
          <a:spcPts val="1001"/>
        </a:spcBef>
        <a:buFont typeface="Arial" panose="020B0604020202020204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8" indent="0" algn="l" defTabSz="9144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>
          <a:tab pos="806479" algn="l"/>
        </a:tabLst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35" indent="0" algn="l" defTabSz="71440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51" indent="0" algn="l" defTabSz="9144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69" indent="0" algn="l" defTabSz="9144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96" indent="-228609" algn="l" defTabSz="9144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913" indent="-228609" algn="l" defTabSz="9144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9129" indent="-228609" algn="l" defTabSz="9144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6345" indent="-228609" algn="l" defTabSz="91443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218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435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651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869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6085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3302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520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738" algn="l" defTabSz="914435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3657">
          <p15:clr>
            <a:srgbClr val="F26B43"/>
          </p15:clr>
        </p15:guide>
        <p15:guide id="4" orient="horz" pos="4192">
          <p15:clr>
            <a:srgbClr val="F26B43"/>
          </p15:clr>
        </p15:guide>
        <p15:guide id="5" pos="7298">
          <p15:clr>
            <a:srgbClr val="F26B43"/>
          </p15:clr>
        </p15:guide>
        <p15:guide id="6" pos="258">
          <p15:clr>
            <a:srgbClr val="F26B43"/>
          </p15:clr>
        </p15:guide>
        <p15:guide id="7" orient="horz" pos="112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0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3" Type="http://schemas.openxmlformats.org/officeDocument/2006/relationships/tags" Target="../tags/tag5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image" Target="../media/image17.png"/><Relationship Id="rId2" Type="http://schemas.openxmlformats.org/officeDocument/2006/relationships/tags" Target="../tags/tag4.xml"/><Relationship Id="rId16" Type="http://schemas.openxmlformats.org/officeDocument/2006/relationships/notesSlide" Target="../notesSlides/notesSlide3.xml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5" Type="http://schemas.openxmlformats.org/officeDocument/2006/relationships/tags" Target="../tags/tag7.xml"/><Relationship Id="rId15" Type="http://schemas.openxmlformats.org/officeDocument/2006/relationships/slideLayout" Target="../slideLayouts/slideLayout8.xml"/><Relationship Id="rId10" Type="http://schemas.openxmlformats.org/officeDocument/2006/relationships/tags" Target="../tags/tag12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notesSlide" Target="../notesSlides/notesSlide4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slideLayout" Target="../slideLayouts/slideLayout5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5" Type="http://schemas.openxmlformats.org/officeDocument/2006/relationships/image" Target="../media/image17.png"/><Relationship Id="rId10" Type="http://schemas.openxmlformats.org/officeDocument/2006/relationships/tags" Target="../tags/tag26.xml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image" Target="../media/image1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27170" y="1081108"/>
            <a:ext cx="11221673" cy="889584"/>
          </a:xfrm>
        </p:spPr>
        <p:txBody>
          <a:bodyPr/>
          <a:lstStyle/>
          <a:p>
            <a:pPr algn="l"/>
            <a:r>
              <a:rPr lang="it-IT" sz="2800" dirty="0">
                <a:ea typeface="+mj-lt"/>
                <a:cs typeface="+mj-lt"/>
              </a:rPr>
              <a:t>Lo sviluppo infrastrutturale del Paese. Le scelte del mondo economico.</a:t>
            </a:r>
            <a:br>
              <a:rPr lang="it-IT" sz="2800" dirty="0">
                <a:ea typeface="+mj-lt"/>
                <a:cs typeface="+mj-lt"/>
              </a:rPr>
            </a:br>
            <a:r>
              <a:rPr lang="it-IT" sz="2800" dirty="0">
                <a:ea typeface="+mj-lt"/>
                <a:cs typeface="+mj-lt"/>
              </a:rPr>
              <a:t>«Ferrovie e trasporto intermodale» </a:t>
            </a:r>
            <a:endParaRPr lang="it-IT" sz="2800" dirty="0">
              <a:cs typeface="Calibri"/>
            </a:endParaRPr>
          </a:p>
        </p:txBody>
      </p:sp>
      <p:sp>
        <p:nvSpPr>
          <p:cNvPr id="3" name="CasellaDiTesto 2"/>
          <p:cNvSpPr txBox="1"/>
          <p:nvPr/>
        </p:nvSpPr>
        <p:spPr>
          <a:xfrm>
            <a:off x="0" y="5273964"/>
            <a:ext cx="17272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600" b="1" dirty="0">
                <a:solidFill>
                  <a:srgbClr val="F2F2F2"/>
                </a:solidFill>
                <a:latin typeface="Calibri" panose="020F0502020204030204"/>
              </a:rPr>
              <a:t>19 gennaio </a:t>
            </a:r>
            <a:r>
              <a:rPr kumimoji="0" lang="it-IT" sz="16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Calibri" panose="020F0502020204030204"/>
              </a:rPr>
              <a:t>2023</a:t>
            </a:r>
          </a:p>
        </p:txBody>
      </p:sp>
      <p:sp>
        <p:nvSpPr>
          <p:cNvPr id="4" name="CasellaDiTesto 3"/>
          <p:cNvSpPr txBox="1"/>
          <p:nvPr/>
        </p:nvSpPr>
        <p:spPr>
          <a:xfrm>
            <a:off x="4297680" y="2106211"/>
            <a:ext cx="71085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tributo</a:t>
            </a:r>
            <a:r>
              <a:rPr kumimoji="0" lang="it-IT" sz="2800" b="1" i="0" u="none" strike="noStrike" kern="1200" cap="none" spc="0" normalizeH="0" noProof="0" dirty="0">
                <a:ln>
                  <a:noFill/>
                </a:ln>
                <a:solidFill>
                  <a:srgbClr val="F2F2F2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di Rete Ferroviaria Italiana</a:t>
            </a:r>
            <a:endParaRPr kumimoji="0" lang="it-IT" sz="2800" b="1" i="0" u="none" strike="noStrike" kern="1200" cap="none" spc="0" normalizeH="0" baseline="0" noProof="0" dirty="0">
              <a:ln>
                <a:noFill/>
              </a:ln>
              <a:solidFill>
                <a:srgbClr val="F2F2F2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egnaposto testo 2"/>
          <p:cNvSpPr txBox="1">
            <a:spLocks/>
          </p:cNvSpPr>
          <p:nvPr/>
        </p:nvSpPr>
        <p:spPr>
          <a:xfrm>
            <a:off x="2576057" y="4371997"/>
            <a:ext cx="8830173" cy="576293"/>
          </a:xfrm>
          <a:prstGeom prst="rect">
            <a:avLst/>
          </a:prstGeom>
          <a:noFill/>
          <a:effectLst/>
        </p:spPr>
        <p:txBody>
          <a:bodyPr vert="horz" wrap="square" lIns="0" tIns="45720" rIns="0" bIns="144000" rtlCol="0" anchor="t">
            <a:sp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it-IT" sz="3200" b="0" kern="120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000"/>
              </a:lnSpc>
            </a:pPr>
            <a:r>
              <a:rPr lang="it-IT" sz="1600" b="1">
                <a:solidFill>
                  <a:schemeClr val="tx1"/>
                </a:solidFill>
              </a:rPr>
              <a:t>Anna </a:t>
            </a:r>
            <a:r>
              <a:rPr lang="it-IT" sz="1600" b="1" err="1">
                <a:solidFill>
                  <a:schemeClr val="tx1"/>
                </a:solidFill>
              </a:rPr>
              <a:t>Masutti</a:t>
            </a:r>
            <a:endParaRPr lang="it-IT" sz="1600" b="1">
              <a:solidFill>
                <a:schemeClr val="tx1"/>
              </a:solidFill>
            </a:endParaRPr>
          </a:p>
          <a:p>
            <a:pPr>
              <a:lnSpc>
                <a:spcPts val="1000"/>
              </a:lnSpc>
            </a:pPr>
            <a:r>
              <a:rPr lang="it-IT" sz="1600" b="1">
                <a:solidFill>
                  <a:schemeClr val="tx1"/>
                </a:solidFill>
              </a:rPr>
              <a:t>Presidente RFI</a:t>
            </a:r>
          </a:p>
        </p:txBody>
      </p:sp>
    </p:spTree>
    <p:extLst>
      <p:ext uri="{BB962C8B-B14F-4D97-AF65-F5344CB8AC3E}">
        <p14:creationId xmlns:p14="http://schemas.microsoft.com/office/powerpoint/2010/main" val="302971472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CustomShape 14">
            <a:extLst>
              <a:ext uri="{FF2B5EF4-FFF2-40B4-BE49-F238E27FC236}">
                <a16:creationId xmlns:a16="http://schemas.microsoft.com/office/drawing/2014/main" id="{43986D1F-18B8-4FE8-B539-24763B001A77}"/>
              </a:ext>
            </a:extLst>
          </p:cNvPr>
          <p:cNvSpPr/>
          <p:nvPr/>
        </p:nvSpPr>
        <p:spPr>
          <a:xfrm>
            <a:off x="7853389" y="849621"/>
            <a:ext cx="3799355" cy="5925810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/>
        </p:style>
        <p:txBody>
          <a:bodyPr wrap="square" lIns="90000" tIns="45000" rIns="90000" bIns="45000" anchor="ctr">
            <a:spAutoFit/>
          </a:bodyPr>
          <a:lstStyle/>
          <a:p>
            <a:pPr marL="91800" lvl="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  <a:defRPr/>
            </a:pPr>
            <a:r>
              <a:rPr lang="it-IT" sz="1400" spc="-1" dirty="0">
                <a:solidFill>
                  <a:srgbClr val="000000"/>
                </a:solidFill>
              </a:rPr>
              <a:t>Terzo Valico dei Giovi</a:t>
            </a:r>
          </a:p>
          <a:p>
            <a:pPr marL="91800" lvl="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  <a:defRPr/>
            </a:pPr>
            <a:endParaRPr lang="it-IT" sz="1400" spc="-1" dirty="0">
              <a:solidFill>
                <a:srgbClr val="000000"/>
              </a:solidFill>
            </a:endParaRPr>
          </a:p>
          <a:p>
            <a:pPr marL="91800" lvl="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  <a:defRPr/>
            </a:pPr>
            <a:r>
              <a:rPr lang="it-IT" sz="1400" spc="-1" dirty="0">
                <a:solidFill>
                  <a:srgbClr val="000000"/>
                </a:solidFill>
              </a:rPr>
              <a:t>AV/AC Brescia – Verona – Padova</a:t>
            </a:r>
          </a:p>
          <a:p>
            <a:pPr marL="91800" lvl="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  <a:defRPr/>
            </a:pPr>
            <a:endParaRPr lang="it-IT" sz="1400" spc="-1" dirty="0">
              <a:solidFill>
                <a:srgbClr val="000000"/>
              </a:solidFill>
            </a:endParaRPr>
          </a:p>
          <a:p>
            <a:pPr marL="91800" lvl="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  <a:defRPr/>
            </a:pPr>
            <a:r>
              <a:rPr lang="it-IT" sz="1400" spc="-1" dirty="0">
                <a:solidFill>
                  <a:srgbClr val="000000"/>
                </a:solidFill>
              </a:rPr>
              <a:t>BBT e Lotti di Accesso al Brennero</a:t>
            </a:r>
          </a:p>
          <a:p>
            <a:pPr marL="91800" lvl="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  <a:defRPr/>
            </a:pPr>
            <a:endParaRPr lang="it-IT" sz="1400" spc="-1" dirty="0">
              <a:solidFill>
                <a:srgbClr val="000000"/>
              </a:solidFill>
            </a:endParaRPr>
          </a:p>
          <a:p>
            <a:pPr marL="9180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</a:pPr>
            <a:r>
              <a:rPr lang="it-IT" sz="1400" spc="-1" dirty="0">
                <a:solidFill>
                  <a:srgbClr val="000000"/>
                </a:solidFill>
              </a:rPr>
              <a:t>Potenziamento Venezia-Trieste</a:t>
            </a:r>
          </a:p>
          <a:p>
            <a:pPr marL="9180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</a:pPr>
            <a:endParaRPr lang="it-IT" sz="1400" spc="-1" dirty="0">
              <a:solidFill>
                <a:srgbClr val="000000"/>
              </a:solidFill>
            </a:endParaRPr>
          </a:p>
          <a:p>
            <a:pPr marL="9180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</a:pPr>
            <a:r>
              <a:rPr lang="it-IT" sz="1400" spc="-1" dirty="0">
                <a:solidFill>
                  <a:srgbClr val="000000"/>
                </a:solidFill>
              </a:rPr>
              <a:t>ACC e PRG Nodo di Udine</a:t>
            </a:r>
          </a:p>
          <a:p>
            <a:pPr marL="9180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</a:pPr>
            <a:endParaRPr lang="it-IT" sz="1400" spc="-1" dirty="0">
              <a:solidFill>
                <a:srgbClr val="000000"/>
              </a:solidFill>
            </a:endParaRPr>
          </a:p>
          <a:p>
            <a:pPr marL="9180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</a:pPr>
            <a:r>
              <a:rPr lang="it-IT" sz="1400" spc="-1" dirty="0">
                <a:solidFill>
                  <a:srgbClr val="000000"/>
                </a:solidFill>
              </a:rPr>
              <a:t>Upgrading Udine-Gorizia-Monfalcone</a:t>
            </a:r>
          </a:p>
          <a:p>
            <a:pPr marL="9180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</a:pPr>
            <a:endParaRPr lang="it-IT" sz="1400" spc="-1" dirty="0">
              <a:solidFill>
                <a:srgbClr val="000000"/>
              </a:solidFill>
            </a:endParaRPr>
          </a:p>
          <a:p>
            <a:pPr marL="9180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</a:pPr>
            <a:r>
              <a:rPr lang="it-IT" sz="1400" spc="-1" dirty="0">
                <a:solidFill>
                  <a:srgbClr val="000000"/>
                </a:solidFill>
              </a:rPr>
              <a:t>ACC e PRG di Villa Opicina</a:t>
            </a:r>
          </a:p>
          <a:p>
            <a:pPr marL="9180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</a:pPr>
            <a:endParaRPr lang="it-IT" sz="1400" spc="-1" dirty="0">
              <a:solidFill>
                <a:srgbClr val="000000"/>
              </a:solidFill>
            </a:endParaRPr>
          </a:p>
          <a:p>
            <a:pPr marL="9180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</a:pPr>
            <a:r>
              <a:rPr lang="it-IT" sz="1400" spc="-1" dirty="0">
                <a:solidFill>
                  <a:srgbClr val="000000"/>
                </a:solidFill>
              </a:rPr>
              <a:t>Lunetta di Gorizia</a:t>
            </a:r>
          </a:p>
          <a:p>
            <a:pPr marL="9180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</a:pPr>
            <a:endParaRPr lang="it-IT" sz="1400" spc="-1" dirty="0">
              <a:solidFill>
                <a:srgbClr val="000000"/>
              </a:solidFill>
            </a:endParaRPr>
          </a:p>
          <a:p>
            <a:pPr marL="9180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</a:pPr>
            <a:r>
              <a:rPr lang="it-IT" sz="1400" spc="-1" dirty="0">
                <a:solidFill>
                  <a:srgbClr val="000000"/>
                </a:solidFill>
              </a:rPr>
              <a:t>Raddoppio Pontremolese 1^ fase</a:t>
            </a:r>
          </a:p>
          <a:p>
            <a:pPr marL="91800" lvl="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  <a:defRPr/>
            </a:pPr>
            <a:endParaRPr lang="it-IT" sz="1400" spc="-1" dirty="0">
              <a:solidFill>
                <a:srgbClr val="000000"/>
              </a:solidFill>
            </a:endParaRPr>
          </a:p>
          <a:p>
            <a:pPr marL="91800" lvl="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  <a:defRPr/>
            </a:pPr>
            <a:r>
              <a:rPr lang="it-IT" sz="1400" spc="-1" dirty="0">
                <a:solidFill>
                  <a:srgbClr val="000000"/>
                </a:solidFill>
              </a:rPr>
              <a:t>Potenziamento infrastrutturale Orte-Falconara</a:t>
            </a:r>
          </a:p>
          <a:p>
            <a:pPr marL="91800" lvl="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  <a:defRPr/>
            </a:pPr>
            <a:endParaRPr lang="it-IT" sz="1400" spc="-1" dirty="0">
              <a:solidFill>
                <a:srgbClr val="000000"/>
              </a:solidFill>
            </a:endParaRPr>
          </a:p>
          <a:p>
            <a:pPr marL="91800" lvl="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  <a:defRPr/>
            </a:pPr>
            <a:r>
              <a:rPr lang="it-IT" sz="1400" spc="-1" dirty="0">
                <a:solidFill>
                  <a:srgbClr val="000000"/>
                </a:solidFill>
              </a:rPr>
              <a:t>Potenziamento Roma-Pescara</a:t>
            </a:r>
          </a:p>
          <a:p>
            <a:pPr marL="91800" lvl="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  <a:defRPr/>
            </a:pPr>
            <a:endParaRPr lang="it-IT" sz="1400" spc="-1" dirty="0">
              <a:solidFill>
                <a:srgbClr val="000000"/>
              </a:solidFill>
            </a:endParaRPr>
          </a:p>
          <a:p>
            <a:pPr marL="91800" lvl="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  <a:defRPr/>
            </a:pPr>
            <a:r>
              <a:rPr lang="it-IT" sz="1400" spc="-1" dirty="0">
                <a:solidFill>
                  <a:srgbClr val="000000"/>
                </a:solidFill>
              </a:rPr>
              <a:t>Raddoppio Termoli – Lesina</a:t>
            </a:r>
          </a:p>
          <a:p>
            <a:pPr marL="91800" lvl="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  <a:defRPr/>
            </a:pPr>
            <a:endParaRPr lang="it-IT" sz="1400" spc="-1" dirty="0">
              <a:solidFill>
                <a:srgbClr val="000000"/>
              </a:solidFill>
            </a:endParaRPr>
          </a:p>
          <a:p>
            <a:pPr marL="9180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  <a:defRPr/>
            </a:pPr>
            <a:r>
              <a:rPr lang="it-IT" sz="1400" spc="-1" dirty="0">
                <a:solidFill>
                  <a:srgbClr val="000000"/>
                </a:solidFill>
              </a:rPr>
              <a:t>Bretella di Santa Maria Capua Vetere</a:t>
            </a:r>
          </a:p>
          <a:p>
            <a:pPr marL="9180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  <a:defRPr/>
            </a:pPr>
            <a:endParaRPr lang="it-IT" sz="1400" spc="-1" dirty="0">
              <a:solidFill>
                <a:srgbClr val="000000"/>
              </a:solidFill>
            </a:endParaRPr>
          </a:p>
          <a:p>
            <a:pPr marL="9180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  <a:defRPr/>
            </a:pPr>
            <a:r>
              <a:rPr lang="it-IT" sz="1400" spc="-1" dirty="0">
                <a:solidFill>
                  <a:srgbClr val="000000"/>
                </a:solidFill>
              </a:rPr>
              <a:t>Itinerario AV/AC Napoli – Bari</a:t>
            </a:r>
          </a:p>
          <a:p>
            <a:pPr marL="9180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  <a:defRPr/>
            </a:pPr>
            <a:endParaRPr lang="it-IT" sz="1400" spc="-1" dirty="0">
              <a:solidFill>
                <a:srgbClr val="000000"/>
              </a:solidFill>
            </a:endParaRPr>
          </a:p>
          <a:p>
            <a:pPr marL="9180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  <a:defRPr/>
            </a:pPr>
            <a:r>
              <a:rPr lang="it-IT" sz="1400" spc="-1" dirty="0">
                <a:solidFill>
                  <a:srgbClr val="000000"/>
                </a:solidFill>
              </a:rPr>
              <a:t>Itinerario AV/AC Salerno – Reggio</a:t>
            </a:r>
          </a:p>
          <a:p>
            <a:pPr marL="9180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  <a:defRPr/>
            </a:pPr>
            <a:endParaRPr lang="it-IT" sz="1400" spc="-1" dirty="0">
              <a:solidFill>
                <a:srgbClr val="000000"/>
              </a:solidFill>
            </a:endParaRPr>
          </a:p>
          <a:p>
            <a:pPr marL="9180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  <a:defRPr/>
            </a:pPr>
            <a:r>
              <a:rPr lang="it-IT" sz="1400" spc="-1" dirty="0">
                <a:solidFill>
                  <a:srgbClr val="000000"/>
                </a:solidFill>
              </a:rPr>
              <a:t>Itinerario Taranto-Gioia Tauro</a:t>
            </a:r>
          </a:p>
          <a:p>
            <a:pPr marL="91800" lvl="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  <a:defRPr/>
            </a:pPr>
            <a:endParaRPr lang="it-IT" sz="1400" spc="-1" dirty="0">
              <a:solidFill>
                <a:srgbClr val="000000"/>
              </a:solidFill>
            </a:endParaRPr>
          </a:p>
          <a:p>
            <a:pPr marL="91800" lvl="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  <a:defRPr/>
            </a:pPr>
            <a:r>
              <a:rPr lang="it-IT" sz="1400" spc="-1" dirty="0">
                <a:solidFill>
                  <a:srgbClr val="000000"/>
                </a:solidFill>
              </a:rPr>
              <a:t>Nuovo collegamento Palermo-Catania</a:t>
            </a:r>
            <a:endParaRPr lang="it-IT" sz="1400" spc="-1" dirty="0">
              <a:solidFill>
                <a:srgbClr val="000000"/>
              </a:solidFill>
              <a:latin typeface="Calibri" panose="020F0502020204030204"/>
            </a:endParaRPr>
          </a:p>
          <a:p>
            <a:pPr marL="9180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</a:pPr>
            <a:endParaRPr lang="it-IT" sz="1400" spc="-1" dirty="0">
              <a:solidFill>
                <a:srgbClr val="000000"/>
              </a:solidFill>
              <a:latin typeface="Calibri" panose="020F0502020204030204"/>
            </a:endParaRPr>
          </a:p>
          <a:p>
            <a:pPr marL="91800" indent="-91080">
              <a:lnSpc>
                <a:spcPts val="1300"/>
              </a:lnSpc>
              <a:buClr>
                <a:srgbClr val="00B050"/>
              </a:buClr>
              <a:buSzPct val="125000"/>
              <a:buFont typeface="Wingdings" charset="2"/>
              <a:buChar char=""/>
            </a:pPr>
            <a:r>
              <a:rPr lang="it-IT" sz="1400" spc="-1" dirty="0">
                <a:solidFill>
                  <a:srgbClr val="000000"/>
                </a:solidFill>
                <a:latin typeface="Calibri" panose="020F0502020204030204"/>
              </a:rPr>
              <a:t>Raddoppio Giampilieri-Fiumefreddo</a:t>
            </a:r>
          </a:p>
        </p:txBody>
      </p:sp>
      <p:grpSp>
        <p:nvGrpSpPr>
          <p:cNvPr id="119" name="Gruppo 118"/>
          <p:cNvGrpSpPr>
            <a:grpSpLocks/>
          </p:cNvGrpSpPr>
          <p:nvPr/>
        </p:nvGrpSpPr>
        <p:grpSpPr>
          <a:xfrm>
            <a:off x="3950136" y="1549142"/>
            <a:ext cx="3861087" cy="4732555"/>
            <a:chOff x="7098105" y="2087241"/>
            <a:chExt cx="4560161" cy="4522869"/>
          </a:xfrm>
        </p:grpSpPr>
        <p:grpSp>
          <p:nvGrpSpPr>
            <p:cNvPr id="120" name="Gruppo 119"/>
            <p:cNvGrpSpPr/>
            <p:nvPr/>
          </p:nvGrpSpPr>
          <p:grpSpPr>
            <a:xfrm>
              <a:off x="7296692" y="2087241"/>
              <a:ext cx="4361574" cy="4522869"/>
              <a:chOff x="6714755" y="1564004"/>
              <a:chExt cx="4588907" cy="5149373"/>
            </a:xfrm>
          </p:grpSpPr>
          <p:sp>
            <p:nvSpPr>
              <p:cNvPr id="125" name="Figura a mano libera 124"/>
              <p:cNvSpPr/>
              <p:nvPr/>
            </p:nvSpPr>
            <p:spPr bwMode="auto">
              <a:xfrm>
                <a:off x="7315197" y="4085069"/>
                <a:ext cx="685504" cy="1127727"/>
              </a:xfrm>
              <a:custGeom>
                <a:avLst/>
                <a:gdLst>
                  <a:gd name="connsiteX0" fmla="*/ 58847 w 873659"/>
                  <a:gd name="connsiteY0" fmla="*/ 208229 h 1552669"/>
                  <a:gd name="connsiteX1" fmla="*/ 162962 w 873659"/>
                  <a:gd name="connsiteY1" fmla="*/ 258023 h 1552669"/>
                  <a:gd name="connsiteX2" fmla="*/ 230863 w 873659"/>
                  <a:gd name="connsiteY2" fmla="*/ 267077 h 1552669"/>
                  <a:gd name="connsiteX3" fmla="*/ 316871 w 873659"/>
                  <a:gd name="connsiteY3" fmla="*/ 203703 h 1552669"/>
                  <a:gd name="connsiteX4" fmla="*/ 353085 w 873659"/>
                  <a:gd name="connsiteY4" fmla="*/ 208229 h 1552669"/>
                  <a:gd name="connsiteX5" fmla="*/ 407406 w 873659"/>
                  <a:gd name="connsiteY5" fmla="*/ 140328 h 1552669"/>
                  <a:gd name="connsiteX6" fmla="*/ 479834 w 873659"/>
                  <a:gd name="connsiteY6" fmla="*/ 76954 h 1552669"/>
                  <a:gd name="connsiteX7" fmla="*/ 529628 w 873659"/>
                  <a:gd name="connsiteY7" fmla="*/ 76954 h 1552669"/>
                  <a:gd name="connsiteX8" fmla="*/ 543208 w 873659"/>
                  <a:gd name="connsiteY8" fmla="*/ 58847 h 1552669"/>
                  <a:gd name="connsiteX9" fmla="*/ 547735 w 873659"/>
                  <a:gd name="connsiteY9" fmla="*/ 58847 h 1552669"/>
                  <a:gd name="connsiteX10" fmla="*/ 538681 w 873659"/>
                  <a:gd name="connsiteY10" fmla="*/ 0 h 1552669"/>
                  <a:gd name="connsiteX11" fmla="*/ 611109 w 873659"/>
                  <a:gd name="connsiteY11" fmla="*/ 0 h 1552669"/>
                  <a:gd name="connsiteX12" fmla="*/ 620162 w 873659"/>
                  <a:gd name="connsiteY12" fmla="*/ 45267 h 1552669"/>
                  <a:gd name="connsiteX13" fmla="*/ 651849 w 873659"/>
                  <a:gd name="connsiteY13" fmla="*/ 45267 h 1552669"/>
                  <a:gd name="connsiteX14" fmla="*/ 697117 w 873659"/>
                  <a:gd name="connsiteY14" fmla="*/ 4526 h 1552669"/>
                  <a:gd name="connsiteX15" fmla="*/ 710697 w 873659"/>
                  <a:gd name="connsiteY15" fmla="*/ 36214 h 1552669"/>
                  <a:gd name="connsiteX16" fmla="*/ 710697 w 873659"/>
                  <a:gd name="connsiteY16" fmla="*/ 36214 h 1552669"/>
                  <a:gd name="connsiteX17" fmla="*/ 701643 w 873659"/>
                  <a:gd name="connsiteY17" fmla="*/ 99588 h 1552669"/>
                  <a:gd name="connsiteX18" fmla="*/ 728804 w 873659"/>
                  <a:gd name="connsiteY18" fmla="*/ 86008 h 1552669"/>
                  <a:gd name="connsiteX19" fmla="*/ 760491 w 873659"/>
                  <a:gd name="connsiteY19" fmla="*/ 95061 h 1552669"/>
                  <a:gd name="connsiteX20" fmla="*/ 760491 w 873659"/>
                  <a:gd name="connsiteY20" fmla="*/ 95061 h 1552669"/>
                  <a:gd name="connsiteX21" fmla="*/ 737857 w 873659"/>
                  <a:gd name="connsiteY21" fmla="*/ 140328 h 1552669"/>
                  <a:gd name="connsiteX22" fmla="*/ 737857 w 873659"/>
                  <a:gd name="connsiteY22" fmla="*/ 185596 h 1552669"/>
                  <a:gd name="connsiteX23" fmla="*/ 737857 w 873659"/>
                  <a:gd name="connsiteY23" fmla="*/ 185596 h 1552669"/>
                  <a:gd name="connsiteX24" fmla="*/ 778598 w 873659"/>
                  <a:gd name="connsiteY24" fmla="*/ 167489 h 1552669"/>
                  <a:gd name="connsiteX25" fmla="*/ 769544 w 873659"/>
                  <a:gd name="connsiteY25" fmla="*/ 194649 h 1552669"/>
                  <a:gd name="connsiteX26" fmla="*/ 760491 w 873659"/>
                  <a:gd name="connsiteY26" fmla="*/ 244443 h 1552669"/>
                  <a:gd name="connsiteX27" fmla="*/ 774071 w 873659"/>
                  <a:gd name="connsiteY27" fmla="*/ 244443 h 1552669"/>
                  <a:gd name="connsiteX28" fmla="*/ 805758 w 873659"/>
                  <a:gd name="connsiteY28" fmla="*/ 244443 h 1552669"/>
                  <a:gd name="connsiteX29" fmla="*/ 837445 w 873659"/>
                  <a:gd name="connsiteY29" fmla="*/ 230863 h 1552669"/>
                  <a:gd name="connsiteX30" fmla="*/ 837445 w 873659"/>
                  <a:gd name="connsiteY30" fmla="*/ 230863 h 1552669"/>
                  <a:gd name="connsiteX31" fmla="*/ 810285 w 873659"/>
                  <a:gd name="connsiteY31" fmla="*/ 262550 h 1552669"/>
                  <a:gd name="connsiteX32" fmla="*/ 851026 w 873659"/>
                  <a:gd name="connsiteY32" fmla="*/ 262550 h 1552669"/>
                  <a:gd name="connsiteX33" fmla="*/ 832919 w 873659"/>
                  <a:gd name="connsiteY33" fmla="*/ 271604 h 1552669"/>
                  <a:gd name="connsiteX34" fmla="*/ 801232 w 873659"/>
                  <a:gd name="connsiteY34" fmla="*/ 307817 h 1552669"/>
                  <a:gd name="connsiteX35" fmla="*/ 823865 w 873659"/>
                  <a:gd name="connsiteY35" fmla="*/ 339505 h 1552669"/>
                  <a:gd name="connsiteX36" fmla="*/ 832919 w 873659"/>
                  <a:gd name="connsiteY36" fmla="*/ 384772 h 1552669"/>
                  <a:gd name="connsiteX37" fmla="*/ 832919 w 873659"/>
                  <a:gd name="connsiteY37" fmla="*/ 384772 h 1552669"/>
                  <a:gd name="connsiteX38" fmla="*/ 832919 w 873659"/>
                  <a:gd name="connsiteY38" fmla="*/ 434566 h 1552669"/>
                  <a:gd name="connsiteX39" fmla="*/ 855552 w 873659"/>
                  <a:gd name="connsiteY39" fmla="*/ 461726 h 1552669"/>
                  <a:gd name="connsiteX40" fmla="*/ 873659 w 873659"/>
                  <a:gd name="connsiteY40" fmla="*/ 502467 h 1552669"/>
                  <a:gd name="connsiteX41" fmla="*/ 851026 w 873659"/>
                  <a:gd name="connsiteY41" fmla="*/ 543208 h 1552669"/>
                  <a:gd name="connsiteX42" fmla="*/ 851026 w 873659"/>
                  <a:gd name="connsiteY42" fmla="*/ 574895 h 1552669"/>
                  <a:gd name="connsiteX43" fmla="*/ 823865 w 873659"/>
                  <a:gd name="connsiteY43" fmla="*/ 611109 h 1552669"/>
                  <a:gd name="connsiteX44" fmla="*/ 783125 w 873659"/>
                  <a:gd name="connsiteY44" fmla="*/ 642796 h 1552669"/>
                  <a:gd name="connsiteX45" fmla="*/ 765018 w 873659"/>
                  <a:gd name="connsiteY45" fmla="*/ 669956 h 1552669"/>
                  <a:gd name="connsiteX46" fmla="*/ 760491 w 873659"/>
                  <a:gd name="connsiteY46" fmla="*/ 710697 h 1552669"/>
                  <a:gd name="connsiteX47" fmla="*/ 769544 w 873659"/>
                  <a:gd name="connsiteY47" fmla="*/ 755964 h 1552669"/>
                  <a:gd name="connsiteX48" fmla="*/ 769544 w 873659"/>
                  <a:gd name="connsiteY48" fmla="*/ 755964 h 1552669"/>
                  <a:gd name="connsiteX49" fmla="*/ 810285 w 873659"/>
                  <a:gd name="connsiteY49" fmla="*/ 783124 h 1552669"/>
                  <a:gd name="connsiteX50" fmla="*/ 783125 w 873659"/>
                  <a:gd name="connsiteY50" fmla="*/ 860079 h 1552669"/>
                  <a:gd name="connsiteX51" fmla="*/ 760491 w 873659"/>
                  <a:gd name="connsiteY51" fmla="*/ 905346 h 1552669"/>
                  <a:gd name="connsiteX52" fmla="*/ 769544 w 873659"/>
                  <a:gd name="connsiteY52" fmla="*/ 995881 h 1552669"/>
                  <a:gd name="connsiteX53" fmla="*/ 742384 w 873659"/>
                  <a:gd name="connsiteY53" fmla="*/ 1045675 h 1552669"/>
                  <a:gd name="connsiteX54" fmla="*/ 737857 w 873659"/>
                  <a:gd name="connsiteY54" fmla="*/ 1109049 h 1552669"/>
                  <a:gd name="connsiteX55" fmla="*/ 733331 w 873659"/>
                  <a:gd name="connsiteY55" fmla="*/ 1163370 h 1552669"/>
                  <a:gd name="connsiteX56" fmla="*/ 733331 w 873659"/>
                  <a:gd name="connsiteY56" fmla="*/ 1204111 h 1552669"/>
                  <a:gd name="connsiteX57" fmla="*/ 692590 w 873659"/>
                  <a:gd name="connsiteY57" fmla="*/ 1244851 h 1552669"/>
                  <a:gd name="connsiteX58" fmla="*/ 706170 w 873659"/>
                  <a:gd name="connsiteY58" fmla="*/ 1285592 h 1552669"/>
                  <a:gd name="connsiteX59" fmla="*/ 706170 w 873659"/>
                  <a:gd name="connsiteY59" fmla="*/ 1285592 h 1552669"/>
                  <a:gd name="connsiteX60" fmla="*/ 688063 w 873659"/>
                  <a:gd name="connsiteY60" fmla="*/ 1326332 h 1552669"/>
                  <a:gd name="connsiteX61" fmla="*/ 683537 w 873659"/>
                  <a:gd name="connsiteY61" fmla="*/ 1371600 h 1552669"/>
                  <a:gd name="connsiteX62" fmla="*/ 674483 w 873659"/>
                  <a:gd name="connsiteY62" fmla="*/ 1425920 h 1552669"/>
                  <a:gd name="connsiteX63" fmla="*/ 611109 w 873659"/>
                  <a:gd name="connsiteY63" fmla="*/ 1416867 h 1552669"/>
                  <a:gd name="connsiteX64" fmla="*/ 570368 w 873659"/>
                  <a:gd name="connsiteY64" fmla="*/ 1376126 h 1552669"/>
                  <a:gd name="connsiteX65" fmla="*/ 543208 w 873659"/>
                  <a:gd name="connsiteY65" fmla="*/ 1348966 h 1552669"/>
                  <a:gd name="connsiteX66" fmla="*/ 497940 w 873659"/>
                  <a:gd name="connsiteY66" fmla="*/ 1339913 h 1552669"/>
                  <a:gd name="connsiteX67" fmla="*/ 457200 w 873659"/>
                  <a:gd name="connsiteY67" fmla="*/ 1367073 h 1552669"/>
                  <a:gd name="connsiteX68" fmla="*/ 457200 w 873659"/>
                  <a:gd name="connsiteY68" fmla="*/ 1367073 h 1552669"/>
                  <a:gd name="connsiteX69" fmla="*/ 457200 w 873659"/>
                  <a:gd name="connsiteY69" fmla="*/ 1367073 h 1552669"/>
                  <a:gd name="connsiteX70" fmla="*/ 425513 w 873659"/>
                  <a:gd name="connsiteY70" fmla="*/ 1339913 h 1552669"/>
                  <a:gd name="connsiteX71" fmla="*/ 389299 w 873659"/>
                  <a:gd name="connsiteY71" fmla="*/ 1403287 h 1552669"/>
                  <a:gd name="connsiteX72" fmla="*/ 375719 w 873659"/>
                  <a:gd name="connsiteY72" fmla="*/ 1439501 h 1552669"/>
                  <a:gd name="connsiteX73" fmla="*/ 380245 w 873659"/>
                  <a:gd name="connsiteY73" fmla="*/ 1484768 h 1552669"/>
                  <a:gd name="connsiteX74" fmla="*/ 339505 w 873659"/>
                  <a:gd name="connsiteY74" fmla="*/ 1511928 h 1552669"/>
                  <a:gd name="connsiteX75" fmla="*/ 271604 w 873659"/>
                  <a:gd name="connsiteY75" fmla="*/ 1552669 h 1552669"/>
                  <a:gd name="connsiteX76" fmla="*/ 217283 w 873659"/>
                  <a:gd name="connsiteY76" fmla="*/ 1516455 h 1552669"/>
                  <a:gd name="connsiteX77" fmla="*/ 172016 w 873659"/>
                  <a:gd name="connsiteY77" fmla="*/ 1548142 h 1552669"/>
                  <a:gd name="connsiteX78" fmla="*/ 144855 w 873659"/>
                  <a:gd name="connsiteY78" fmla="*/ 1484768 h 1552669"/>
                  <a:gd name="connsiteX79" fmla="*/ 144855 w 873659"/>
                  <a:gd name="connsiteY79" fmla="*/ 1421394 h 1552669"/>
                  <a:gd name="connsiteX80" fmla="*/ 144855 w 873659"/>
                  <a:gd name="connsiteY80" fmla="*/ 1421394 h 1552669"/>
                  <a:gd name="connsiteX81" fmla="*/ 104115 w 873659"/>
                  <a:gd name="connsiteY81" fmla="*/ 1444027 h 1552669"/>
                  <a:gd name="connsiteX82" fmla="*/ 67901 w 873659"/>
                  <a:gd name="connsiteY82" fmla="*/ 1471188 h 1552669"/>
                  <a:gd name="connsiteX83" fmla="*/ 54321 w 873659"/>
                  <a:gd name="connsiteY83" fmla="*/ 1507402 h 1552669"/>
                  <a:gd name="connsiteX84" fmla="*/ 58847 w 873659"/>
                  <a:gd name="connsiteY84" fmla="*/ 1484768 h 1552669"/>
                  <a:gd name="connsiteX85" fmla="*/ 31687 w 873659"/>
                  <a:gd name="connsiteY85" fmla="*/ 1421394 h 1552669"/>
                  <a:gd name="connsiteX86" fmla="*/ 31687 w 873659"/>
                  <a:gd name="connsiteY86" fmla="*/ 1421394 h 1552669"/>
                  <a:gd name="connsiteX87" fmla="*/ 90535 w 873659"/>
                  <a:gd name="connsiteY87" fmla="*/ 1394233 h 1552669"/>
                  <a:gd name="connsiteX88" fmla="*/ 76954 w 873659"/>
                  <a:gd name="connsiteY88" fmla="*/ 1348966 h 1552669"/>
                  <a:gd name="connsiteX89" fmla="*/ 49794 w 873659"/>
                  <a:gd name="connsiteY89" fmla="*/ 1321806 h 1552669"/>
                  <a:gd name="connsiteX90" fmla="*/ 90535 w 873659"/>
                  <a:gd name="connsiteY90" fmla="*/ 1281065 h 1552669"/>
                  <a:gd name="connsiteX91" fmla="*/ 58847 w 873659"/>
                  <a:gd name="connsiteY91" fmla="*/ 1226744 h 1552669"/>
                  <a:gd name="connsiteX92" fmla="*/ 72428 w 873659"/>
                  <a:gd name="connsiteY92" fmla="*/ 1181477 h 1552669"/>
                  <a:gd name="connsiteX93" fmla="*/ 58847 w 873659"/>
                  <a:gd name="connsiteY93" fmla="*/ 1149790 h 1552669"/>
                  <a:gd name="connsiteX94" fmla="*/ 108641 w 873659"/>
                  <a:gd name="connsiteY94" fmla="*/ 1063782 h 1552669"/>
                  <a:gd name="connsiteX95" fmla="*/ 126748 w 873659"/>
                  <a:gd name="connsiteY95" fmla="*/ 964194 h 1552669"/>
                  <a:gd name="connsiteX96" fmla="*/ 158436 w 873659"/>
                  <a:gd name="connsiteY96" fmla="*/ 982301 h 1552669"/>
                  <a:gd name="connsiteX97" fmla="*/ 181069 w 873659"/>
                  <a:gd name="connsiteY97" fmla="*/ 923453 h 1552669"/>
                  <a:gd name="connsiteX98" fmla="*/ 162962 w 873659"/>
                  <a:gd name="connsiteY98" fmla="*/ 869132 h 1552669"/>
                  <a:gd name="connsiteX99" fmla="*/ 117695 w 873659"/>
                  <a:gd name="connsiteY99" fmla="*/ 887239 h 1552669"/>
                  <a:gd name="connsiteX100" fmla="*/ 122222 w 873659"/>
                  <a:gd name="connsiteY100" fmla="*/ 887239 h 1552669"/>
                  <a:gd name="connsiteX101" fmla="*/ 86008 w 873659"/>
                  <a:gd name="connsiteY101" fmla="*/ 860079 h 1552669"/>
                  <a:gd name="connsiteX102" fmla="*/ 90535 w 873659"/>
                  <a:gd name="connsiteY102" fmla="*/ 774071 h 1552669"/>
                  <a:gd name="connsiteX103" fmla="*/ 158436 w 873659"/>
                  <a:gd name="connsiteY103" fmla="*/ 760491 h 1552669"/>
                  <a:gd name="connsiteX104" fmla="*/ 144855 w 873659"/>
                  <a:gd name="connsiteY104" fmla="*/ 715223 h 1552669"/>
                  <a:gd name="connsiteX105" fmla="*/ 140329 w 873659"/>
                  <a:gd name="connsiteY105" fmla="*/ 660903 h 1552669"/>
                  <a:gd name="connsiteX106" fmla="*/ 158436 w 873659"/>
                  <a:gd name="connsiteY106" fmla="*/ 602055 h 1552669"/>
                  <a:gd name="connsiteX107" fmla="*/ 117695 w 873659"/>
                  <a:gd name="connsiteY107" fmla="*/ 593002 h 1552669"/>
                  <a:gd name="connsiteX108" fmla="*/ 117695 w 873659"/>
                  <a:gd name="connsiteY108" fmla="*/ 538681 h 1552669"/>
                  <a:gd name="connsiteX109" fmla="*/ 113168 w 873659"/>
                  <a:gd name="connsiteY109" fmla="*/ 479833 h 1552669"/>
                  <a:gd name="connsiteX110" fmla="*/ 67901 w 873659"/>
                  <a:gd name="connsiteY110" fmla="*/ 411932 h 1552669"/>
                  <a:gd name="connsiteX111" fmla="*/ 36214 w 873659"/>
                  <a:gd name="connsiteY111" fmla="*/ 425513 h 1552669"/>
                  <a:gd name="connsiteX112" fmla="*/ 36214 w 873659"/>
                  <a:gd name="connsiteY112" fmla="*/ 389299 h 1552669"/>
                  <a:gd name="connsiteX113" fmla="*/ 13580 w 873659"/>
                  <a:gd name="connsiteY113" fmla="*/ 420986 h 1552669"/>
                  <a:gd name="connsiteX114" fmla="*/ 0 w 873659"/>
                  <a:gd name="connsiteY114" fmla="*/ 380245 h 1552669"/>
                  <a:gd name="connsiteX115" fmla="*/ 31687 w 873659"/>
                  <a:gd name="connsiteY115" fmla="*/ 348558 h 1552669"/>
                  <a:gd name="connsiteX116" fmla="*/ 4527 w 873659"/>
                  <a:gd name="connsiteY116" fmla="*/ 312344 h 1552669"/>
                  <a:gd name="connsiteX117" fmla="*/ 58847 w 873659"/>
                  <a:gd name="connsiteY117" fmla="*/ 208229 h 155266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</a:cxnLst>
                <a:rect l="l" t="t" r="r" b="b"/>
                <a:pathLst>
                  <a:path w="873659" h="1552669">
                    <a:moveTo>
                      <a:pt x="58847" y="208229"/>
                    </a:moveTo>
                    <a:lnTo>
                      <a:pt x="162962" y="258023"/>
                    </a:lnTo>
                    <a:lnTo>
                      <a:pt x="230863" y="267077"/>
                    </a:lnTo>
                    <a:lnTo>
                      <a:pt x="316871" y="203703"/>
                    </a:lnTo>
                    <a:lnTo>
                      <a:pt x="353085" y="208229"/>
                    </a:lnTo>
                    <a:lnTo>
                      <a:pt x="407406" y="140328"/>
                    </a:lnTo>
                    <a:lnTo>
                      <a:pt x="479834" y="76954"/>
                    </a:lnTo>
                    <a:lnTo>
                      <a:pt x="529628" y="76954"/>
                    </a:lnTo>
                    <a:lnTo>
                      <a:pt x="543208" y="58847"/>
                    </a:lnTo>
                    <a:lnTo>
                      <a:pt x="547735" y="58847"/>
                    </a:lnTo>
                    <a:lnTo>
                      <a:pt x="538681" y="0"/>
                    </a:lnTo>
                    <a:lnTo>
                      <a:pt x="611109" y="0"/>
                    </a:lnTo>
                    <a:lnTo>
                      <a:pt x="620162" y="45267"/>
                    </a:lnTo>
                    <a:lnTo>
                      <a:pt x="651849" y="45267"/>
                    </a:lnTo>
                    <a:lnTo>
                      <a:pt x="697117" y="4526"/>
                    </a:lnTo>
                    <a:lnTo>
                      <a:pt x="710697" y="36214"/>
                    </a:lnTo>
                    <a:lnTo>
                      <a:pt x="710697" y="36214"/>
                    </a:lnTo>
                    <a:lnTo>
                      <a:pt x="701643" y="99588"/>
                    </a:lnTo>
                    <a:lnTo>
                      <a:pt x="728804" y="86008"/>
                    </a:lnTo>
                    <a:lnTo>
                      <a:pt x="760491" y="95061"/>
                    </a:lnTo>
                    <a:lnTo>
                      <a:pt x="760491" y="95061"/>
                    </a:lnTo>
                    <a:lnTo>
                      <a:pt x="737857" y="140328"/>
                    </a:lnTo>
                    <a:lnTo>
                      <a:pt x="737857" y="185596"/>
                    </a:lnTo>
                    <a:lnTo>
                      <a:pt x="737857" y="185596"/>
                    </a:lnTo>
                    <a:lnTo>
                      <a:pt x="778598" y="167489"/>
                    </a:lnTo>
                    <a:lnTo>
                      <a:pt x="769544" y="194649"/>
                    </a:lnTo>
                    <a:lnTo>
                      <a:pt x="760491" y="244443"/>
                    </a:lnTo>
                    <a:lnTo>
                      <a:pt x="774071" y="244443"/>
                    </a:lnTo>
                    <a:lnTo>
                      <a:pt x="805758" y="244443"/>
                    </a:lnTo>
                    <a:lnTo>
                      <a:pt x="837445" y="230863"/>
                    </a:lnTo>
                    <a:lnTo>
                      <a:pt x="837445" y="230863"/>
                    </a:lnTo>
                    <a:lnTo>
                      <a:pt x="810285" y="262550"/>
                    </a:lnTo>
                    <a:lnTo>
                      <a:pt x="851026" y="262550"/>
                    </a:lnTo>
                    <a:lnTo>
                      <a:pt x="832919" y="271604"/>
                    </a:lnTo>
                    <a:lnTo>
                      <a:pt x="801232" y="307817"/>
                    </a:lnTo>
                    <a:lnTo>
                      <a:pt x="823865" y="339505"/>
                    </a:lnTo>
                    <a:lnTo>
                      <a:pt x="832919" y="384772"/>
                    </a:lnTo>
                    <a:lnTo>
                      <a:pt x="832919" y="384772"/>
                    </a:lnTo>
                    <a:lnTo>
                      <a:pt x="832919" y="434566"/>
                    </a:lnTo>
                    <a:lnTo>
                      <a:pt x="855552" y="461726"/>
                    </a:lnTo>
                    <a:lnTo>
                      <a:pt x="873659" y="502467"/>
                    </a:lnTo>
                    <a:lnTo>
                      <a:pt x="851026" y="543208"/>
                    </a:lnTo>
                    <a:lnTo>
                      <a:pt x="851026" y="574895"/>
                    </a:lnTo>
                    <a:lnTo>
                      <a:pt x="823865" y="611109"/>
                    </a:lnTo>
                    <a:lnTo>
                      <a:pt x="783125" y="642796"/>
                    </a:lnTo>
                    <a:lnTo>
                      <a:pt x="765018" y="669956"/>
                    </a:lnTo>
                    <a:lnTo>
                      <a:pt x="760491" y="710697"/>
                    </a:lnTo>
                    <a:cubicBezTo>
                      <a:pt x="765168" y="757465"/>
                      <a:pt x="749854" y="755964"/>
                      <a:pt x="769544" y="755964"/>
                    </a:cubicBezTo>
                    <a:lnTo>
                      <a:pt x="769544" y="755964"/>
                    </a:lnTo>
                    <a:lnTo>
                      <a:pt x="810285" y="783124"/>
                    </a:lnTo>
                    <a:lnTo>
                      <a:pt x="783125" y="860079"/>
                    </a:lnTo>
                    <a:lnTo>
                      <a:pt x="760491" y="905346"/>
                    </a:lnTo>
                    <a:lnTo>
                      <a:pt x="769544" y="995881"/>
                    </a:lnTo>
                    <a:lnTo>
                      <a:pt x="742384" y="1045675"/>
                    </a:lnTo>
                    <a:lnTo>
                      <a:pt x="737857" y="1109049"/>
                    </a:lnTo>
                    <a:lnTo>
                      <a:pt x="733331" y="1163370"/>
                    </a:lnTo>
                    <a:lnTo>
                      <a:pt x="733331" y="1204111"/>
                    </a:lnTo>
                    <a:lnTo>
                      <a:pt x="692590" y="1244851"/>
                    </a:lnTo>
                    <a:lnTo>
                      <a:pt x="706170" y="1285592"/>
                    </a:lnTo>
                    <a:lnTo>
                      <a:pt x="706170" y="1285592"/>
                    </a:lnTo>
                    <a:lnTo>
                      <a:pt x="688063" y="1326332"/>
                    </a:lnTo>
                    <a:lnTo>
                      <a:pt x="683537" y="1371600"/>
                    </a:lnTo>
                    <a:lnTo>
                      <a:pt x="674483" y="1425920"/>
                    </a:lnTo>
                    <a:lnTo>
                      <a:pt x="611109" y="1416867"/>
                    </a:lnTo>
                    <a:lnTo>
                      <a:pt x="570368" y="1376126"/>
                    </a:lnTo>
                    <a:lnTo>
                      <a:pt x="543208" y="1348966"/>
                    </a:lnTo>
                    <a:lnTo>
                      <a:pt x="497940" y="1339913"/>
                    </a:lnTo>
                    <a:lnTo>
                      <a:pt x="457200" y="1367073"/>
                    </a:lnTo>
                    <a:lnTo>
                      <a:pt x="457200" y="1367073"/>
                    </a:lnTo>
                    <a:lnTo>
                      <a:pt x="457200" y="1367073"/>
                    </a:lnTo>
                    <a:lnTo>
                      <a:pt x="425513" y="1339913"/>
                    </a:lnTo>
                    <a:lnTo>
                      <a:pt x="389299" y="1403287"/>
                    </a:lnTo>
                    <a:lnTo>
                      <a:pt x="375719" y="1439501"/>
                    </a:lnTo>
                    <a:lnTo>
                      <a:pt x="380245" y="1484768"/>
                    </a:lnTo>
                    <a:lnTo>
                      <a:pt x="339505" y="1511928"/>
                    </a:lnTo>
                    <a:lnTo>
                      <a:pt x="271604" y="1552669"/>
                    </a:lnTo>
                    <a:lnTo>
                      <a:pt x="217283" y="1516455"/>
                    </a:lnTo>
                    <a:lnTo>
                      <a:pt x="172016" y="1548142"/>
                    </a:lnTo>
                    <a:lnTo>
                      <a:pt x="144855" y="1484768"/>
                    </a:lnTo>
                    <a:lnTo>
                      <a:pt x="144855" y="1421394"/>
                    </a:lnTo>
                    <a:lnTo>
                      <a:pt x="144855" y="1421394"/>
                    </a:lnTo>
                    <a:lnTo>
                      <a:pt x="104115" y="1444027"/>
                    </a:lnTo>
                    <a:lnTo>
                      <a:pt x="67901" y="1471188"/>
                    </a:lnTo>
                    <a:lnTo>
                      <a:pt x="54321" y="1507402"/>
                    </a:lnTo>
                    <a:lnTo>
                      <a:pt x="58847" y="1484768"/>
                    </a:lnTo>
                    <a:lnTo>
                      <a:pt x="31687" y="1421394"/>
                    </a:lnTo>
                    <a:lnTo>
                      <a:pt x="31687" y="1421394"/>
                    </a:lnTo>
                    <a:lnTo>
                      <a:pt x="90535" y="1394233"/>
                    </a:lnTo>
                    <a:lnTo>
                      <a:pt x="76954" y="1348966"/>
                    </a:lnTo>
                    <a:lnTo>
                      <a:pt x="49794" y="1321806"/>
                    </a:lnTo>
                    <a:lnTo>
                      <a:pt x="90535" y="1281065"/>
                    </a:lnTo>
                    <a:lnTo>
                      <a:pt x="58847" y="1226744"/>
                    </a:lnTo>
                    <a:lnTo>
                      <a:pt x="72428" y="1181477"/>
                    </a:lnTo>
                    <a:lnTo>
                      <a:pt x="58847" y="1149790"/>
                    </a:lnTo>
                    <a:lnTo>
                      <a:pt x="108641" y="1063782"/>
                    </a:lnTo>
                    <a:lnTo>
                      <a:pt x="126748" y="964194"/>
                    </a:lnTo>
                    <a:lnTo>
                      <a:pt x="158436" y="982301"/>
                    </a:lnTo>
                    <a:lnTo>
                      <a:pt x="181069" y="923453"/>
                    </a:lnTo>
                    <a:lnTo>
                      <a:pt x="162962" y="869132"/>
                    </a:lnTo>
                    <a:lnTo>
                      <a:pt x="117695" y="887239"/>
                    </a:lnTo>
                    <a:lnTo>
                      <a:pt x="122222" y="887239"/>
                    </a:lnTo>
                    <a:lnTo>
                      <a:pt x="86008" y="860079"/>
                    </a:lnTo>
                    <a:lnTo>
                      <a:pt x="90535" y="774071"/>
                    </a:lnTo>
                    <a:lnTo>
                      <a:pt x="158436" y="760491"/>
                    </a:lnTo>
                    <a:lnTo>
                      <a:pt x="144855" y="715223"/>
                    </a:lnTo>
                    <a:lnTo>
                      <a:pt x="140329" y="660903"/>
                    </a:lnTo>
                    <a:lnTo>
                      <a:pt x="158436" y="602055"/>
                    </a:lnTo>
                    <a:lnTo>
                      <a:pt x="117695" y="593002"/>
                    </a:lnTo>
                    <a:lnTo>
                      <a:pt x="117695" y="538681"/>
                    </a:lnTo>
                    <a:lnTo>
                      <a:pt x="113168" y="479833"/>
                    </a:lnTo>
                    <a:lnTo>
                      <a:pt x="67901" y="411932"/>
                    </a:lnTo>
                    <a:lnTo>
                      <a:pt x="36214" y="425513"/>
                    </a:lnTo>
                    <a:lnTo>
                      <a:pt x="36214" y="389299"/>
                    </a:lnTo>
                    <a:lnTo>
                      <a:pt x="13580" y="420986"/>
                    </a:lnTo>
                    <a:lnTo>
                      <a:pt x="0" y="380245"/>
                    </a:lnTo>
                    <a:lnTo>
                      <a:pt x="31687" y="348558"/>
                    </a:lnTo>
                    <a:lnTo>
                      <a:pt x="4527" y="312344"/>
                    </a:lnTo>
                    <a:lnTo>
                      <a:pt x="58847" y="208229"/>
                    </a:ln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76200" dir="13500000" sy="23000" kx="1200000" algn="br" rotWithShape="0">
                  <a:prstClr val="black">
                    <a:alpha val="20000"/>
                  </a:prstClr>
                </a:outerShdw>
              </a:effectLst>
            </p:spPr>
            <p:txBody>
              <a:bodyPr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6" name="Figura a mano libera 125"/>
              <p:cNvSpPr/>
              <p:nvPr/>
            </p:nvSpPr>
            <p:spPr bwMode="auto">
              <a:xfrm>
                <a:off x="10184393" y="5039451"/>
                <a:ext cx="669529" cy="1069303"/>
              </a:xfrm>
              <a:custGeom>
                <a:avLst/>
                <a:gdLst>
                  <a:gd name="connsiteX0" fmla="*/ 81481 w 851025"/>
                  <a:gd name="connsiteY0" fmla="*/ 144856 h 1475715"/>
                  <a:gd name="connsiteX1" fmla="*/ 99588 w 851025"/>
                  <a:gd name="connsiteY1" fmla="*/ 90535 h 1475715"/>
                  <a:gd name="connsiteX2" fmla="*/ 140328 w 851025"/>
                  <a:gd name="connsiteY2" fmla="*/ 108642 h 1475715"/>
                  <a:gd name="connsiteX3" fmla="*/ 176542 w 851025"/>
                  <a:gd name="connsiteY3" fmla="*/ 90535 h 1475715"/>
                  <a:gd name="connsiteX4" fmla="*/ 208229 w 851025"/>
                  <a:gd name="connsiteY4" fmla="*/ 113169 h 1475715"/>
                  <a:gd name="connsiteX5" fmla="*/ 253497 w 851025"/>
                  <a:gd name="connsiteY5" fmla="*/ 158436 h 1475715"/>
                  <a:gd name="connsiteX6" fmla="*/ 312344 w 851025"/>
                  <a:gd name="connsiteY6" fmla="*/ 140329 h 1475715"/>
                  <a:gd name="connsiteX7" fmla="*/ 375719 w 851025"/>
                  <a:gd name="connsiteY7" fmla="*/ 126749 h 1475715"/>
                  <a:gd name="connsiteX8" fmla="*/ 393825 w 851025"/>
                  <a:gd name="connsiteY8" fmla="*/ 144856 h 1475715"/>
                  <a:gd name="connsiteX9" fmla="*/ 402879 w 851025"/>
                  <a:gd name="connsiteY9" fmla="*/ 95062 h 1475715"/>
                  <a:gd name="connsiteX10" fmla="*/ 402879 w 851025"/>
                  <a:gd name="connsiteY10" fmla="*/ 36214 h 1475715"/>
                  <a:gd name="connsiteX11" fmla="*/ 420986 w 851025"/>
                  <a:gd name="connsiteY11" fmla="*/ 0 h 1475715"/>
                  <a:gd name="connsiteX12" fmla="*/ 502467 w 851025"/>
                  <a:gd name="connsiteY12" fmla="*/ 9054 h 1475715"/>
                  <a:gd name="connsiteX13" fmla="*/ 538681 w 851025"/>
                  <a:gd name="connsiteY13" fmla="*/ 18107 h 1475715"/>
                  <a:gd name="connsiteX14" fmla="*/ 525101 w 851025"/>
                  <a:gd name="connsiteY14" fmla="*/ 67901 h 1475715"/>
                  <a:gd name="connsiteX15" fmla="*/ 525101 w 851025"/>
                  <a:gd name="connsiteY15" fmla="*/ 104115 h 1475715"/>
                  <a:gd name="connsiteX16" fmla="*/ 525101 w 851025"/>
                  <a:gd name="connsiteY16" fmla="*/ 104115 h 1475715"/>
                  <a:gd name="connsiteX17" fmla="*/ 466253 w 851025"/>
                  <a:gd name="connsiteY17" fmla="*/ 226337 h 1475715"/>
                  <a:gd name="connsiteX18" fmla="*/ 466253 w 851025"/>
                  <a:gd name="connsiteY18" fmla="*/ 276131 h 1475715"/>
                  <a:gd name="connsiteX19" fmla="*/ 484360 w 851025"/>
                  <a:gd name="connsiteY19" fmla="*/ 312345 h 1475715"/>
                  <a:gd name="connsiteX20" fmla="*/ 493414 w 851025"/>
                  <a:gd name="connsiteY20" fmla="*/ 330452 h 1475715"/>
                  <a:gd name="connsiteX21" fmla="*/ 565841 w 851025"/>
                  <a:gd name="connsiteY21" fmla="*/ 353085 h 1475715"/>
                  <a:gd name="connsiteX22" fmla="*/ 602055 w 851025"/>
                  <a:gd name="connsiteY22" fmla="*/ 348559 h 1475715"/>
                  <a:gd name="connsiteX23" fmla="*/ 706170 w 851025"/>
                  <a:gd name="connsiteY23" fmla="*/ 411933 h 1475715"/>
                  <a:gd name="connsiteX24" fmla="*/ 755964 w 851025"/>
                  <a:gd name="connsiteY24" fmla="*/ 425513 h 1475715"/>
                  <a:gd name="connsiteX25" fmla="*/ 755964 w 851025"/>
                  <a:gd name="connsiteY25" fmla="*/ 461727 h 1475715"/>
                  <a:gd name="connsiteX26" fmla="*/ 810285 w 851025"/>
                  <a:gd name="connsiteY26" fmla="*/ 479834 h 1475715"/>
                  <a:gd name="connsiteX27" fmla="*/ 792178 w 851025"/>
                  <a:gd name="connsiteY27" fmla="*/ 552262 h 1475715"/>
                  <a:gd name="connsiteX28" fmla="*/ 814812 w 851025"/>
                  <a:gd name="connsiteY28" fmla="*/ 597529 h 1475715"/>
                  <a:gd name="connsiteX29" fmla="*/ 814812 w 851025"/>
                  <a:gd name="connsiteY29" fmla="*/ 651850 h 1475715"/>
                  <a:gd name="connsiteX30" fmla="*/ 810285 w 851025"/>
                  <a:gd name="connsiteY30" fmla="*/ 697117 h 1475715"/>
                  <a:gd name="connsiteX31" fmla="*/ 823865 w 851025"/>
                  <a:gd name="connsiteY31" fmla="*/ 719751 h 1475715"/>
                  <a:gd name="connsiteX32" fmla="*/ 851025 w 851025"/>
                  <a:gd name="connsiteY32" fmla="*/ 733331 h 1475715"/>
                  <a:gd name="connsiteX33" fmla="*/ 828392 w 851025"/>
                  <a:gd name="connsiteY33" fmla="*/ 751438 h 1475715"/>
                  <a:gd name="connsiteX34" fmla="*/ 832919 w 851025"/>
                  <a:gd name="connsiteY34" fmla="*/ 787652 h 1475715"/>
                  <a:gd name="connsiteX35" fmla="*/ 796705 w 851025"/>
                  <a:gd name="connsiteY35" fmla="*/ 814812 h 1475715"/>
                  <a:gd name="connsiteX36" fmla="*/ 746911 w 851025"/>
                  <a:gd name="connsiteY36" fmla="*/ 787652 h 1475715"/>
                  <a:gd name="connsiteX37" fmla="*/ 692590 w 851025"/>
                  <a:gd name="connsiteY37" fmla="*/ 774072 h 1475715"/>
                  <a:gd name="connsiteX38" fmla="*/ 588475 w 851025"/>
                  <a:gd name="connsiteY38" fmla="*/ 819339 h 1475715"/>
                  <a:gd name="connsiteX39" fmla="*/ 506994 w 851025"/>
                  <a:gd name="connsiteY39" fmla="*/ 900820 h 1475715"/>
                  <a:gd name="connsiteX40" fmla="*/ 497940 w 851025"/>
                  <a:gd name="connsiteY40" fmla="*/ 955141 h 1475715"/>
                  <a:gd name="connsiteX41" fmla="*/ 511520 w 851025"/>
                  <a:gd name="connsiteY41" fmla="*/ 1023042 h 1475715"/>
                  <a:gd name="connsiteX42" fmla="*/ 525101 w 851025"/>
                  <a:gd name="connsiteY42" fmla="*/ 1072836 h 1475715"/>
                  <a:gd name="connsiteX43" fmla="*/ 525101 w 851025"/>
                  <a:gd name="connsiteY43" fmla="*/ 1136210 h 1475715"/>
                  <a:gd name="connsiteX44" fmla="*/ 502467 w 851025"/>
                  <a:gd name="connsiteY44" fmla="*/ 1176951 h 1475715"/>
                  <a:gd name="connsiteX45" fmla="*/ 448146 w 851025"/>
                  <a:gd name="connsiteY45" fmla="*/ 1195058 h 1475715"/>
                  <a:gd name="connsiteX46" fmla="*/ 402879 w 851025"/>
                  <a:gd name="connsiteY46" fmla="*/ 1213165 h 1475715"/>
                  <a:gd name="connsiteX47" fmla="*/ 357612 w 851025"/>
                  <a:gd name="connsiteY47" fmla="*/ 1231272 h 1475715"/>
                  <a:gd name="connsiteX48" fmla="*/ 294237 w 851025"/>
                  <a:gd name="connsiteY48" fmla="*/ 1344440 h 1475715"/>
                  <a:gd name="connsiteX49" fmla="*/ 285184 w 851025"/>
                  <a:gd name="connsiteY49" fmla="*/ 1398761 h 1475715"/>
                  <a:gd name="connsiteX50" fmla="*/ 276130 w 851025"/>
                  <a:gd name="connsiteY50" fmla="*/ 1448555 h 1475715"/>
                  <a:gd name="connsiteX51" fmla="*/ 221810 w 851025"/>
                  <a:gd name="connsiteY51" fmla="*/ 1475715 h 1475715"/>
                  <a:gd name="connsiteX52" fmla="*/ 153909 w 851025"/>
                  <a:gd name="connsiteY52" fmla="*/ 1466662 h 1475715"/>
                  <a:gd name="connsiteX53" fmla="*/ 99588 w 851025"/>
                  <a:gd name="connsiteY53" fmla="*/ 1475715 h 1475715"/>
                  <a:gd name="connsiteX54" fmla="*/ 9053 w 851025"/>
                  <a:gd name="connsiteY54" fmla="*/ 1444028 h 1475715"/>
                  <a:gd name="connsiteX55" fmla="*/ 4526 w 851025"/>
                  <a:gd name="connsiteY55" fmla="*/ 1403287 h 1475715"/>
                  <a:gd name="connsiteX56" fmla="*/ 36214 w 851025"/>
                  <a:gd name="connsiteY56" fmla="*/ 1389707 h 1475715"/>
                  <a:gd name="connsiteX57" fmla="*/ 0 w 851025"/>
                  <a:gd name="connsiteY57" fmla="*/ 1339913 h 1475715"/>
                  <a:gd name="connsiteX58" fmla="*/ 13580 w 851025"/>
                  <a:gd name="connsiteY58" fmla="*/ 1339913 h 1475715"/>
                  <a:gd name="connsiteX59" fmla="*/ 13580 w 851025"/>
                  <a:gd name="connsiteY59" fmla="*/ 1267485 h 1475715"/>
                  <a:gd name="connsiteX60" fmla="*/ 76954 w 851025"/>
                  <a:gd name="connsiteY60" fmla="*/ 1249378 h 1475715"/>
                  <a:gd name="connsiteX61" fmla="*/ 162962 w 851025"/>
                  <a:gd name="connsiteY61" fmla="*/ 1167897 h 1475715"/>
                  <a:gd name="connsiteX62" fmla="*/ 181069 w 851025"/>
                  <a:gd name="connsiteY62" fmla="*/ 1090943 h 1475715"/>
                  <a:gd name="connsiteX63" fmla="*/ 167489 w 851025"/>
                  <a:gd name="connsiteY63" fmla="*/ 1045676 h 1475715"/>
                  <a:gd name="connsiteX64" fmla="*/ 117695 w 851025"/>
                  <a:gd name="connsiteY64" fmla="*/ 1009462 h 1475715"/>
                  <a:gd name="connsiteX65" fmla="*/ 135802 w 851025"/>
                  <a:gd name="connsiteY65" fmla="*/ 977775 h 1475715"/>
                  <a:gd name="connsiteX66" fmla="*/ 181069 w 851025"/>
                  <a:gd name="connsiteY66" fmla="*/ 959668 h 1475715"/>
                  <a:gd name="connsiteX67" fmla="*/ 239917 w 851025"/>
                  <a:gd name="connsiteY67" fmla="*/ 927980 h 1475715"/>
                  <a:gd name="connsiteX68" fmla="*/ 276130 w 851025"/>
                  <a:gd name="connsiteY68" fmla="*/ 955141 h 1475715"/>
                  <a:gd name="connsiteX69" fmla="*/ 316871 w 851025"/>
                  <a:gd name="connsiteY69" fmla="*/ 914400 h 1475715"/>
                  <a:gd name="connsiteX70" fmla="*/ 339505 w 851025"/>
                  <a:gd name="connsiteY70" fmla="*/ 855553 h 1475715"/>
                  <a:gd name="connsiteX71" fmla="*/ 348558 w 851025"/>
                  <a:gd name="connsiteY71" fmla="*/ 814812 h 1475715"/>
                  <a:gd name="connsiteX72" fmla="*/ 312344 w 851025"/>
                  <a:gd name="connsiteY72" fmla="*/ 787652 h 1475715"/>
                  <a:gd name="connsiteX73" fmla="*/ 298764 w 851025"/>
                  <a:gd name="connsiteY73" fmla="*/ 778598 h 1475715"/>
                  <a:gd name="connsiteX74" fmla="*/ 235390 w 851025"/>
                  <a:gd name="connsiteY74" fmla="*/ 715224 h 1475715"/>
                  <a:gd name="connsiteX75" fmla="*/ 248970 w 851025"/>
                  <a:gd name="connsiteY75" fmla="*/ 588476 h 1475715"/>
                  <a:gd name="connsiteX76" fmla="*/ 199176 w 851025"/>
                  <a:gd name="connsiteY76" fmla="*/ 457200 h 1475715"/>
                  <a:gd name="connsiteX77" fmla="*/ 162962 w 851025"/>
                  <a:gd name="connsiteY77" fmla="*/ 384773 h 1475715"/>
                  <a:gd name="connsiteX78" fmla="*/ 140328 w 851025"/>
                  <a:gd name="connsiteY78" fmla="*/ 389299 h 1475715"/>
                  <a:gd name="connsiteX79" fmla="*/ 108641 w 851025"/>
                  <a:gd name="connsiteY79" fmla="*/ 316872 h 1475715"/>
                  <a:gd name="connsiteX80" fmla="*/ 108641 w 851025"/>
                  <a:gd name="connsiteY80" fmla="*/ 285184 h 1475715"/>
                  <a:gd name="connsiteX81" fmla="*/ 99588 w 851025"/>
                  <a:gd name="connsiteY81" fmla="*/ 239917 h 1475715"/>
                  <a:gd name="connsiteX82" fmla="*/ 81481 w 851025"/>
                  <a:gd name="connsiteY82" fmla="*/ 144856 h 14757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</a:cxnLst>
                <a:rect l="l" t="t" r="r" b="b"/>
                <a:pathLst>
                  <a:path w="851025" h="1475715">
                    <a:moveTo>
                      <a:pt x="81481" y="144856"/>
                    </a:moveTo>
                    <a:lnTo>
                      <a:pt x="99588" y="90535"/>
                    </a:lnTo>
                    <a:lnTo>
                      <a:pt x="140328" y="108642"/>
                    </a:lnTo>
                    <a:lnTo>
                      <a:pt x="176542" y="90535"/>
                    </a:lnTo>
                    <a:lnTo>
                      <a:pt x="208229" y="113169"/>
                    </a:lnTo>
                    <a:lnTo>
                      <a:pt x="253497" y="158436"/>
                    </a:lnTo>
                    <a:lnTo>
                      <a:pt x="312344" y="140329"/>
                    </a:lnTo>
                    <a:lnTo>
                      <a:pt x="375719" y="126749"/>
                    </a:lnTo>
                    <a:lnTo>
                      <a:pt x="393825" y="144856"/>
                    </a:lnTo>
                    <a:lnTo>
                      <a:pt x="402879" y="95062"/>
                    </a:lnTo>
                    <a:lnTo>
                      <a:pt x="402879" y="36214"/>
                    </a:lnTo>
                    <a:lnTo>
                      <a:pt x="420986" y="0"/>
                    </a:lnTo>
                    <a:lnTo>
                      <a:pt x="502467" y="9054"/>
                    </a:lnTo>
                    <a:lnTo>
                      <a:pt x="538681" y="18107"/>
                    </a:lnTo>
                    <a:lnTo>
                      <a:pt x="525101" y="67901"/>
                    </a:lnTo>
                    <a:lnTo>
                      <a:pt x="525101" y="104115"/>
                    </a:lnTo>
                    <a:lnTo>
                      <a:pt x="525101" y="104115"/>
                    </a:lnTo>
                    <a:lnTo>
                      <a:pt x="466253" y="226337"/>
                    </a:lnTo>
                    <a:lnTo>
                      <a:pt x="466253" y="276131"/>
                    </a:lnTo>
                    <a:lnTo>
                      <a:pt x="484360" y="312345"/>
                    </a:lnTo>
                    <a:lnTo>
                      <a:pt x="493414" y="330452"/>
                    </a:lnTo>
                    <a:lnTo>
                      <a:pt x="565841" y="353085"/>
                    </a:lnTo>
                    <a:lnTo>
                      <a:pt x="602055" y="348559"/>
                    </a:lnTo>
                    <a:lnTo>
                      <a:pt x="706170" y="411933"/>
                    </a:lnTo>
                    <a:lnTo>
                      <a:pt x="755964" y="425513"/>
                    </a:lnTo>
                    <a:lnTo>
                      <a:pt x="755964" y="461727"/>
                    </a:lnTo>
                    <a:lnTo>
                      <a:pt x="810285" y="479834"/>
                    </a:lnTo>
                    <a:lnTo>
                      <a:pt x="792178" y="552262"/>
                    </a:lnTo>
                    <a:lnTo>
                      <a:pt x="814812" y="597529"/>
                    </a:lnTo>
                    <a:lnTo>
                      <a:pt x="814812" y="651850"/>
                    </a:lnTo>
                    <a:lnTo>
                      <a:pt x="810285" y="697117"/>
                    </a:lnTo>
                    <a:lnTo>
                      <a:pt x="823865" y="719751"/>
                    </a:lnTo>
                    <a:lnTo>
                      <a:pt x="851025" y="733331"/>
                    </a:lnTo>
                    <a:lnTo>
                      <a:pt x="828392" y="751438"/>
                    </a:lnTo>
                    <a:lnTo>
                      <a:pt x="832919" y="787652"/>
                    </a:lnTo>
                    <a:lnTo>
                      <a:pt x="796705" y="814812"/>
                    </a:lnTo>
                    <a:lnTo>
                      <a:pt x="746911" y="787652"/>
                    </a:lnTo>
                    <a:lnTo>
                      <a:pt x="692590" y="774072"/>
                    </a:lnTo>
                    <a:lnTo>
                      <a:pt x="588475" y="819339"/>
                    </a:lnTo>
                    <a:lnTo>
                      <a:pt x="506994" y="900820"/>
                    </a:lnTo>
                    <a:lnTo>
                      <a:pt x="497940" y="955141"/>
                    </a:lnTo>
                    <a:lnTo>
                      <a:pt x="511520" y="1023042"/>
                    </a:lnTo>
                    <a:lnTo>
                      <a:pt x="525101" y="1072836"/>
                    </a:lnTo>
                    <a:lnTo>
                      <a:pt x="525101" y="1136210"/>
                    </a:lnTo>
                    <a:lnTo>
                      <a:pt x="502467" y="1176951"/>
                    </a:lnTo>
                    <a:lnTo>
                      <a:pt x="448146" y="1195058"/>
                    </a:lnTo>
                    <a:lnTo>
                      <a:pt x="402879" y="1213165"/>
                    </a:lnTo>
                    <a:lnTo>
                      <a:pt x="357612" y="1231272"/>
                    </a:lnTo>
                    <a:lnTo>
                      <a:pt x="294237" y="1344440"/>
                    </a:lnTo>
                    <a:lnTo>
                      <a:pt x="285184" y="1398761"/>
                    </a:lnTo>
                    <a:lnTo>
                      <a:pt x="276130" y="1448555"/>
                    </a:lnTo>
                    <a:lnTo>
                      <a:pt x="221810" y="1475715"/>
                    </a:lnTo>
                    <a:lnTo>
                      <a:pt x="153909" y="1466662"/>
                    </a:lnTo>
                    <a:lnTo>
                      <a:pt x="99588" y="1475715"/>
                    </a:lnTo>
                    <a:lnTo>
                      <a:pt x="9053" y="1444028"/>
                    </a:lnTo>
                    <a:lnTo>
                      <a:pt x="4526" y="1403287"/>
                    </a:lnTo>
                    <a:lnTo>
                      <a:pt x="36214" y="1389707"/>
                    </a:lnTo>
                    <a:lnTo>
                      <a:pt x="0" y="1339913"/>
                    </a:lnTo>
                    <a:lnTo>
                      <a:pt x="13580" y="1339913"/>
                    </a:lnTo>
                    <a:lnTo>
                      <a:pt x="13580" y="1267485"/>
                    </a:lnTo>
                    <a:lnTo>
                      <a:pt x="76954" y="1249378"/>
                    </a:lnTo>
                    <a:lnTo>
                      <a:pt x="162962" y="1167897"/>
                    </a:lnTo>
                    <a:lnTo>
                      <a:pt x="181069" y="1090943"/>
                    </a:lnTo>
                    <a:lnTo>
                      <a:pt x="167489" y="1045676"/>
                    </a:lnTo>
                    <a:lnTo>
                      <a:pt x="117695" y="1009462"/>
                    </a:lnTo>
                    <a:lnTo>
                      <a:pt x="135802" y="977775"/>
                    </a:lnTo>
                    <a:lnTo>
                      <a:pt x="181069" y="959668"/>
                    </a:lnTo>
                    <a:lnTo>
                      <a:pt x="239917" y="927980"/>
                    </a:lnTo>
                    <a:lnTo>
                      <a:pt x="276130" y="955141"/>
                    </a:lnTo>
                    <a:lnTo>
                      <a:pt x="316871" y="914400"/>
                    </a:lnTo>
                    <a:lnTo>
                      <a:pt x="339505" y="855553"/>
                    </a:lnTo>
                    <a:lnTo>
                      <a:pt x="348558" y="814812"/>
                    </a:lnTo>
                    <a:lnTo>
                      <a:pt x="312344" y="787652"/>
                    </a:lnTo>
                    <a:lnTo>
                      <a:pt x="298764" y="778598"/>
                    </a:lnTo>
                    <a:lnTo>
                      <a:pt x="235390" y="715224"/>
                    </a:lnTo>
                    <a:lnTo>
                      <a:pt x="248970" y="588476"/>
                    </a:lnTo>
                    <a:lnTo>
                      <a:pt x="199176" y="457200"/>
                    </a:lnTo>
                    <a:lnTo>
                      <a:pt x="162962" y="384773"/>
                    </a:lnTo>
                    <a:lnTo>
                      <a:pt x="140328" y="389299"/>
                    </a:lnTo>
                    <a:lnTo>
                      <a:pt x="108641" y="316872"/>
                    </a:lnTo>
                    <a:lnTo>
                      <a:pt x="108641" y="285184"/>
                    </a:lnTo>
                    <a:lnTo>
                      <a:pt x="99588" y="239917"/>
                    </a:lnTo>
                    <a:lnTo>
                      <a:pt x="81481" y="144856"/>
                    </a:ln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7" name="Figura a mano libera 126"/>
              <p:cNvSpPr/>
              <p:nvPr/>
            </p:nvSpPr>
            <p:spPr bwMode="auto">
              <a:xfrm>
                <a:off x="8830812" y="5915816"/>
                <a:ext cx="1372462" cy="797561"/>
              </a:xfrm>
              <a:custGeom>
                <a:avLst/>
                <a:gdLst>
                  <a:gd name="connsiteX0" fmla="*/ 1688306 w 1745456"/>
                  <a:gd name="connsiteY0" fmla="*/ 0 h 1097756"/>
                  <a:gd name="connsiteX1" fmla="*/ 1745456 w 1745456"/>
                  <a:gd name="connsiteY1" fmla="*/ 23812 h 1097756"/>
                  <a:gd name="connsiteX2" fmla="*/ 1697831 w 1745456"/>
                  <a:gd name="connsiteY2" fmla="*/ 57150 h 1097756"/>
                  <a:gd name="connsiteX3" fmla="*/ 1657350 w 1745456"/>
                  <a:gd name="connsiteY3" fmla="*/ 178594 h 1097756"/>
                  <a:gd name="connsiteX4" fmla="*/ 1533525 w 1745456"/>
                  <a:gd name="connsiteY4" fmla="*/ 321469 h 1097756"/>
                  <a:gd name="connsiteX5" fmla="*/ 1507331 w 1745456"/>
                  <a:gd name="connsiteY5" fmla="*/ 397669 h 1097756"/>
                  <a:gd name="connsiteX6" fmla="*/ 1493044 w 1745456"/>
                  <a:gd name="connsiteY6" fmla="*/ 428625 h 1097756"/>
                  <a:gd name="connsiteX7" fmla="*/ 1504950 w 1745456"/>
                  <a:gd name="connsiteY7" fmla="*/ 483394 h 1097756"/>
                  <a:gd name="connsiteX8" fmla="*/ 1471613 w 1745456"/>
                  <a:gd name="connsiteY8" fmla="*/ 500062 h 1097756"/>
                  <a:gd name="connsiteX9" fmla="*/ 1440656 w 1745456"/>
                  <a:gd name="connsiteY9" fmla="*/ 547687 h 1097756"/>
                  <a:gd name="connsiteX10" fmla="*/ 1443038 w 1745456"/>
                  <a:gd name="connsiteY10" fmla="*/ 657225 h 1097756"/>
                  <a:gd name="connsiteX11" fmla="*/ 1519238 w 1745456"/>
                  <a:gd name="connsiteY11" fmla="*/ 685800 h 1097756"/>
                  <a:gd name="connsiteX12" fmla="*/ 1538288 w 1745456"/>
                  <a:gd name="connsiteY12" fmla="*/ 702469 h 1097756"/>
                  <a:gd name="connsiteX13" fmla="*/ 1502569 w 1745456"/>
                  <a:gd name="connsiteY13" fmla="*/ 707231 h 1097756"/>
                  <a:gd name="connsiteX14" fmla="*/ 1519238 w 1745456"/>
                  <a:gd name="connsiteY14" fmla="*/ 785812 h 1097756"/>
                  <a:gd name="connsiteX15" fmla="*/ 1557338 w 1745456"/>
                  <a:gd name="connsiteY15" fmla="*/ 795337 h 1097756"/>
                  <a:gd name="connsiteX16" fmla="*/ 1574006 w 1745456"/>
                  <a:gd name="connsiteY16" fmla="*/ 816769 h 1097756"/>
                  <a:gd name="connsiteX17" fmla="*/ 1559719 w 1745456"/>
                  <a:gd name="connsiteY17" fmla="*/ 845344 h 1097756"/>
                  <a:gd name="connsiteX18" fmla="*/ 1550194 w 1745456"/>
                  <a:gd name="connsiteY18" fmla="*/ 876300 h 1097756"/>
                  <a:gd name="connsiteX19" fmla="*/ 1531144 w 1745456"/>
                  <a:gd name="connsiteY19" fmla="*/ 885825 h 1097756"/>
                  <a:gd name="connsiteX20" fmla="*/ 1478756 w 1745456"/>
                  <a:gd name="connsiteY20" fmla="*/ 912019 h 1097756"/>
                  <a:gd name="connsiteX21" fmla="*/ 1450181 w 1745456"/>
                  <a:gd name="connsiteY21" fmla="*/ 971550 h 1097756"/>
                  <a:gd name="connsiteX22" fmla="*/ 1464469 w 1745456"/>
                  <a:gd name="connsiteY22" fmla="*/ 1062037 h 1097756"/>
                  <a:gd name="connsiteX23" fmla="*/ 1483519 w 1745456"/>
                  <a:gd name="connsiteY23" fmla="*/ 1092994 h 1097756"/>
                  <a:gd name="connsiteX24" fmla="*/ 1445419 w 1745456"/>
                  <a:gd name="connsiteY24" fmla="*/ 1097756 h 1097756"/>
                  <a:gd name="connsiteX25" fmla="*/ 1426369 w 1745456"/>
                  <a:gd name="connsiteY25" fmla="*/ 1057275 h 1097756"/>
                  <a:gd name="connsiteX26" fmla="*/ 1400175 w 1745456"/>
                  <a:gd name="connsiteY26" fmla="*/ 1057275 h 1097756"/>
                  <a:gd name="connsiteX27" fmla="*/ 1385888 w 1745456"/>
                  <a:gd name="connsiteY27" fmla="*/ 1073944 h 1097756"/>
                  <a:gd name="connsiteX28" fmla="*/ 1328738 w 1745456"/>
                  <a:gd name="connsiteY28" fmla="*/ 1033462 h 1097756"/>
                  <a:gd name="connsiteX29" fmla="*/ 1264444 w 1745456"/>
                  <a:gd name="connsiteY29" fmla="*/ 1062037 h 1097756"/>
                  <a:gd name="connsiteX30" fmla="*/ 1202531 w 1745456"/>
                  <a:gd name="connsiteY30" fmla="*/ 1026319 h 1097756"/>
                  <a:gd name="connsiteX31" fmla="*/ 1147763 w 1745456"/>
                  <a:gd name="connsiteY31" fmla="*/ 1002506 h 1097756"/>
                  <a:gd name="connsiteX32" fmla="*/ 1126331 w 1745456"/>
                  <a:gd name="connsiteY32" fmla="*/ 1002506 h 1097756"/>
                  <a:gd name="connsiteX33" fmla="*/ 1090613 w 1745456"/>
                  <a:gd name="connsiteY33" fmla="*/ 978694 h 1097756"/>
                  <a:gd name="connsiteX34" fmla="*/ 1004888 w 1745456"/>
                  <a:gd name="connsiteY34" fmla="*/ 831056 h 1097756"/>
                  <a:gd name="connsiteX35" fmla="*/ 897731 w 1745456"/>
                  <a:gd name="connsiteY35" fmla="*/ 792956 h 1097756"/>
                  <a:gd name="connsiteX36" fmla="*/ 854869 w 1745456"/>
                  <a:gd name="connsiteY36" fmla="*/ 792956 h 1097756"/>
                  <a:gd name="connsiteX37" fmla="*/ 802481 w 1745456"/>
                  <a:gd name="connsiteY37" fmla="*/ 792956 h 1097756"/>
                  <a:gd name="connsiteX38" fmla="*/ 790575 w 1745456"/>
                  <a:gd name="connsiteY38" fmla="*/ 807244 h 1097756"/>
                  <a:gd name="connsiteX39" fmla="*/ 769144 w 1745456"/>
                  <a:gd name="connsiteY39" fmla="*/ 769144 h 1097756"/>
                  <a:gd name="connsiteX40" fmla="*/ 719138 w 1745456"/>
                  <a:gd name="connsiteY40" fmla="*/ 759619 h 1097756"/>
                  <a:gd name="connsiteX41" fmla="*/ 666750 w 1745456"/>
                  <a:gd name="connsiteY41" fmla="*/ 721519 h 1097756"/>
                  <a:gd name="connsiteX42" fmla="*/ 631031 w 1745456"/>
                  <a:gd name="connsiteY42" fmla="*/ 683419 h 1097756"/>
                  <a:gd name="connsiteX43" fmla="*/ 626269 w 1745456"/>
                  <a:gd name="connsiteY43" fmla="*/ 681037 h 1097756"/>
                  <a:gd name="connsiteX44" fmla="*/ 566738 w 1745456"/>
                  <a:gd name="connsiteY44" fmla="*/ 673894 h 1097756"/>
                  <a:gd name="connsiteX45" fmla="*/ 526256 w 1745456"/>
                  <a:gd name="connsiteY45" fmla="*/ 654844 h 1097756"/>
                  <a:gd name="connsiteX46" fmla="*/ 471488 w 1745456"/>
                  <a:gd name="connsiteY46" fmla="*/ 607219 h 1097756"/>
                  <a:gd name="connsiteX47" fmla="*/ 411956 w 1745456"/>
                  <a:gd name="connsiteY47" fmla="*/ 540544 h 1097756"/>
                  <a:gd name="connsiteX48" fmla="*/ 392906 w 1745456"/>
                  <a:gd name="connsiteY48" fmla="*/ 526256 h 1097756"/>
                  <a:gd name="connsiteX49" fmla="*/ 333375 w 1745456"/>
                  <a:gd name="connsiteY49" fmla="*/ 523875 h 1097756"/>
                  <a:gd name="connsiteX50" fmla="*/ 300038 w 1745456"/>
                  <a:gd name="connsiteY50" fmla="*/ 504825 h 1097756"/>
                  <a:gd name="connsiteX51" fmla="*/ 271463 w 1745456"/>
                  <a:gd name="connsiteY51" fmla="*/ 469106 h 1097756"/>
                  <a:gd name="connsiteX52" fmla="*/ 164306 w 1745456"/>
                  <a:gd name="connsiteY52" fmla="*/ 473869 h 1097756"/>
                  <a:gd name="connsiteX53" fmla="*/ 142875 w 1745456"/>
                  <a:gd name="connsiteY53" fmla="*/ 490537 h 1097756"/>
                  <a:gd name="connsiteX54" fmla="*/ 83344 w 1745456"/>
                  <a:gd name="connsiteY54" fmla="*/ 411956 h 1097756"/>
                  <a:gd name="connsiteX55" fmla="*/ 52388 w 1745456"/>
                  <a:gd name="connsiteY55" fmla="*/ 414337 h 1097756"/>
                  <a:gd name="connsiteX56" fmla="*/ 28575 w 1745456"/>
                  <a:gd name="connsiteY56" fmla="*/ 378619 h 1097756"/>
                  <a:gd name="connsiteX57" fmla="*/ 26194 w 1745456"/>
                  <a:gd name="connsiteY57" fmla="*/ 342900 h 1097756"/>
                  <a:gd name="connsiteX58" fmla="*/ 4763 w 1745456"/>
                  <a:gd name="connsiteY58" fmla="*/ 323850 h 1097756"/>
                  <a:gd name="connsiteX59" fmla="*/ 35719 w 1745456"/>
                  <a:gd name="connsiteY59" fmla="*/ 295275 h 1097756"/>
                  <a:gd name="connsiteX60" fmla="*/ 0 w 1745456"/>
                  <a:gd name="connsiteY60" fmla="*/ 266700 h 1097756"/>
                  <a:gd name="connsiteX61" fmla="*/ 42863 w 1745456"/>
                  <a:gd name="connsiteY61" fmla="*/ 233362 h 1097756"/>
                  <a:gd name="connsiteX62" fmla="*/ 45244 w 1745456"/>
                  <a:gd name="connsiteY62" fmla="*/ 176212 h 1097756"/>
                  <a:gd name="connsiteX63" fmla="*/ 92869 w 1745456"/>
                  <a:gd name="connsiteY63" fmla="*/ 140494 h 1097756"/>
                  <a:gd name="connsiteX64" fmla="*/ 140494 w 1745456"/>
                  <a:gd name="connsiteY64" fmla="*/ 116681 h 1097756"/>
                  <a:gd name="connsiteX65" fmla="*/ 190500 w 1745456"/>
                  <a:gd name="connsiteY65" fmla="*/ 76200 h 1097756"/>
                  <a:gd name="connsiteX66" fmla="*/ 219075 w 1745456"/>
                  <a:gd name="connsiteY66" fmla="*/ 147637 h 1097756"/>
                  <a:gd name="connsiteX67" fmla="*/ 273844 w 1745456"/>
                  <a:gd name="connsiteY67" fmla="*/ 180975 h 1097756"/>
                  <a:gd name="connsiteX68" fmla="*/ 319088 w 1745456"/>
                  <a:gd name="connsiteY68" fmla="*/ 154781 h 1097756"/>
                  <a:gd name="connsiteX69" fmla="*/ 359569 w 1745456"/>
                  <a:gd name="connsiteY69" fmla="*/ 154781 h 1097756"/>
                  <a:gd name="connsiteX70" fmla="*/ 357188 w 1745456"/>
                  <a:gd name="connsiteY70" fmla="*/ 123825 h 1097756"/>
                  <a:gd name="connsiteX71" fmla="*/ 366713 w 1745456"/>
                  <a:gd name="connsiteY71" fmla="*/ 69056 h 1097756"/>
                  <a:gd name="connsiteX72" fmla="*/ 402431 w 1745456"/>
                  <a:gd name="connsiteY72" fmla="*/ 85725 h 1097756"/>
                  <a:gd name="connsiteX73" fmla="*/ 447675 w 1745456"/>
                  <a:gd name="connsiteY73" fmla="*/ 85725 h 1097756"/>
                  <a:gd name="connsiteX74" fmla="*/ 481013 w 1745456"/>
                  <a:gd name="connsiteY74" fmla="*/ 54769 h 1097756"/>
                  <a:gd name="connsiteX75" fmla="*/ 516731 w 1745456"/>
                  <a:gd name="connsiteY75" fmla="*/ 71437 h 1097756"/>
                  <a:gd name="connsiteX76" fmla="*/ 528638 w 1745456"/>
                  <a:gd name="connsiteY76" fmla="*/ 102394 h 1097756"/>
                  <a:gd name="connsiteX77" fmla="*/ 511969 w 1745456"/>
                  <a:gd name="connsiteY77" fmla="*/ 133350 h 1097756"/>
                  <a:gd name="connsiteX78" fmla="*/ 595313 w 1745456"/>
                  <a:gd name="connsiteY78" fmla="*/ 126206 h 1097756"/>
                  <a:gd name="connsiteX79" fmla="*/ 595313 w 1745456"/>
                  <a:gd name="connsiteY79" fmla="*/ 126206 h 1097756"/>
                  <a:gd name="connsiteX80" fmla="*/ 621506 w 1745456"/>
                  <a:gd name="connsiteY80" fmla="*/ 159544 h 1097756"/>
                  <a:gd name="connsiteX81" fmla="*/ 647700 w 1745456"/>
                  <a:gd name="connsiteY81" fmla="*/ 204787 h 1097756"/>
                  <a:gd name="connsiteX82" fmla="*/ 726281 w 1745456"/>
                  <a:gd name="connsiteY82" fmla="*/ 221456 h 1097756"/>
                  <a:gd name="connsiteX83" fmla="*/ 785813 w 1745456"/>
                  <a:gd name="connsiteY83" fmla="*/ 211931 h 1097756"/>
                  <a:gd name="connsiteX84" fmla="*/ 857250 w 1745456"/>
                  <a:gd name="connsiteY84" fmla="*/ 176212 h 1097756"/>
                  <a:gd name="connsiteX85" fmla="*/ 888206 w 1745456"/>
                  <a:gd name="connsiteY85" fmla="*/ 176212 h 1097756"/>
                  <a:gd name="connsiteX86" fmla="*/ 959644 w 1745456"/>
                  <a:gd name="connsiteY86" fmla="*/ 192881 h 1097756"/>
                  <a:gd name="connsiteX87" fmla="*/ 1059656 w 1745456"/>
                  <a:gd name="connsiteY87" fmla="*/ 192881 h 1097756"/>
                  <a:gd name="connsiteX88" fmla="*/ 1166813 w 1745456"/>
                  <a:gd name="connsiteY88" fmla="*/ 171450 h 1097756"/>
                  <a:gd name="connsiteX89" fmla="*/ 1245394 w 1745456"/>
                  <a:gd name="connsiteY89" fmla="*/ 119062 h 1097756"/>
                  <a:gd name="connsiteX90" fmla="*/ 1273969 w 1745456"/>
                  <a:gd name="connsiteY90" fmla="*/ 102394 h 1097756"/>
                  <a:gd name="connsiteX91" fmla="*/ 1366838 w 1745456"/>
                  <a:gd name="connsiteY91" fmla="*/ 76200 h 1097756"/>
                  <a:gd name="connsiteX92" fmla="*/ 1402556 w 1745456"/>
                  <a:gd name="connsiteY92" fmla="*/ 114300 h 1097756"/>
                  <a:gd name="connsiteX93" fmla="*/ 1462088 w 1745456"/>
                  <a:gd name="connsiteY93" fmla="*/ 128587 h 1097756"/>
                  <a:gd name="connsiteX94" fmla="*/ 1512094 w 1745456"/>
                  <a:gd name="connsiteY94" fmla="*/ 107156 h 1097756"/>
                  <a:gd name="connsiteX95" fmla="*/ 1528763 w 1745456"/>
                  <a:gd name="connsiteY95" fmla="*/ 61912 h 1097756"/>
                  <a:gd name="connsiteX96" fmla="*/ 1585913 w 1745456"/>
                  <a:gd name="connsiteY96" fmla="*/ 61912 h 1097756"/>
                  <a:gd name="connsiteX97" fmla="*/ 1621631 w 1745456"/>
                  <a:gd name="connsiteY97" fmla="*/ 42862 h 1097756"/>
                  <a:gd name="connsiteX98" fmla="*/ 1688306 w 1745456"/>
                  <a:gd name="connsiteY98" fmla="*/ 0 h 1097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</a:cxnLst>
                <a:rect l="l" t="t" r="r" b="b"/>
                <a:pathLst>
                  <a:path w="1745456" h="1097756">
                    <a:moveTo>
                      <a:pt x="1688306" y="0"/>
                    </a:moveTo>
                    <a:lnTo>
                      <a:pt x="1745456" y="23812"/>
                    </a:lnTo>
                    <a:lnTo>
                      <a:pt x="1697831" y="57150"/>
                    </a:lnTo>
                    <a:lnTo>
                      <a:pt x="1657350" y="178594"/>
                    </a:lnTo>
                    <a:lnTo>
                      <a:pt x="1533525" y="321469"/>
                    </a:lnTo>
                    <a:lnTo>
                      <a:pt x="1507331" y="397669"/>
                    </a:lnTo>
                    <a:lnTo>
                      <a:pt x="1493044" y="428625"/>
                    </a:lnTo>
                    <a:lnTo>
                      <a:pt x="1504950" y="483394"/>
                    </a:lnTo>
                    <a:lnTo>
                      <a:pt x="1471613" y="500062"/>
                    </a:lnTo>
                    <a:lnTo>
                      <a:pt x="1440656" y="547687"/>
                    </a:lnTo>
                    <a:lnTo>
                      <a:pt x="1443038" y="657225"/>
                    </a:lnTo>
                    <a:lnTo>
                      <a:pt x="1519238" y="685800"/>
                    </a:lnTo>
                    <a:lnTo>
                      <a:pt x="1538288" y="702469"/>
                    </a:lnTo>
                    <a:lnTo>
                      <a:pt x="1502569" y="707231"/>
                    </a:lnTo>
                    <a:lnTo>
                      <a:pt x="1519238" y="785812"/>
                    </a:lnTo>
                    <a:lnTo>
                      <a:pt x="1557338" y="795337"/>
                    </a:lnTo>
                    <a:lnTo>
                      <a:pt x="1574006" y="816769"/>
                    </a:lnTo>
                    <a:lnTo>
                      <a:pt x="1559719" y="845344"/>
                    </a:lnTo>
                    <a:lnTo>
                      <a:pt x="1550194" y="876300"/>
                    </a:lnTo>
                    <a:lnTo>
                      <a:pt x="1531144" y="885825"/>
                    </a:lnTo>
                    <a:lnTo>
                      <a:pt x="1478756" y="912019"/>
                    </a:lnTo>
                    <a:lnTo>
                      <a:pt x="1450181" y="971550"/>
                    </a:lnTo>
                    <a:lnTo>
                      <a:pt x="1464469" y="1062037"/>
                    </a:lnTo>
                    <a:lnTo>
                      <a:pt x="1483519" y="1092994"/>
                    </a:lnTo>
                    <a:lnTo>
                      <a:pt x="1445419" y="1097756"/>
                    </a:lnTo>
                    <a:lnTo>
                      <a:pt x="1426369" y="1057275"/>
                    </a:lnTo>
                    <a:lnTo>
                      <a:pt x="1400175" y="1057275"/>
                    </a:lnTo>
                    <a:lnTo>
                      <a:pt x="1385888" y="1073944"/>
                    </a:lnTo>
                    <a:lnTo>
                      <a:pt x="1328738" y="1033462"/>
                    </a:lnTo>
                    <a:lnTo>
                      <a:pt x="1264444" y="1062037"/>
                    </a:lnTo>
                    <a:lnTo>
                      <a:pt x="1202531" y="1026319"/>
                    </a:lnTo>
                    <a:lnTo>
                      <a:pt x="1147763" y="1002506"/>
                    </a:lnTo>
                    <a:lnTo>
                      <a:pt x="1126331" y="1002506"/>
                    </a:lnTo>
                    <a:lnTo>
                      <a:pt x="1090613" y="978694"/>
                    </a:lnTo>
                    <a:lnTo>
                      <a:pt x="1004888" y="831056"/>
                    </a:lnTo>
                    <a:lnTo>
                      <a:pt x="897731" y="792956"/>
                    </a:lnTo>
                    <a:lnTo>
                      <a:pt x="854869" y="792956"/>
                    </a:lnTo>
                    <a:lnTo>
                      <a:pt x="802481" y="792956"/>
                    </a:lnTo>
                    <a:lnTo>
                      <a:pt x="790575" y="807244"/>
                    </a:lnTo>
                    <a:lnTo>
                      <a:pt x="769144" y="769144"/>
                    </a:lnTo>
                    <a:lnTo>
                      <a:pt x="719138" y="759619"/>
                    </a:lnTo>
                    <a:lnTo>
                      <a:pt x="666750" y="721519"/>
                    </a:lnTo>
                    <a:lnTo>
                      <a:pt x="631031" y="683419"/>
                    </a:lnTo>
                    <a:lnTo>
                      <a:pt x="626269" y="681037"/>
                    </a:lnTo>
                    <a:lnTo>
                      <a:pt x="566738" y="673894"/>
                    </a:lnTo>
                    <a:lnTo>
                      <a:pt x="526256" y="654844"/>
                    </a:lnTo>
                    <a:lnTo>
                      <a:pt x="471488" y="607219"/>
                    </a:lnTo>
                    <a:lnTo>
                      <a:pt x="411956" y="540544"/>
                    </a:lnTo>
                    <a:lnTo>
                      <a:pt x="392906" y="526256"/>
                    </a:lnTo>
                    <a:lnTo>
                      <a:pt x="333375" y="523875"/>
                    </a:lnTo>
                    <a:lnTo>
                      <a:pt x="300038" y="504825"/>
                    </a:lnTo>
                    <a:lnTo>
                      <a:pt x="271463" y="469106"/>
                    </a:lnTo>
                    <a:lnTo>
                      <a:pt x="164306" y="473869"/>
                    </a:lnTo>
                    <a:lnTo>
                      <a:pt x="142875" y="490537"/>
                    </a:lnTo>
                    <a:lnTo>
                      <a:pt x="83344" y="411956"/>
                    </a:lnTo>
                    <a:lnTo>
                      <a:pt x="52388" y="414337"/>
                    </a:lnTo>
                    <a:lnTo>
                      <a:pt x="28575" y="378619"/>
                    </a:lnTo>
                    <a:lnTo>
                      <a:pt x="26194" y="342900"/>
                    </a:lnTo>
                    <a:lnTo>
                      <a:pt x="4763" y="323850"/>
                    </a:lnTo>
                    <a:lnTo>
                      <a:pt x="35719" y="295275"/>
                    </a:lnTo>
                    <a:lnTo>
                      <a:pt x="0" y="266700"/>
                    </a:lnTo>
                    <a:lnTo>
                      <a:pt x="42863" y="233362"/>
                    </a:lnTo>
                    <a:cubicBezTo>
                      <a:pt x="43657" y="214312"/>
                      <a:pt x="44450" y="195262"/>
                      <a:pt x="45244" y="176212"/>
                    </a:cubicBezTo>
                    <a:lnTo>
                      <a:pt x="92869" y="140494"/>
                    </a:lnTo>
                    <a:lnTo>
                      <a:pt x="140494" y="116681"/>
                    </a:lnTo>
                    <a:lnTo>
                      <a:pt x="190500" y="76200"/>
                    </a:lnTo>
                    <a:lnTo>
                      <a:pt x="219075" y="147637"/>
                    </a:lnTo>
                    <a:lnTo>
                      <a:pt x="273844" y="180975"/>
                    </a:lnTo>
                    <a:lnTo>
                      <a:pt x="319088" y="154781"/>
                    </a:lnTo>
                    <a:lnTo>
                      <a:pt x="359569" y="154781"/>
                    </a:lnTo>
                    <a:lnTo>
                      <a:pt x="357188" y="123825"/>
                    </a:lnTo>
                    <a:lnTo>
                      <a:pt x="366713" y="69056"/>
                    </a:lnTo>
                    <a:lnTo>
                      <a:pt x="402431" y="85725"/>
                    </a:lnTo>
                    <a:lnTo>
                      <a:pt x="447675" y="85725"/>
                    </a:lnTo>
                    <a:lnTo>
                      <a:pt x="481013" y="54769"/>
                    </a:lnTo>
                    <a:lnTo>
                      <a:pt x="516731" y="71437"/>
                    </a:lnTo>
                    <a:lnTo>
                      <a:pt x="528638" y="102394"/>
                    </a:lnTo>
                    <a:lnTo>
                      <a:pt x="511969" y="133350"/>
                    </a:lnTo>
                    <a:lnTo>
                      <a:pt x="595313" y="126206"/>
                    </a:lnTo>
                    <a:lnTo>
                      <a:pt x="595313" y="126206"/>
                    </a:lnTo>
                    <a:lnTo>
                      <a:pt x="621506" y="159544"/>
                    </a:lnTo>
                    <a:lnTo>
                      <a:pt x="647700" y="204787"/>
                    </a:lnTo>
                    <a:lnTo>
                      <a:pt x="726281" y="221456"/>
                    </a:lnTo>
                    <a:lnTo>
                      <a:pt x="785813" y="211931"/>
                    </a:lnTo>
                    <a:lnTo>
                      <a:pt x="857250" y="176212"/>
                    </a:lnTo>
                    <a:lnTo>
                      <a:pt x="888206" y="176212"/>
                    </a:lnTo>
                    <a:lnTo>
                      <a:pt x="959644" y="192881"/>
                    </a:lnTo>
                    <a:lnTo>
                      <a:pt x="1059656" y="192881"/>
                    </a:lnTo>
                    <a:lnTo>
                      <a:pt x="1166813" y="171450"/>
                    </a:lnTo>
                    <a:lnTo>
                      <a:pt x="1245394" y="119062"/>
                    </a:lnTo>
                    <a:lnTo>
                      <a:pt x="1273969" y="102394"/>
                    </a:lnTo>
                    <a:lnTo>
                      <a:pt x="1366838" y="76200"/>
                    </a:lnTo>
                    <a:lnTo>
                      <a:pt x="1402556" y="114300"/>
                    </a:lnTo>
                    <a:lnTo>
                      <a:pt x="1462088" y="128587"/>
                    </a:lnTo>
                    <a:lnTo>
                      <a:pt x="1512094" y="107156"/>
                    </a:lnTo>
                    <a:lnTo>
                      <a:pt x="1528763" y="61912"/>
                    </a:lnTo>
                    <a:lnTo>
                      <a:pt x="1585913" y="61912"/>
                    </a:lnTo>
                    <a:lnTo>
                      <a:pt x="1621631" y="42862"/>
                    </a:lnTo>
                    <a:lnTo>
                      <a:pt x="1688306" y="0"/>
                    </a:ln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>
                <a:outerShdw blurRad="76200" dir="13500000" sy="23000" kx="1200000" algn="br" rotWithShape="0">
                  <a:prstClr val="black">
                    <a:alpha val="20000"/>
                  </a:prstClr>
                </a:outerShdw>
              </a:effectLst>
            </p:spPr>
            <p:txBody>
              <a:bodyPr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8" name="Figura a mano libera 127"/>
              <p:cNvSpPr/>
              <p:nvPr/>
            </p:nvSpPr>
            <p:spPr bwMode="auto">
              <a:xfrm>
                <a:off x="9433535" y="4383195"/>
                <a:ext cx="830738" cy="729625"/>
              </a:xfrm>
              <a:custGeom>
                <a:avLst/>
                <a:gdLst>
                  <a:gd name="connsiteX0" fmla="*/ 0 w 1057275"/>
                  <a:gd name="connsiteY0" fmla="*/ 202406 h 1007268"/>
                  <a:gd name="connsiteX1" fmla="*/ 21431 w 1057275"/>
                  <a:gd name="connsiteY1" fmla="*/ 188118 h 1007268"/>
                  <a:gd name="connsiteX2" fmla="*/ 54768 w 1057275"/>
                  <a:gd name="connsiteY2" fmla="*/ 145256 h 1007268"/>
                  <a:gd name="connsiteX3" fmla="*/ 59531 w 1057275"/>
                  <a:gd name="connsiteY3" fmla="*/ 126206 h 1007268"/>
                  <a:gd name="connsiteX4" fmla="*/ 64293 w 1057275"/>
                  <a:gd name="connsiteY4" fmla="*/ 47625 h 1007268"/>
                  <a:gd name="connsiteX5" fmla="*/ 128587 w 1057275"/>
                  <a:gd name="connsiteY5" fmla="*/ 30956 h 1007268"/>
                  <a:gd name="connsiteX6" fmla="*/ 166687 w 1057275"/>
                  <a:gd name="connsiteY6" fmla="*/ 42862 h 1007268"/>
                  <a:gd name="connsiteX7" fmla="*/ 173831 w 1057275"/>
                  <a:gd name="connsiteY7" fmla="*/ 0 h 1007268"/>
                  <a:gd name="connsiteX8" fmla="*/ 247650 w 1057275"/>
                  <a:gd name="connsiteY8" fmla="*/ 16668 h 1007268"/>
                  <a:gd name="connsiteX9" fmla="*/ 285750 w 1057275"/>
                  <a:gd name="connsiteY9" fmla="*/ 40481 h 1007268"/>
                  <a:gd name="connsiteX10" fmla="*/ 350043 w 1057275"/>
                  <a:gd name="connsiteY10" fmla="*/ 52387 h 1007268"/>
                  <a:gd name="connsiteX11" fmla="*/ 369093 w 1057275"/>
                  <a:gd name="connsiteY11" fmla="*/ 78581 h 1007268"/>
                  <a:gd name="connsiteX12" fmla="*/ 395287 w 1057275"/>
                  <a:gd name="connsiteY12" fmla="*/ 92868 h 1007268"/>
                  <a:gd name="connsiteX13" fmla="*/ 409575 w 1057275"/>
                  <a:gd name="connsiteY13" fmla="*/ 85725 h 1007268"/>
                  <a:gd name="connsiteX14" fmla="*/ 416718 w 1057275"/>
                  <a:gd name="connsiteY14" fmla="*/ 97631 h 1007268"/>
                  <a:gd name="connsiteX15" fmla="*/ 478631 w 1057275"/>
                  <a:gd name="connsiteY15" fmla="*/ 66675 h 1007268"/>
                  <a:gd name="connsiteX16" fmla="*/ 514350 w 1057275"/>
                  <a:gd name="connsiteY16" fmla="*/ 66675 h 1007268"/>
                  <a:gd name="connsiteX17" fmla="*/ 514350 w 1057275"/>
                  <a:gd name="connsiteY17" fmla="*/ 42862 h 1007268"/>
                  <a:gd name="connsiteX18" fmla="*/ 545306 w 1057275"/>
                  <a:gd name="connsiteY18" fmla="*/ 54768 h 1007268"/>
                  <a:gd name="connsiteX19" fmla="*/ 602456 w 1057275"/>
                  <a:gd name="connsiteY19" fmla="*/ 33337 h 1007268"/>
                  <a:gd name="connsiteX20" fmla="*/ 635793 w 1057275"/>
                  <a:gd name="connsiteY20" fmla="*/ 21431 h 1007268"/>
                  <a:gd name="connsiteX21" fmla="*/ 647700 w 1057275"/>
                  <a:gd name="connsiteY21" fmla="*/ 50006 h 1007268"/>
                  <a:gd name="connsiteX22" fmla="*/ 681037 w 1057275"/>
                  <a:gd name="connsiteY22" fmla="*/ 59531 h 1007268"/>
                  <a:gd name="connsiteX23" fmla="*/ 650081 w 1057275"/>
                  <a:gd name="connsiteY23" fmla="*/ 85725 h 1007268"/>
                  <a:gd name="connsiteX24" fmla="*/ 673893 w 1057275"/>
                  <a:gd name="connsiteY24" fmla="*/ 123825 h 1007268"/>
                  <a:gd name="connsiteX25" fmla="*/ 716756 w 1057275"/>
                  <a:gd name="connsiteY25" fmla="*/ 140493 h 1007268"/>
                  <a:gd name="connsiteX26" fmla="*/ 754856 w 1057275"/>
                  <a:gd name="connsiteY26" fmla="*/ 157162 h 1007268"/>
                  <a:gd name="connsiteX27" fmla="*/ 778668 w 1057275"/>
                  <a:gd name="connsiteY27" fmla="*/ 176212 h 1007268"/>
                  <a:gd name="connsiteX28" fmla="*/ 759618 w 1057275"/>
                  <a:gd name="connsiteY28" fmla="*/ 185737 h 1007268"/>
                  <a:gd name="connsiteX29" fmla="*/ 759618 w 1057275"/>
                  <a:gd name="connsiteY29" fmla="*/ 204787 h 1007268"/>
                  <a:gd name="connsiteX30" fmla="*/ 742950 w 1057275"/>
                  <a:gd name="connsiteY30" fmla="*/ 226218 h 1007268"/>
                  <a:gd name="connsiteX31" fmla="*/ 752475 w 1057275"/>
                  <a:gd name="connsiteY31" fmla="*/ 240506 h 1007268"/>
                  <a:gd name="connsiteX32" fmla="*/ 778668 w 1057275"/>
                  <a:gd name="connsiteY32" fmla="*/ 271462 h 1007268"/>
                  <a:gd name="connsiteX33" fmla="*/ 814387 w 1057275"/>
                  <a:gd name="connsiteY33" fmla="*/ 276225 h 1007268"/>
                  <a:gd name="connsiteX34" fmla="*/ 845343 w 1057275"/>
                  <a:gd name="connsiteY34" fmla="*/ 269081 h 1007268"/>
                  <a:gd name="connsiteX35" fmla="*/ 885825 w 1057275"/>
                  <a:gd name="connsiteY35" fmla="*/ 283368 h 1007268"/>
                  <a:gd name="connsiteX36" fmla="*/ 902493 w 1057275"/>
                  <a:gd name="connsiteY36" fmla="*/ 290512 h 1007268"/>
                  <a:gd name="connsiteX37" fmla="*/ 921543 w 1057275"/>
                  <a:gd name="connsiteY37" fmla="*/ 309562 h 1007268"/>
                  <a:gd name="connsiteX38" fmla="*/ 923925 w 1057275"/>
                  <a:gd name="connsiteY38" fmla="*/ 340518 h 1007268"/>
                  <a:gd name="connsiteX39" fmla="*/ 923925 w 1057275"/>
                  <a:gd name="connsiteY39" fmla="*/ 378618 h 1007268"/>
                  <a:gd name="connsiteX40" fmla="*/ 892968 w 1057275"/>
                  <a:gd name="connsiteY40" fmla="*/ 404812 h 1007268"/>
                  <a:gd name="connsiteX41" fmla="*/ 831056 w 1057275"/>
                  <a:gd name="connsiteY41" fmla="*/ 411956 h 1007268"/>
                  <a:gd name="connsiteX42" fmla="*/ 823912 w 1057275"/>
                  <a:gd name="connsiteY42" fmla="*/ 435768 h 1007268"/>
                  <a:gd name="connsiteX43" fmla="*/ 826293 w 1057275"/>
                  <a:gd name="connsiteY43" fmla="*/ 469106 h 1007268"/>
                  <a:gd name="connsiteX44" fmla="*/ 828675 w 1057275"/>
                  <a:gd name="connsiteY44" fmla="*/ 500062 h 1007268"/>
                  <a:gd name="connsiteX45" fmla="*/ 854868 w 1057275"/>
                  <a:gd name="connsiteY45" fmla="*/ 538162 h 1007268"/>
                  <a:gd name="connsiteX46" fmla="*/ 892968 w 1057275"/>
                  <a:gd name="connsiteY46" fmla="*/ 557212 h 1007268"/>
                  <a:gd name="connsiteX47" fmla="*/ 864393 w 1057275"/>
                  <a:gd name="connsiteY47" fmla="*/ 588168 h 1007268"/>
                  <a:gd name="connsiteX48" fmla="*/ 900112 w 1057275"/>
                  <a:gd name="connsiteY48" fmla="*/ 621506 h 1007268"/>
                  <a:gd name="connsiteX49" fmla="*/ 916781 w 1057275"/>
                  <a:gd name="connsiteY49" fmla="*/ 645318 h 1007268"/>
                  <a:gd name="connsiteX50" fmla="*/ 923925 w 1057275"/>
                  <a:gd name="connsiteY50" fmla="*/ 678656 h 1007268"/>
                  <a:gd name="connsiteX51" fmla="*/ 900112 w 1057275"/>
                  <a:gd name="connsiteY51" fmla="*/ 681037 h 1007268"/>
                  <a:gd name="connsiteX52" fmla="*/ 945356 w 1057275"/>
                  <a:gd name="connsiteY52" fmla="*/ 704850 h 1007268"/>
                  <a:gd name="connsiteX53" fmla="*/ 985837 w 1057275"/>
                  <a:gd name="connsiteY53" fmla="*/ 740568 h 1007268"/>
                  <a:gd name="connsiteX54" fmla="*/ 1002506 w 1057275"/>
                  <a:gd name="connsiteY54" fmla="*/ 747712 h 1007268"/>
                  <a:gd name="connsiteX55" fmla="*/ 1016793 w 1057275"/>
                  <a:gd name="connsiteY55" fmla="*/ 790575 h 1007268"/>
                  <a:gd name="connsiteX56" fmla="*/ 1054893 w 1057275"/>
                  <a:gd name="connsiteY56" fmla="*/ 802481 h 1007268"/>
                  <a:gd name="connsiteX57" fmla="*/ 1057275 w 1057275"/>
                  <a:gd name="connsiteY57" fmla="*/ 840581 h 1007268"/>
                  <a:gd name="connsiteX58" fmla="*/ 1031081 w 1057275"/>
                  <a:gd name="connsiteY58" fmla="*/ 862012 h 1007268"/>
                  <a:gd name="connsiteX59" fmla="*/ 997743 w 1057275"/>
                  <a:gd name="connsiteY59" fmla="*/ 881062 h 1007268"/>
                  <a:gd name="connsiteX60" fmla="*/ 1002506 w 1057275"/>
                  <a:gd name="connsiteY60" fmla="*/ 921543 h 1007268"/>
                  <a:gd name="connsiteX61" fmla="*/ 971550 w 1057275"/>
                  <a:gd name="connsiteY61" fmla="*/ 945356 h 1007268"/>
                  <a:gd name="connsiteX62" fmla="*/ 928687 w 1057275"/>
                  <a:gd name="connsiteY62" fmla="*/ 950118 h 1007268"/>
                  <a:gd name="connsiteX63" fmla="*/ 904875 w 1057275"/>
                  <a:gd name="connsiteY63" fmla="*/ 950118 h 1007268"/>
                  <a:gd name="connsiteX64" fmla="*/ 873918 w 1057275"/>
                  <a:gd name="connsiteY64" fmla="*/ 981075 h 1007268"/>
                  <a:gd name="connsiteX65" fmla="*/ 845343 w 1057275"/>
                  <a:gd name="connsiteY65" fmla="*/ 1007268 h 1007268"/>
                  <a:gd name="connsiteX66" fmla="*/ 797718 w 1057275"/>
                  <a:gd name="connsiteY66" fmla="*/ 983456 h 1007268"/>
                  <a:gd name="connsiteX67" fmla="*/ 776287 w 1057275"/>
                  <a:gd name="connsiteY67" fmla="*/ 954881 h 1007268"/>
                  <a:gd name="connsiteX68" fmla="*/ 738187 w 1057275"/>
                  <a:gd name="connsiteY68" fmla="*/ 921543 h 1007268"/>
                  <a:gd name="connsiteX69" fmla="*/ 742950 w 1057275"/>
                  <a:gd name="connsiteY69" fmla="*/ 904875 h 1007268"/>
                  <a:gd name="connsiteX70" fmla="*/ 711993 w 1057275"/>
                  <a:gd name="connsiteY70" fmla="*/ 907256 h 1007268"/>
                  <a:gd name="connsiteX71" fmla="*/ 714375 w 1057275"/>
                  <a:gd name="connsiteY71" fmla="*/ 871537 h 1007268"/>
                  <a:gd name="connsiteX72" fmla="*/ 678656 w 1057275"/>
                  <a:gd name="connsiteY72" fmla="*/ 892968 h 1007268"/>
                  <a:gd name="connsiteX73" fmla="*/ 661987 w 1057275"/>
                  <a:gd name="connsiteY73" fmla="*/ 885825 h 1007268"/>
                  <a:gd name="connsiteX74" fmla="*/ 626268 w 1057275"/>
                  <a:gd name="connsiteY74" fmla="*/ 847725 h 1007268"/>
                  <a:gd name="connsiteX75" fmla="*/ 600075 w 1057275"/>
                  <a:gd name="connsiteY75" fmla="*/ 850106 h 1007268"/>
                  <a:gd name="connsiteX76" fmla="*/ 600075 w 1057275"/>
                  <a:gd name="connsiteY76" fmla="*/ 850106 h 1007268"/>
                  <a:gd name="connsiteX77" fmla="*/ 611981 w 1057275"/>
                  <a:gd name="connsiteY77" fmla="*/ 821531 h 1007268"/>
                  <a:gd name="connsiteX78" fmla="*/ 614362 w 1057275"/>
                  <a:gd name="connsiteY78" fmla="*/ 781050 h 1007268"/>
                  <a:gd name="connsiteX79" fmla="*/ 640556 w 1057275"/>
                  <a:gd name="connsiteY79" fmla="*/ 754856 h 1007268"/>
                  <a:gd name="connsiteX80" fmla="*/ 621506 w 1057275"/>
                  <a:gd name="connsiteY80" fmla="*/ 721518 h 1007268"/>
                  <a:gd name="connsiteX81" fmla="*/ 597693 w 1057275"/>
                  <a:gd name="connsiteY81" fmla="*/ 671512 h 1007268"/>
                  <a:gd name="connsiteX82" fmla="*/ 573881 w 1057275"/>
                  <a:gd name="connsiteY82" fmla="*/ 619125 h 1007268"/>
                  <a:gd name="connsiteX83" fmla="*/ 526256 w 1057275"/>
                  <a:gd name="connsiteY83" fmla="*/ 561975 h 1007268"/>
                  <a:gd name="connsiteX84" fmla="*/ 504825 w 1057275"/>
                  <a:gd name="connsiteY84" fmla="*/ 545306 h 1007268"/>
                  <a:gd name="connsiteX85" fmla="*/ 492918 w 1057275"/>
                  <a:gd name="connsiteY85" fmla="*/ 545306 h 1007268"/>
                  <a:gd name="connsiteX86" fmla="*/ 481012 w 1057275"/>
                  <a:gd name="connsiteY86" fmla="*/ 573881 h 1007268"/>
                  <a:gd name="connsiteX87" fmla="*/ 476250 w 1057275"/>
                  <a:gd name="connsiteY87" fmla="*/ 583406 h 1007268"/>
                  <a:gd name="connsiteX88" fmla="*/ 445293 w 1057275"/>
                  <a:gd name="connsiteY88" fmla="*/ 566737 h 1007268"/>
                  <a:gd name="connsiteX89" fmla="*/ 404812 w 1057275"/>
                  <a:gd name="connsiteY89" fmla="*/ 592931 h 1007268"/>
                  <a:gd name="connsiteX90" fmla="*/ 402431 w 1057275"/>
                  <a:gd name="connsiteY90" fmla="*/ 600075 h 1007268"/>
                  <a:gd name="connsiteX91" fmla="*/ 373856 w 1057275"/>
                  <a:gd name="connsiteY91" fmla="*/ 592931 h 1007268"/>
                  <a:gd name="connsiteX92" fmla="*/ 345281 w 1057275"/>
                  <a:gd name="connsiteY92" fmla="*/ 588168 h 1007268"/>
                  <a:gd name="connsiteX93" fmla="*/ 316706 w 1057275"/>
                  <a:gd name="connsiteY93" fmla="*/ 602456 h 1007268"/>
                  <a:gd name="connsiteX94" fmla="*/ 290512 w 1057275"/>
                  <a:gd name="connsiteY94" fmla="*/ 626268 h 1007268"/>
                  <a:gd name="connsiteX95" fmla="*/ 273843 w 1057275"/>
                  <a:gd name="connsiteY95" fmla="*/ 619125 h 1007268"/>
                  <a:gd name="connsiteX96" fmla="*/ 300037 w 1057275"/>
                  <a:gd name="connsiteY96" fmla="*/ 581025 h 1007268"/>
                  <a:gd name="connsiteX97" fmla="*/ 357187 w 1057275"/>
                  <a:gd name="connsiteY97" fmla="*/ 545306 h 1007268"/>
                  <a:gd name="connsiteX98" fmla="*/ 369093 w 1057275"/>
                  <a:gd name="connsiteY98" fmla="*/ 526256 h 1007268"/>
                  <a:gd name="connsiteX99" fmla="*/ 340518 w 1057275"/>
                  <a:gd name="connsiteY99" fmla="*/ 495300 h 1007268"/>
                  <a:gd name="connsiteX100" fmla="*/ 321468 w 1057275"/>
                  <a:gd name="connsiteY100" fmla="*/ 502443 h 1007268"/>
                  <a:gd name="connsiteX101" fmla="*/ 266700 w 1057275"/>
                  <a:gd name="connsiteY101" fmla="*/ 447675 h 1007268"/>
                  <a:gd name="connsiteX102" fmla="*/ 266700 w 1057275"/>
                  <a:gd name="connsiteY102" fmla="*/ 447675 h 1007268"/>
                  <a:gd name="connsiteX103" fmla="*/ 216693 w 1057275"/>
                  <a:gd name="connsiteY103" fmla="*/ 459581 h 1007268"/>
                  <a:gd name="connsiteX104" fmla="*/ 216693 w 1057275"/>
                  <a:gd name="connsiteY104" fmla="*/ 459581 h 1007268"/>
                  <a:gd name="connsiteX105" fmla="*/ 197643 w 1057275"/>
                  <a:gd name="connsiteY105" fmla="*/ 464343 h 1007268"/>
                  <a:gd name="connsiteX106" fmla="*/ 178593 w 1057275"/>
                  <a:gd name="connsiteY106" fmla="*/ 447675 h 1007268"/>
                  <a:gd name="connsiteX107" fmla="*/ 176212 w 1057275"/>
                  <a:gd name="connsiteY107" fmla="*/ 433387 h 1007268"/>
                  <a:gd name="connsiteX108" fmla="*/ 166687 w 1057275"/>
                  <a:gd name="connsiteY108" fmla="*/ 459581 h 1007268"/>
                  <a:gd name="connsiteX109" fmla="*/ 164306 w 1057275"/>
                  <a:gd name="connsiteY109" fmla="*/ 483393 h 1007268"/>
                  <a:gd name="connsiteX110" fmla="*/ 164306 w 1057275"/>
                  <a:gd name="connsiteY110" fmla="*/ 483393 h 1007268"/>
                  <a:gd name="connsiteX111" fmla="*/ 126206 w 1057275"/>
                  <a:gd name="connsiteY111" fmla="*/ 507206 h 1007268"/>
                  <a:gd name="connsiteX112" fmla="*/ 111918 w 1057275"/>
                  <a:gd name="connsiteY112" fmla="*/ 497681 h 1007268"/>
                  <a:gd name="connsiteX113" fmla="*/ 138112 w 1057275"/>
                  <a:gd name="connsiteY113" fmla="*/ 464343 h 1007268"/>
                  <a:gd name="connsiteX114" fmla="*/ 135731 w 1057275"/>
                  <a:gd name="connsiteY114" fmla="*/ 409575 h 1007268"/>
                  <a:gd name="connsiteX115" fmla="*/ 102393 w 1057275"/>
                  <a:gd name="connsiteY115" fmla="*/ 373856 h 1007268"/>
                  <a:gd name="connsiteX116" fmla="*/ 80962 w 1057275"/>
                  <a:gd name="connsiteY116" fmla="*/ 302418 h 1007268"/>
                  <a:gd name="connsiteX117" fmla="*/ 30956 w 1057275"/>
                  <a:gd name="connsiteY117" fmla="*/ 247650 h 1007268"/>
                  <a:gd name="connsiteX118" fmla="*/ 0 w 1057275"/>
                  <a:gd name="connsiteY118" fmla="*/ 202406 h 10072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</a:cxnLst>
                <a:rect l="l" t="t" r="r" b="b"/>
                <a:pathLst>
                  <a:path w="1057275" h="1007268">
                    <a:moveTo>
                      <a:pt x="0" y="202406"/>
                    </a:moveTo>
                    <a:lnTo>
                      <a:pt x="21431" y="188118"/>
                    </a:lnTo>
                    <a:lnTo>
                      <a:pt x="54768" y="145256"/>
                    </a:lnTo>
                    <a:lnTo>
                      <a:pt x="59531" y="126206"/>
                    </a:lnTo>
                    <a:lnTo>
                      <a:pt x="64293" y="47625"/>
                    </a:lnTo>
                    <a:lnTo>
                      <a:pt x="128587" y="30956"/>
                    </a:lnTo>
                    <a:lnTo>
                      <a:pt x="166687" y="42862"/>
                    </a:lnTo>
                    <a:lnTo>
                      <a:pt x="173831" y="0"/>
                    </a:lnTo>
                    <a:lnTo>
                      <a:pt x="247650" y="16668"/>
                    </a:lnTo>
                    <a:lnTo>
                      <a:pt x="285750" y="40481"/>
                    </a:lnTo>
                    <a:lnTo>
                      <a:pt x="350043" y="52387"/>
                    </a:lnTo>
                    <a:lnTo>
                      <a:pt x="369093" y="78581"/>
                    </a:lnTo>
                    <a:lnTo>
                      <a:pt x="395287" y="92868"/>
                    </a:lnTo>
                    <a:lnTo>
                      <a:pt x="409575" y="85725"/>
                    </a:lnTo>
                    <a:lnTo>
                      <a:pt x="416718" y="97631"/>
                    </a:lnTo>
                    <a:lnTo>
                      <a:pt x="478631" y="66675"/>
                    </a:lnTo>
                    <a:lnTo>
                      <a:pt x="514350" y="66675"/>
                    </a:lnTo>
                    <a:lnTo>
                      <a:pt x="514350" y="42862"/>
                    </a:lnTo>
                    <a:lnTo>
                      <a:pt x="545306" y="54768"/>
                    </a:lnTo>
                    <a:lnTo>
                      <a:pt x="602456" y="33337"/>
                    </a:lnTo>
                    <a:lnTo>
                      <a:pt x="635793" y="21431"/>
                    </a:lnTo>
                    <a:lnTo>
                      <a:pt x="647700" y="50006"/>
                    </a:lnTo>
                    <a:lnTo>
                      <a:pt x="681037" y="59531"/>
                    </a:lnTo>
                    <a:lnTo>
                      <a:pt x="650081" y="85725"/>
                    </a:lnTo>
                    <a:lnTo>
                      <a:pt x="673893" y="123825"/>
                    </a:lnTo>
                    <a:lnTo>
                      <a:pt x="716756" y="140493"/>
                    </a:lnTo>
                    <a:lnTo>
                      <a:pt x="754856" y="157162"/>
                    </a:lnTo>
                    <a:lnTo>
                      <a:pt x="778668" y="176212"/>
                    </a:lnTo>
                    <a:lnTo>
                      <a:pt x="759618" y="185737"/>
                    </a:lnTo>
                    <a:lnTo>
                      <a:pt x="759618" y="204787"/>
                    </a:lnTo>
                    <a:lnTo>
                      <a:pt x="742950" y="226218"/>
                    </a:lnTo>
                    <a:lnTo>
                      <a:pt x="752475" y="240506"/>
                    </a:lnTo>
                    <a:lnTo>
                      <a:pt x="778668" y="271462"/>
                    </a:lnTo>
                    <a:lnTo>
                      <a:pt x="814387" y="276225"/>
                    </a:lnTo>
                    <a:lnTo>
                      <a:pt x="845343" y="269081"/>
                    </a:lnTo>
                    <a:lnTo>
                      <a:pt x="885825" y="283368"/>
                    </a:lnTo>
                    <a:lnTo>
                      <a:pt x="902493" y="290512"/>
                    </a:lnTo>
                    <a:lnTo>
                      <a:pt x="921543" y="309562"/>
                    </a:lnTo>
                    <a:lnTo>
                      <a:pt x="923925" y="340518"/>
                    </a:lnTo>
                    <a:lnTo>
                      <a:pt x="923925" y="378618"/>
                    </a:lnTo>
                    <a:lnTo>
                      <a:pt x="892968" y="404812"/>
                    </a:lnTo>
                    <a:lnTo>
                      <a:pt x="831056" y="411956"/>
                    </a:lnTo>
                    <a:lnTo>
                      <a:pt x="823912" y="435768"/>
                    </a:lnTo>
                    <a:lnTo>
                      <a:pt x="826293" y="469106"/>
                    </a:lnTo>
                    <a:lnTo>
                      <a:pt x="828675" y="500062"/>
                    </a:lnTo>
                    <a:lnTo>
                      <a:pt x="854868" y="538162"/>
                    </a:lnTo>
                    <a:lnTo>
                      <a:pt x="892968" y="557212"/>
                    </a:lnTo>
                    <a:lnTo>
                      <a:pt x="864393" y="588168"/>
                    </a:lnTo>
                    <a:lnTo>
                      <a:pt x="900112" y="621506"/>
                    </a:lnTo>
                    <a:lnTo>
                      <a:pt x="916781" y="645318"/>
                    </a:lnTo>
                    <a:lnTo>
                      <a:pt x="923925" y="678656"/>
                    </a:lnTo>
                    <a:lnTo>
                      <a:pt x="900112" y="681037"/>
                    </a:lnTo>
                    <a:lnTo>
                      <a:pt x="945356" y="704850"/>
                    </a:lnTo>
                    <a:lnTo>
                      <a:pt x="985837" y="740568"/>
                    </a:lnTo>
                    <a:lnTo>
                      <a:pt x="1002506" y="747712"/>
                    </a:lnTo>
                    <a:lnTo>
                      <a:pt x="1016793" y="790575"/>
                    </a:lnTo>
                    <a:lnTo>
                      <a:pt x="1054893" y="802481"/>
                    </a:lnTo>
                    <a:lnTo>
                      <a:pt x="1057275" y="840581"/>
                    </a:lnTo>
                    <a:lnTo>
                      <a:pt x="1031081" y="862012"/>
                    </a:lnTo>
                    <a:lnTo>
                      <a:pt x="997743" y="881062"/>
                    </a:lnTo>
                    <a:lnTo>
                      <a:pt x="1002506" y="921543"/>
                    </a:lnTo>
                    <a:lnTo>
                      <a:pt x="971550" y="945356"/>
                    </a:lnTo>
                    <a:lnTo>
                      <a:pt x="928687" y="950118"/>
                    </a:lnTo>
                    <a:lnTo>
                      <a:pt x="904875" y="950118"/>
                    </a:lnTo>
                    <a:lnTo>
                      <a:pt x="873918" y="981075"/>
                    </a:lnTo>
                    <a:lnTo>
                      <a:pt x="845343" y="1007268"/>
                    </a:lnTo>
                    <a:lnTo>
                      <a:pt x="797718" y="983456"/>
                    </a:lnTo>
                    <a:lnTo>
                      <a:pt x="776287" y="954881"/>
                    </a:lnTo>
                    <a:lnTo>
                      <a:pt x="738187" y="921543"/>
                    </a:lnTo>
                    <a:lnTo>
                      <a:pt x="742950" y="904875"/>
                    </a:lnTo>
                    <a:lnTo>
                      <a:pt x="711993" y="907256"/>
                    </a:lnTo>
                    <a:lnTo>
                      <a:pt x="714375" y="871537"/>
                    </a:lnTo>
                    <a:lnTo>
                      <a:pt x="678656" y="892968"/>
                    </a:lnTo>
                    <a:lnTo>
                      <a:pt x="661987" y="885825"/>
                    </a:lnTo>
                    <a:lnTo>
                      <a:pt x="626268" y="847725"/>
                    </a:lnTo>
                    <a:lnTo>
                      <a:pt x="600075" y="850106"/>
                    </a:lnTo>
                    <a:lnTo>
                      <a:pt x="600075" y="850106"/>
                    </a:lnTo>
                    <a:lnTo>
                      <a:pt x="611981" y="821531"/>
                    </a:lnTo>
                    <a:lnTo>
                      <a:pt x="614362" y="781050"/>
                    </a:lnTo>
                    <a:lnTo>
                      <a:pt x="640556" y="754856"/>
                    </a:lnTo>
                    <a:lnTo>
                      <a:pt x="621506" y="721518"/>
                    </a:lnTo>
                    <a:lnTo>
                      <a:pt x="597693" y="671512"/>
                    </a:lnTo>
                    <a:lnTo>
                      <a:pt x="573881" y="619125"/>
                    </a:lnTo>
                    <a:lnTo>
                      <a:pt x="526256" y="561975"/>
                    </a:lnTo>
                    <a:lnTo>
                      <a:pt x="504825" y="545306"/>
                    </a:lnTo>
                    <a:lnTo>
                      <a:pt x="492918" y="545306"/>
                    </a:lnTo>
                    <a:lnTo>
                      <a:pt x="481012" y="573881"/>
                    </a:lnTo>
                    <a:lnTo>
                      <a:pt x="476250" y="583406"/>
                    </a:lnTo>
                    <a:lnTo>
                      <a:pt x="445293" y="566737"/>
                    </a:lnTo>
                    <a:lnTo>
                      <a:pt x="404812" y="592931"/>
                    </a:lnTo>
                    <a:lnTo>
                      <a:pt x="402431" y="600075"/>
                    </a:lnTo>
                    <a:lnTo>
                      <a:pt x="373856" y="592931"/>
                    </a:lnTo>
                    <a:lnTo>
                      <a:pt x="345281" y="588168"/>
                    </a:lnTo>
                    <a:lnTo>
                      <a:pt x="316706" y="602456"/>
                    </a:lnTo>
                    <a:lnTo>
                      <a:pt x="290512" y="626268"/>
                    </a:lnTo>
                    <a:lnTo>
                      <a:pt x="273843" y="619125"/>
                    </a:lnTo>
                    <a:lnTo>
                      <a:pt x="300037" y="581025"/>
                    </a:lnTo>
                    <a:lnTo>
                      <a:pt x="357187" y="545306"/>
                    </a:lnTo>
                    <a:lnTo>
                      <a:pt x="369093" y="526256"/>
                    </a:lnTo>
                    <a:lnTo>
                      <a:pt x="340518" y="495300"/>
                    </a:lnTo>
                    <a:lnTo>
                      <a:pt x="321468" y="502443"/>
                    </a:lnTo>
                    <a:lnTo>
                      <a:pt x="266700" y="447675"/>
                    </a:lnTo>
                    <a:lnTo>
                      <a:pt x="266700" y="447675"/>
                    </a:lnTo>
                    <a:lnTo>
                      <a:pt x="216693" y="459581"/>
                    </a:lnTo>
                    <a:lnTo>
                      <a:pt x="216693" y="459581"/>
                    </a:lnTo>
                    <a:lnTo>
                      <a:pt x="197643" y="464343"/>
                    </a:lnTo>
                    <a:lnTo>
                      <a:pt x="178593" y="447675"/>
                    </a:lnTo>
                    <a:lnTo>
                      <a:pt x="176212" y="433387"/>
                    </a:lnTo>
                    <a:lnTo>
                      <a:pt x="166687" y="459581"/>
                    </a:lnTo>
                    <a:lnTo>
                      <a:pt x="164306" y="483393"/>
                    </a:lnTo>
                    <a:lnTo>
                      <a:pt x="164306" y="483393"/>
                    </a:lnTo>
                    <a:lnTo>
                      <a:pt x="126206" y="507206"/>
                    </a:lnTo>
                    <a:lnTo>
                      <a:pt x="111918" y="497681"/>
                    </a:lnTo>
                    <a:lnTo>
                      <a:pt x="138112" y="464343"/>
                    </a:lnTo>
                    <a:lnTo>
                      <a:pt x="135731" y="409575"/>
                    </a:lnTo>
                    <a:lnTo>
                      <a:pt x="102393" y="373856"/>
                    </a:lnTo>
                    <a:lnTo>
                      <a:pt x="80962" y="302418"/>
                    </a:lnTo>
                    <a:lnTo>
                      <a:pt x="30956" y="247650"/>
                    </a:lnTo>
                    <a:lnTo>
                      <a:pt x="0" y="202406"/>
                    </a:ln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9" name="Figura a mano libera 128"/>
              <p:cNvSpPr/>
              <p:nvPr/>
            </p:nvSpPr>
            <p:spPr bwMode="auto">
              <a:xfrm>
                <a:off x="10082729" y="4558469"/>
                <a:ext cx="612888" cy="595114"/>
              </a:xfrm>
              <a:custGeom>
                <a:avLst/>
                <a:gdLst>
                  <a:gd name="connsiteX0" fmla="*/ 676275 w 778669"/>
                  <a:gd name="connsiteY0" fmla="*/ 666750 h 819150"/>
                  <a:gd name="connsiteX1" fmla="*/ 721519 w 778669"/>
                  <a:gd name="connsiteY1" fmla="*/ 616744 h 819150"/>
                  <a:gd name="connsiteX2" fmla="*/ 723900 w 778669"/>
                  <a:gd name="connsiteY2" fmla="*/ 585788 h 819150"/>
                  <a:gd name="connsiteX3" fmla="*/ 745332 w 778669"/>
                  <a:gd name="connsiteY3" fmla="*/ 545306 h 819150"/>
                  <a:gd name="connsiteX4" fmla="*/ 778669 w 778669"/>
                  <a:gd name="connsiteY4" fmla="*/ 483394 h 819150"/>
                  <a:gd name="connsiteX5" fmla="*/ 762000 w 778669"/>
                  <a:gd name="connsiteY5" fmla="*/ 471488 h 819150"/>
                  <a:gd name="connsiteX6" fmla="*/ 740569 w 778669"/>
                  <a:gd name="connsiteY6" fmla="*/ 435769 h 819150"/>
                  <a:gd name="connsiteX7" fmla="*/ 714375 w 778669"/>
                  <a:gd name="connsiteY7" fmla="*/ 447675 h 819150"/>
                  <a:gd name="connsiteX8" fmla="*/ 707232 w 778669"/>
                  <a:gd name="connsiteY8" fmla="*/ 404813 h 819150"/>
                  <a:gd name="connsiteX9" fmla="*/ 702469 w 778669"/>
                  <a:gd name="connsiteY9" fmla="*/ 335756 h 819150"/>
                  <a:gd name="connsiteX10" fmla="*/ 711994 w 778669"/>
                  <a:gd name="connsiteY10" fmla="*/ 292894 h 819150"/>
                  <a:gd name="connsiteX11" fmla="*/ 700088 w 778669"/>
                  <a:gd name="connsiteY11" fmla="*/ 266700 h 819150"/>
                  <a:gd name="connsiteX12" fmla="*/ 676275 w 778669"/>
                  <a:gd name="connsiteY12" fmla="*/ 261938 h 819150"/>
                  <a:gd name="connsiteX13" fmla="*/ 640557 w 778669"/>
                  <a:gd name="connsiteY13" fmla="*/ 247650 h 819150"/>
                  <a:gd name="connsiteX14" fmla="*/ 597694 w 778669"/>
                  <a:gd name="connsiteY14" fmla="*/ 247650 h 819150"/>
                  <a:gd name="connsiteX15" fmla="*/ 578644 w 778669"/>
                  <a:gd name="connsiteY15" fmla="*/ 257175 h 819150"/>
                  <a:gd name="connsiteX16" fmla="*/ 554832 w 778669"/>
                  <a:gd name="connsiteY16" fmla="*/ 278606 h 819150"/>
                  <a:gd name="connsiteX17" fmla="*/ 557213 w 778669"/>
                  <a:gd name="connsiteY17" fmla="*/ 302419 h 819150"/>
                  <a:gd name="connsiteX18" fmla="*/ 531019 w 778669"/>
                  <a:gd name="connsiteY18" fmla="*/ 261938 h 819150"/>
                  <a:gd name="connsiteX19" fmla="*/ 478632 w 778669"/>
                  <a:gd name="connsiteY19" fmla="*/ 226219 h 819150"/>
                  <a:gd name="connsiteX20" fmla="*/ 454819 w 778669"/>
                  <a:gd name="connsiteY20" fmla="*/ 190500 h 819150"/>
                  <a:gd name="connsiteX21" fmla="*/ 440532 w 778669"/>
                  <a:gd name="connsiteY21" fmla="*/ 142875 h 819150"/>
                  <a:gd name="connsiteX22" fmla="*/ 404813 w 778669"/>
                  <a:gd name="connsiteY22" fmla="*/ 138113 h 819150"/>
                  <a:gd name="connsiteX23" fmla="*/ 397669 w 778669"/>
                  <a:gd name="connsiteY23" fmla="*/ 166688 h 819150"/>
                  <a:gd name="connsiteX24" fmla="*/ 361950 w 778669"/>
                  <a:gd name="connsiteY24" fmla="*/ 145256 h 819150"/>
                  <a:gd name="connsiteX25" fmla="*/ 326232 w 778669"/>
                  <a:gd name="connsiteY25" fmla="*/ 123825 h 819150"/>
                  <a:gd name="connsiteX26" fmla="*/ 304800 w 778669"/>
                  <a:gd name="connsiteY26" fmla="*/ 123825 h 819150"/>
                  <a:gd name="connsiteX27" fmla="*/ 333375 w 778669"/>
                  <a:gd name="connsiteY27" fmla="*/ 109538 h 819150"/>
                  <a:gd name="connsiteX28" fmla="*/ 335757 w 778669"/>
                  <a:gd name="connsiteY28" fmla="*/ 95250 h 819150"/>
                  <a:gd name="connsiteX29" fmla="*/ 342900 w 778669"/>
                  <a:gd name="connsiteY29" fmla="*/ 59531 h 819150"/>
                  <a:gd name="connsiteX30" fmla="*/ 307182 w 778669"/>
                  <a:gd name="connsiteY30" fmla="*/ 52388 h 819150"/>
                  <a:gd name="connsiteX31" fmla="*/ 297657 w 778669"/>
                  <a:gd name="connsiteY31" fmla="*/ 21431 h 819150"/>
                  <a:gd name="connsiteX32" fmla="*/ 245269 w 778669"/>
                  <a:gd name="connsiteY32" fmla="*/ 0 h 819150"/>
                  <a:gd name="connsiteX33" fmla="*/ 230982 w 778669"/>
                  <a:gd name="connsiteY33" fmla="*/ 26194 h 819150"/>
                  <a:gd name="connsiteX34" fmla="*/ 173832 w 778669"/>
                  <a:gd name="connsiteY34" fmla="*/ 40481 h 819150"/>
                  <a:gd name="connsiteX35" fmla="*/ 159544 w 778669"/>
                  <a:gd name="connsiteY35" fmla="*/ 40481 h 819150"/>
                  <a:gd name="connsiteX36" fmla="*/ 128588 w 778669"/>
                  <a:gd name="connsiteY36" fmla="*/ 40481 h 819150"/>
                  <a:gd name="connsiteX37" fmla="*/ 100013 w 778669"/>
                  <a:gd name="connsiteY37" fmla="*/ 47625 h 819150"/>
                  <a:gd name="connsiteX38" fmla="*/ 102394 w 778669"/>
                  <a:gd name="connsiteY38" fmla="*/ 69056 h 819150"/>
                  <a:gd name="connsiteX39" fmla="*/ 92869 w 778669"/>
                  <a:gd name="connsiteY39" fmla="*/ 116681 h 819150"/>
                  <a:gd name="connsiteX40" fmla="*/ 100013 w 778669"/>
                  <a:gd name="connsiteY40" fmla="*/ 147638 h 819150"/>
                  <a:gd name="connsiteX41" fmla="*/ 69057 w 778669"/>
                  <a:gd name="connsiteY41" fmla="*/ 159544 h 819150"/>
                  <a:gd name="connsiteX42" fmla="*/ 11907 w 778669"/>
                  <a:gd name="connsiteY42" fmla="*/ 169069 h 819150"/>
                  <a:gd name="connsiteX43" fmla="*/ 0 w 778669"/>
                  <a:gd name="connsiteY43" fmla="*/ 192881 h 819150"/>
                  <a:gd name="connsiteX44" fmla="*/ 14288 w 778669"/>
                  <a:gd name="connsiteY44" fmla="*/ 259556 h 819150"/>
                  <a:gd name="connsiteX45" fmla="*/ 38100 w 778669"/>
                  <a:gd name="connsiteY45" fmla="*/ 300038 h 819150"/>
                  <a:gd name="connsiteX46" fmla="*/ 69057 w 778669"/>
                  <a:gd name="connsiteY46" fmla="*/ 309563 h 819150"/>
                  <a:gd name="connsiteX47" fmla="*/ 45244 w 778669"/>
                  <a:gd name="connsiteY47" fmla="*/ 338138 h 819150"/>
                  <a:gd name="connsiteX48" fmla="*/ 54769 w 778669"/>
                  <a:gd name="connsiteY48" fmla="*/ 361950 h 819150"/>
                  <a:gd name="connsiteX49" fmla="*/ 90488 w 778669"/>
                  <a:gd name="connsiteY49" fmla="*/ 409575 h 819150"/>
                  <a:gd name="connsiteX50" fmla="*/ 107157 w 778669"/>
                  <a:gd name="connsiteY50" fmla="*/ 435769 h 819150"/>
                  <a:gd name="connsiteX51" fmla="*/ 85725 w 778669"/>
                  <a:gd name="connsiteY51" fmla="*/ 445294 h 819150"/>
                  <a:gd name="connsiteX52" fmla="*/ 150019 w 778669"/>
                  <a:gd name="connsiteY52" fmla="*/ 488156 h 819150"/>
                  <a:gd name="connsiteX53" fmla="*/ 164307 w 778669"/>
                  <a:gd name="connsiteY53" fmla="*/ 497681 h 819150"/>
                  <a:gd name="connsiteX54" fmla="*/ 164307 w 778669"/>
                  <a:gd name="connsiteY54" fmla="*/ 497681 h 819150"/>
                  <a:gd name="connsiteX55" fmla="*/ 192882 w 778669"/>
                  <a:gd name="connsiteY55" fmla="*/ 545306 h 819150"/>
                  <a:gd name="connsiteX56" fmla="*/ 238125 w 778669"/>
                  <a:gd name="connsiteY56" fmla="*/ 561975 h 819150"/>
                  <a:gd name="connsiteX57" fmla="*/ 235744 w 778669"/>
                  <a:gd name="connsiteY57" fmla="*/ 604838 h 819150"/>
                  <a:gd name="connsiteX58" fmla="*/ 185738 w 778669"/>
                  <a:gd name="connsiteY58" fmla="*/ 621506 h 819150"/>
                  <a:gd name="connsiteX59" fmla="*/ 178594 w 778669"/>
                  <a:gd name="connsiteY59" fmla="*/ 659606 h 819150"/>
                  <a:gd name="connsiteX60" fmla="*/ 183357 w 778669"/>
                  <a:gd name="connsiteY60" fmla="*/ 681038 h 819150"/>
                  <a:gd name="connsiteX61" fmla="*/ 133350 w 778669"/>
                  <a:gd name="connsiteY61" fmla="*/ 711994 h 819150"/>
                  <a:gd name="connsiteX62" fmla="*/ 161925 w 778669"/>
                  <a:gd name="connsiteY62" fmla="*/ 735806 h 819150"/>
                  <a:gd name="connsiteX63" fmla="*/ 164307 w 778669"/>
                  <a:gd name="connsiteY63" fmla="*/ 754856 h 819150"/>
                  <a:gd name="connsiteX64" fmla="*/ 178594 w 778669"/>
                  <a:gd name="connsiteY64" fmla="*/ 778669 h 819150"/>
                  <a:gd name="connsiteX65" fmla="*/ 202407 w 778669"/>
                  <a:gd name="connsiteY65" fmla="*/ 802481 h 819150"/>
                  <a:gd name="connsiteX66" fmla="*/ 211932 w 778669"/>
                  <a:gd name="connsiteY66" fmla="*/ 807244 h 819150"/>
                  <a:gd name="connsiteX67" fmla="*/ 242888 w 778669"/>
                  <a:gd name="connsiteY67" fmla="*/ 752475 h 819150"/>
                  <a:gd name="connsiteX68" fmla="*/ 261938 w 778669"/>
                  <a:gd name="connsiteY68" fmla="*/ 773906 h 819150"/>
                  <a:gd name="connsiteX69" fmla="*/ 328613 w 778669"/>
                  <a:gd name="connsiteY69" fmla="*/ 752475 h 819150"/>
                  <a:gd name="connsiteX70" fmla="*/ 390525 w 778669"/>
                  <a:gd name="connsiteY70" fmla="*/ 819150 h 819150"/>
                  <a:gd name="connsiteX71" fmla="*/ 478632 w 778669"/>
                  <a:gd name="connsiteY71" fmla="*/ 819150 h 819150"/>
                  <a:gd name="connsiteX72" fmla="*/ 514350 w 778669"/>
                  <a:gd name="connsiteY72" fmla="*/ 788194 h 819150"/>
                  <a:gd name="connsiteX73" fmla="*/ 528638 w 778669"/>
                  <a:gd name="connsiteY73" fmla="*/ 804863 h 819150"/>
                  <a:gd name="connsiteX74" fmla="*/ 528638 w 778669"/>
                  <a:gd name="connsiteY74" fmla="*/ 709613 h 819150"/>
                  <a:gd name="connsiteX75" fmla="*/ 547688 w 778669"/>
                  <a:gd name="connsiteY75" fmla="*/ 664369 h 819150"/>
                  <a:gd name="connsiteX76" fmla="*/ 590550 w 778669"/>
                  <a:gd name="connsiteY76" fmla="*/ 661988 h 819150"/>
                  <a:gd name="connsiteX77" fmla="*/ 676275 w 778669"/>
                  <a:gd name="connsiteY77" fmla="*/ 666750 h 8191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778669" h="819150">
                    <a:moveTo>
                      <a:pt x="676275" y="666750"/>
                    </a:moveTo>
                    <a:lnTo>
                      <a:pt x="721519" y="616744"/>
                    </a:lnTo>
                    <a:lnTo>
                      <a:pt x="723900" y="585788"/>
                    </a:lnTo>
                    <a:lnTo>
                      <a:pt x="745332" y="545306"/>
                    </a:lnTo>
                    <a:lnTo>
                      <a:pt x="778669" y="483394"/>
                    </a:lnTo>
                    <a:lnTo>
                      <a:pt x="762000" y="471488"/>
                    </a:lnTo>
                    <a:lnTo>
                      <a:pt x="740569" y="435769"/>
                    </a:lnTo>
                    <a:lnTo>
                      <a:pt x="714375" y="447675"/>
                    </a:lnTo>
                    <a:lnTo>
                      <a:pt x="707232" y="404813"/>
                    </a:lnTo>
                    <a:lnTo>
                      <a:pt x="702469" y="335756"/>
                    </a:lnTo>
                    <a:lnTo>
                      <a:pt x="711994" y="292894"/>
                    </a:lnTo>
                    <a:lnTo>
                      <a:pt x="700088" y="266700"/>
                    </a:lnTo>
                    <a:lnTo>
                      <a:pt x="676275" y="261938"/>
                    </a:lnTo>
                    <a:lnTo>
                      <a:pt x="640557" y="247650"/>
                    </a:lnTo>
                    <a:lnTo>
                      <a:pt x="597694" y="247650"/>
                    </a:lnTo>
                    <a:lnTo>
                      <a:pt x="578644" y="257175"/>
                    </a:lnTo>
                    <a:lnTo>
                      <a:pt x="554832" y="278606"/>
                    </a:lnTo>
                    <a:lnTo>
                      <a:pt x="557213" y="302419"/>
                    </a:lnTo>
                    <a:lnTo>
                      <a:pt x="531019" y="261938"/>
                    </a:lnTo>
                    <a:lnTo>
                      <a:pt x="478632" y="226219"/>
                    </a:lnTo>
                    <a:lnTo>
                      <a:pt x="454819" y="190500"/>
                    </a:lnTo>
                    <a:lnTo>
                      <a:pt x="440532" y="142875"/>
                    </a:lnTo>
                    <a:lnTo>
                      <a:pt x="404813" y="138113"/>
                    </a:lnTo>
                    <a:lnTo>
                      <a:pt x="397669" y="166688"/>
                    </a:lnTo>
                    <a:lnTo>
                      <a:pt x="361950" y="145256"/>
                    </a:lnTo>
                    <a:lnTo>
                      <a:pt x="326232" y="123825"/>
                    </a:lnTo>
                    <a:lnTo>
                      <a:pt x="304800" y="123825"/>
                    </a:lnTo>
                    <a:lnTo>
                      <a:pt x="333375" y="109538"/>
                    </a:lnTo>
                    <a:lnTo>
                      <a:pt x="335757" y="95250"/>
                    </a:lnTo>
                    <a:lnTo>
                      <a:pt x="342900" y="59531"/>
                    </a:lnTo>
                    <a:lnTo>
                      <a:pt x="307182" y="52388"/>
                    </a:lnTo>
                    <a:lnTo>
                      <a:pt x="297657" y="21431"/>
                    </a:lnTo>
                    <a:lnTo>
                      <a:pt x="245269" y="0"/>
                    </a:lnTo>
                    <a:lnTo>
                      <a:pt x="230982" y="26194"/>
                    </a:lnTo>
                    <a:lnTo>
                      <a:pt x="173832" y="40481"/>
                    </a:lnTo>
                    <a:lnTo>
                      <a:pt x="159544" y="40481"/>
                    </a:lnTo>
                    <a:lnTo>
                      <a:pt x="128588" y="40481"/>
                    </a:lnTo>
                    <a:lnTo>
                      <a:pt x="100013" y="47625"/>
                    </a:lnTo>
                    <a:lnTo>
                      <a:pt x="102394" y="69056"/>
                    </a:lnTo>
                    <a:lnTo>
                      <a:pt x="92869" y="116681"/>
                    </a:lnTo>
                    <a:lnTo>
                      <a:pt x="100013" y="147638"/>
                    </a:lnTo>
                    <a:lnTo>
                      <a:pt x="69057" y="159544"/>
                    </a:lnTo>
                    <a:lnTo>
                      <a:pt x="11907" y="169069"/>
                    </a:lnTo>
                    <a:lnTo>
                      <a:pt x="0" y="192881"/>
                    </a:lnTo>
                    <a:lnTo>
                      <a:pt x="14288" y="259556"/>
                    </a:lnTo>
                    <a:lnTo>
                      <a:pt x="38100" y="300038"/>
                    </a:lnTo>
                    <a:lnTo>
                      <a:pt x="69057" y="309563"/>
                    </a:lnTo>
                    <a:lnTo>
                      <a:pt x="45244" y="338138"/>
                    </a:lnTo>
                    <a:lnTo>
                      <a:pt x="54769" y="361950"/>
                    </a:lnTo>
                    <a:lnTo>
                      <a:pt x="90488" y="409575"/>
                    </a:lnTo>
                    <a:lnTo>
                      <a:pt x="107157" y="435769"/>
                    </a:lnTo>
                    <a:lnTo>
                      <a:pt x="85725" y="445294"/>
                    </a:lnTo>
                    <a:lnTo>
                      <a:pt x="150019" y="488156"/>
                    </a:lnTo>
                    <a:lnTo>
                      <a:pt x="164307" y="497681"/>
                    </a:lnTo>
                    <a:lnTo>
                      <a:pt x="164307" y="497681"/>
                    </a:lnTo>
                    <a:lnTo>
                      <a:pt x="192882" y="545306"/>
                    </a:lnTo>
                    <a:lnTo>
                      <a:pt x="238125" y="561975"/>
                    </a:lnTo>
                    <a:lnTo>
                      <a:pt x="235744" y="604838"/>
                    </a:lnTo>
                    <a:lnTo>
                      <a:pt x="185738" y="621506"/>
                    </a:lnTo>
                    <a:lnTo>
                      <a:pt x="178594" y="659606"/>
                    </a:lnTo>
                    <a:lnTo>
                      <a:pt x="183357" y="681038"/>
                    </a:lnTo>
                    <a:lnTo>
                      <a:pt x="133350" y="711994"/>
                    </a:lnTo>
                    <a:lnTo>
                      <a:pt x="161925" y="735806"/>
                    </a:lnTo>
                    <a:lnTo>
                      <a:pt x="164307" y="754856"/>
                    </a:lnTo>
                    <a:lnTo>
                      <a:pt x="178594" y="778669"/>
                    </a:lnTo>
                    <a:lnTo>
                      <a:pt x="202407" y="802481"/>
                    </a:lnTo>
                    <a:lnTo>
                      <a:pt x="211932" y="807244"/>
                    </a:lnTo>
                    <a:lnTo>
                      <a:pt x="242888" y="752475"/>
                    </a:lnTo>
                    <a:lnTo>
                      <a:pt x="261938" y="773906"/>
                    </a:lnTo>
                    <a:lnTo>
                      <a:pt x="328613" y="752475"/>
                    </a:lnTo>
                    <a:lnTo>
                      <a:pt x="390525" y="819150"/>
                    </a:lnTo>
                    <a:lnTo>
                      <a:pt x="478632" y="819150"/>
                    </a:lnTo>
                    <a:lnTo>
                      <a:pt x="514350" y="788194"/>
                    </a:lnTo>
                    <a:lnTo>
                      <a:pt x="528638" y="804863"/>
                    </a:lnTo>
                    <a:lnTo>
                      <a:pt x="528638" y="709613"/>
                    </a:lnTo>
                    <a:lnTo>
                      <a:pt x="547688" y="664369"/>
                    </a:lnTo>
                    <a:lnTo>
                      <a:pt x="590550" y="661988"/>
                    </a:lnTo>
                    <a:lnTo>
                      <a:pt x="676275" y="666750"/>
                    </a:ln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0" name="Figura a mano libera 129"/>
              <p:cNvSpPr/>
              <p:nvPr/>
            </p:nvSpPr>
            <p:spPr bwMode="auto">
              <a:xfrm>
                <a:off x="9820824" y="4166836"/>
                <a:ext cx="1482838" cy="1021748"/>
              </a:xfrm>
              <a:custGeom>
                <a:avLst/>
                <a:gdLst>
                  <a:gd name="connsiteX0" fmla="*/ 1023937 w 1883568"/>
                  <a:gd name="connsiteY0" fmla="*/ 1012031 h 1409700"/>
                  <a:gd name="connsiteX1" fmla="*/ 1100137 w 1883568"/>
                  <a:gd name="connsiteY1" fmla="*/ 945356 h 1409700"/>
                  <a:gd name="connsiteX2" fmla="*/ 1152525 w 1883568"/>
                  <a:gd name="connsiteY2" fmla="*/ 942975 h 1409700"/>
                  <a:gd name="connsiteX3" fmla="*/ 1193006 w 1883568"/>
                  <a:gd name="connsiteY3" fmla="*/ 966787 h 1409700"/>
                  <a:gd name="connsiteX4" fmla="*/ 1202531 w 1883568"/>
                  <a:gd name="connsiteY4" fmla="*/ 985837 h 1409700"/>
                  <a:gd name="connsiteX5" fmla="*/ 1190625 w 1883568"/>
                  <a:gd name="connsiteY5" fmla="*/ 1014412 h 1409700"/>
                  <a:gd name="connsiteX6" fmla="*/ 1264443 w 1883568"/>
                  <a:gd name="connsiteY6" fmla="*/ 1054893 h 1409700"/>
                  <a:gd name="connsiteX7" fmla="*/ 1323975 w 1883568"/>
                  <a:gd name="connsiteY7" fmla="*/ 1069181 h 1409700"/>
                  <a:gd name="connsiteX8" fmla="*/ 1350168 w 1883568"/>
                  <a:gd name="connsiteY8" fmla="*/ 1090612 h 1409700"/>
                  <a:gd name="connsiteX9" fmla="*/ 1385887 w 1883568"/>
                  <a:gd name="connsiteY9" fmla="*/ 1076325 h 1409700"/>
                  <a:gd name="connsiteX10" fmla="*/ 1540668 w 1883568"/>
                  <a:gd name="connsiteY10" fmla="*/ 1081087 h 1409700"/>
                  <a:gd name="connsiteX11" fmla="*/ 1569243 w 1883568"/>
                  <a:gd name="connsiteY11" fmla="*/ 1128712 h 1409700"/>
                  <a:gd name="connsiteX12" fmla="*/ 1612106 w 1883568"/>
                  <a:gd name="connsiteY12" fmla="*/ 1188243 h 1409700"/>
                  <a:gd name="connsiteX13" fmla="*/ 1616868 w 1883568"/>
                  <a:gd name="connsiteY13" fmla="*/ 1219200 h 1409700"/>
                  <a:gd name="connsiteX14" fmla="*/ 1600200 w 1883568"/>
                  <a:gd name="connsiteY14" fmla="*/ 1243012 h 1409700"/>
                  <a:gd name="connsiteX15" fmla="*/ 1626393 w 1883568"/>
                  <a:gd name="connsiteY15" fmla="*/ 1254918 h 1409700"/>
                  <a:gd name="connsiteX16" fmla="*/ 1609725 w 1883568"/>
                  <a:gd name="connsiteY16" fmla="*/ 1283493 h 1409700"/>
                  <a:gd name="connsiteX17" fmla="*/ 1702593 w 1883568"/>
                  <a:gd name="connsiteY17" fmla="*/ 1369218 h 1409700"/>
                  <a:gd name="connsiteX18" fmla="*/ 1721643 w 1883568"/>
                  <a:gd name="connsiteY18" fmla="*/ 1376362 h 1409700"/>
                  <a:gd name="connsiteX19" fmla="*/ 1776412 w 1883568"/>
                  <a:gd name="connsiteY19" fmla="*/ 1390650 h 1409700"/>
                  <a:gd name="connsiteX20" fmla="*/ 1826418 w 1883568"/>
                  <a:gd name="connsiteY20" fmla="*/ 1409700 h 1409700"/>
                  <a:gd name="connsiteX21" fmla="*/ 1826418 w 1883568"/>
                  <a:gd name="connsiteY21" fmla="*/ 1357312 h 1409700"/>
                  <a:gd name="connsiteX22" fmla="*/ 1819275 w 1883568"/>
                  <a:gd name="connsiteY22" fmla="*/ 1319212 h 1409700"/>
                  <a:gd name="connsiteX23" fmla="*/ 1840706 w 1883568"/>
                  <a:gd name="connsiteY23" fmla="*/ 1281112 h 1409700"/>
                  <a:gd name="connsiteX24" fmla="*/ 1843087 w 1883568"/>
                  <a:gd name="connsiteY24" fmla="*/ 1235868 h 1409700"/>
                  <a:gd name="connsiteX25" fmla="*/ 1883568 w 1883568"/>
                  <a:gd name="connsiteY25" fmla="*/ 1188243 h 1409700"/>
                  <a:gd name="connsiteX26" fmla="*/ 1869281 w 1883568"/>
                  <a:gd name="connsiteY26" fmla="*/ 1145381 h 1409700"/>
                  <a:gd name="connsiteX27" fmla="*/ 1843087 w 1883568"/>
                  <a:gd name="connsiteY27" fmla="*/ 1073943 h 1409700"/>
                  <a:gd name="connsiteX28" fmla="*/ 1793081 w 1883568"/>
                  <a:gd name="connsiteY28" fmla="*/ 1031081 h 1409700"/>
                  <a:gd name="connsiteX29" fmla="*/ 1731168 w 1883568"/>
                  <a:gd name="connsiteY29" fmla="*/ 973931 h 1409700"/>
                  <a:gd name="connsiteX30" fmla="*/ 1674018 w 1883568"/>
                  <a:gd name="connsiteY30" fmla="*/ 947737 h 1409700"/>
                  <a:gd name="connsiteX31" fmla="*/ 1609725 w 1883568"/>
                  <a:gd name="connsiteY31" fmla="*/ 888206 h 1409700"/>
                  <a:gd name="connsiteX32" fmla="*/ 1595437 w 1883568"/>
                  <a:gd name="connsiteY32" fmla="*/ 838200 h 1409700"/>
                  <a:gd name="connsiteX33" fmla="*/ 1538287 w 1883568"/>
                  <a:gd name="connsiteY33" fmla="*/ 842962 h 1409700"/>
                  <a:gd name="connsiteX34" fmla="*/ 1552575 w 1883568"/>
                  <a:gd name="connsiteY34" fmla="*/ 814387 h 1409700"/>
                  <a:gd name="connsiteX35" fmla="*/ 1483518 w 1883568"/>
                  <a:gd name="connsiteY35" fmla="*/ 812006 h 1409700"/>
                  <a:gd name="connsiteX36" fmla="*/ 1390650 w 1883568"/>
                  <a:gd name="connsiteY36" fmla="*/ 754856 h 1409700"/>
                  <a:gd name="connsiteX37" fmla="*/ 1352550 w 1883568"/>
                  <a:gd name="connsiteY37" fmla="*/ 762000 h 1409700"/>
                  <a:gd name="connsiteX38" fmla="*/ 1250156 w 1883568"/>
                  <a:gd name="connsiteY38" fmla="*/ 676275 h 1409700"/>
                  <a:gd name="connsiteX39" fmla="*/ 1221581 w 1883568"/>
                  <a:gd name="connsiteY39" fmla="*/ 640556 h 1409700"/>
                  <a:gd name="connsiteX40" fmla="*/ 1071562 w 1883568"/>
                  <a:gd name="connsiteY40" fmla="*/ 566737 h 1409700"/>
                  <a:gd name="connsiteX41" fmla="*/ 971550 w 1883568"/>
                  <a:gd name="connsiteY41" fmla="*/ 528637 h 1409700"/>
                  <a:gd name="connsiteX42" fmla="*/ 845343 w 1883568"/>
                  <a:gd name="connsiteY42" fmla="*/ 483393 h 1409700"/>
                  <a:gd name="connsiteX43" fmla="*/ 719137 w 1883568"/>
                  <a:gd name="connsiteY43" fmla="*/ 433387 h 1409700"/>
                  <a:gd name="connsiteX44" fmla="*/ 631031 w 1883568"/>
                  <a:gd name="connsiteY44" fmla="*/ 373856 h 1409700"/>
                  <a:gd name="connsiteX45" fmla="*/ 507206 w 1883568"/>
                  <a:gd name="connsiteY45" fmla="*/ 304800 h 1409700"/>
                  <a:gd name="connsiteX46" fmla="*/ 476250 w 1883568"/>
                  <a:gd name="connsiteY46" fmla="*/ 238125 h 1409700"/>
                  <a:gd name="connsiteX47" fmla="*/ 547687 w 1883568"/>
                  <a:gd name="connsiteY47" fmla="*/ 197643 h 1409700"/>
                  <a:gd name="connsiteX48" fmla="*/ 652462 w 1883568"/>
                  <a:gd name="connsiteY48" fmla="*/ 121443 h 1409700"/>
                  <a:gd name="connsiteX49" fmla="*/ 645318 w 1883568"/>
                  <a:gd name="connsiteY49" fmla="*/ 52387 h 1409700"/>
                  <a:gd name="connsiteX50" fmla="*/ 623887 w 1883568"/>
                  <a:gd name="connsiteY50" fmla="*/ 19050 h 1409700"/>
                  <a:gd name="connsiteX51" fmla="*/ 554831 w 1883568"/>
                  <a:gd name="connsiteY51" fmla="*/ 0 h 1409700"/>
                  <a:gd name="connsiteX52" fmla="*/ 492918 w 1883568"/>
                  <a:gd name="connsiteY52" fmla="*/ 2381 h 1409700"/>
                  <a:gd name="connsiteX53" fmla="*/ 414337 w 1883568"/>
                  <a:gd name="connsiteY53" fmla="*/ 28575 h 1409700"/>
                  <a:gd name="connsiteX54" fmla="*/ 340518 w 1883568"/>
                  <a:gd name="connsiteY54" fmla="*/ 26193 h 1409700"/>
                  <a:gd name="connsiteX55" fmla="*/ 319087 w 1883568"/>
                  <a:gd name="connsiteY55" fmla="*/ 16668 h 1409700"/>
                  <a:gd name="connsiteX56" fmla="*/ 269081 w 1883568"/>
                  <a:gd name="connsiteY56" fmla="*/ 26193 h 1409700"/>
                  <a:gd name="connsiteX57" fmla="*/ 169068 w 1883568"/>
                  <a:gd name="connsiteY57" fmla="*/ 23812 h 1409700"/>
                  <a:gd name="connsiteX58" fmla="*/ 92868 w 1883568"/>
                  <a:gd name="connsiteY58" fmla="*/ 14287 h 1409700"/>
                  <a:gd name="connsiteX59" fmla="*/ 83343 w 1883568"/>
                  <a:gd name="connsiteY59" fmla="*/ 126206 h 1409700"/>
                  <a:gd name="connsiteX60" fmla="*/ 111918 w 1883568"/>
                  <a:gd name="connsiteY60" fmla="*/ 166687 h 1409700"/>
                  <a:gd name="connsiteX61" fmla="*/ 92868 w 1883568"/>
                  <a:gd name="connsiteY61" fmla="*/ 190500 h 1409700"/>
                  <a:gd name="connsiteX62" fmla="*/ 54768 w 1883568"/>
                  <a:gd name="connsiteY62" fmla="*/ 223837 h 1409700"/>
                  <a:gd name="connsiteX63" fmla="*/ 19050 w 1883568"/>
                  <a:gd name="connsiteY63" fmla="*/ 195262 h 1409700"/>
                  <a:gd name="connsiteX64" fmla="*/ 0 w 1883568"/>
                  <a:gd name="connsiteY64" fmla="*/ 254793 h 1409700"/>
                  <a:gd name="connsiteX65" fmla="*/ 23812 w 1883568"/>
                  <a:gd name="connsiteY65" fmla="*/ 290512 h 1409700"/>
                  <a:gd name="connsiteX66" fmla="*/ 38100 w 1883568"/>
                  <a:gd name="connsiteY66" fmla="*/ 330993 h 1409700"/>
                  <a:gd name="connsiteX67" fmla="*/ 78581 w 1883568"/>
                  <a:gd name="connsiteY67" fmla="*/ 354806 h 1409700"/>
                  <a:gd name="connsiteX68" fmla="*/ 57150 w 1883568"/>
                  <a:gd name="connsiteY68" fmla="*/ 378618 h 1409700"/>
                  <a:gd name="connsiteX69" fmla="*/ 80962 w 1883568"/>
                  <a:gd name="connsiteY69" fmla="*/ 419100 h 1409700"/>
                  <a:gd name="connsiteX70" fmla="*/ 164306 w 1883568"/>
                  <a:gd name="connsiteY70" fmla="*/ 461962 h 1409700"/>
                  <a:gd name="connsiteX71" fmla="*/ 188118 w 1883568"/>
                  <a:gd name="connsiteY71" fmla="*/ 471487 h 1409700"/>
                  <a:gd name="connsiteX72" fmla="*/ 171450 w 1883568"/>
                  <a:gd name="connsiteY72" fmla="*/ 483393 h 1409700"/>
                  <a:gd name="connsiteX73" fmla="*/ 150018 w 1883568"/>
                  <a:gd name="connsiteY73" fmla="*/ 516731 h 1409700"/>
                  <a:gd name="connsiteX74" fmla="*/ 188118 w 1883568"/>
                  <a:gd name="connsiteY74" fmla="*/ 573881 h 1409700"/>
                  <a:gd name="connsiteX75" fmla="*/ 257175 w 1883568"/>
                  <a:gd name="connsiteY75" fmla="*/ 559593 h 1409700"/>
                  <a:gd name="connsiteX76" fmla="*/ 273843 w 1883568"/>
                  <a:gd name="connsiteY76" fmla="*/ 583406 h 1409700"/>
                  <a:gd name="connsiteX77" fmla="*/ 297656 w 1883568"/>
                  <a:gd name="connsiteY77" fmla="*/ 583406 h 1409700"/>
                  <a:gd name="connsiteX78" fmla="*/ 323850 w 1883568"/>
                  <a:gd name="connsiteY78" fmla="*/ 600075 h 1409700"/>
                  <a:gd name="connsiteX79" fmla="*/ 354806 w 1883568"/>
                  <a:gd name="connsiteY79" fmla="*/ 581025 h 1409700"/>
                  <a:gd name="connsiteX80" fmla="*/ 409575 w 1883568"/>
                  <a:gd name="connsiteY80" fmla="*/ 578643 h 1409700"/>
                  <a:gd name="connsiteX81" fmla="*/ 450056 w 1883568"/>
                  <a:gd name="connsiteY81" fmla="*/ 578643 h 1409700"/>
                  <a:gd name="connsiteX82" fmla="*/ 488156 w 1883568"/>
                  <a:gd name="connsiteY82" fmla="*/ 533400 h 1409700"/>
                  <a:gd name="connsiteX83" fmla="*/ 531018 w 1883568"/>
                  <a:gd name="connsiteY83" fmla="*/ 571500 h 1409700"/>
                  <a:gd name="connsiteX84" fmla="*/ 547687 w 1883568"/>
                  <a:gd name="connsiteY84" fmla="*/ 588168 h 1409700"/>
                  <a:gd name="connsiteX85" fmla="*/ 559593 w 1883568"/>
                  <a:gd name="connsiteY85" fmla="*/ 597693 h 1409700"/>
                  <a:gd name="connsiteX86" fmla="*/ 583406 w 1883568"/>
                  <a:gd name="connsiteY86" fmla="*/ 614362 h 1409700"/>
                  <a:gd name="connsiteX87" fmla="*/ 533400 w 1883568"/>
                  <a:gd name="connsiteY87" fmla="*/ 650081 h 1409700"/>
                  <a:gd name="connsiteX88" fmla="*/ 581025 w 1883568"/>
                  <a:gd name="connsiteY88" fmla="*/ 681037 h 1409700"/>
                  <a:gd name="connsiteX89" fmla="*/ 623887 w 1883568"/>
                  <a:gd name="connsiteY89" fmla="*/ 709612 h 1409700"/>
                  <a:gd name="connsiteX90" fmla="*/ 661987 w 1883568"/>
                  <a:gd name="connsiteY90" fmla="*/ 671512 h 1409700"/>
                  <a:gd name="connsiteX91" fmla="*/ 678656 w 1883568"/>
                  <a:gd name="connsiteY91" fmla="*/ 683418 h 1409700"/>
                  <a:gd name="connsiteX92" fmla="*/ 700087 w 1883568"/>
                  <a:gd name="connsiteY92" fmla="*/ 759618 h 1409700"/>
                  <a:gd name="connsiteX93" fmla="*/ 752475 w 1883568"/>
                  <a:gd name="connsiteY93" fmla="*/ 792956 h 1409700"/>
                  <a:gd name="connsiteX94" fmla="*/ 783431 w 1883568"/>
                  <a:gd name="connsiteY94" fmla="*/ 838200 h 1409700"/>
                  <a:gd name="connsiteX95" fmla="*/ 795337 w 1883568"/>
                  <a:gd name="connsiteY95" fmla="*/ 807243 h 1409700"/>
                  <a:gd name="connsiteX96" fmla="*/ 852487 w 1883568"/>
                  <a:gd name="connsiteY96" fmla="*/ 792956 h 1409700"/>
                  <a:gd name="connsiteX97" fmla="*/ 902493 w 1883568"/>
                  <a:gd name="connsiteY97" fmla="*/ 800100 h 1409700"/>
                  <a:gd name="connsiteX98" fmla="*/ 947737 w 1883568"/>
                  <a:gd name="connsiteY98" fmla="*/ 823912 h 1409700"/>
                  <a:gd name="connsiteX99" fmla="*/ 928687 w 1883568"/>
                  <a:gd name="connsiteY99" fmla="*/ 878681 h 1409700"/>
                  <a:gd name="connsiteX100" fmla="*/ 931068 w 1883568"/>
                  <a:gd name="connsiteY100" fmla="*/ 928687 h 1409700"/>
                  <a:gd name="connsiteX101" fmla="*/ 931068 w 1883568"/>
                  <a:gd name="connsiteY101" fmla="*/ 983456 h 1409700"/>
                  <a:gd name="connsiteX102" fmla="*/ 962025 w 1883568"/>
                  <a:gd name="connsiteY102" fmla="*/ 973931 h 1409700"/>
                  <a:gd name="connsiteX103" fmla="*/ 1023937 w 1883568"/>
                  <a:gd name="connsiteY103" fmla="*/ 1012031 h 1409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</a:cxnLst>
                <a:rect l="l" t="t" r="r" b="b"/>
                <a:pathLst>
                  <a:path w="1883568" h="1409700">
                    <a:moveTo>
                      <a:pt x="1023937" y="1012031"/>
                    </a:moveTo>
                    <a:lnTo>
                      <a:pt x="1100137" y="945356"/>
                    </a:lnTo>
                    <a:lnTo>
                      <a:pt x="1152525" y="942975"/>
                    </a:lnTo>
                    <a:lnTo>
                      <a:pt x="1193006" y="966787"/>
                    </a:lnTo>
                    <a:lnTo>
                      <a:pt x="1202531" y="985837"/>
                    </a:lnTo>
                    <a:lnTo>
                      <a:pt x="1190625" y="1014412"/>
                    </a:lnTo>
                    <a:lnTo>
                      <a:pt x="1264443" y="1054893"/>
                    </a:lnTo>
                    <a:lnTo>
                      <a:pt x="1323975" y="1069181"/>
                    </a:lnTo>
                    <a:lnTo>
                      <a:pt x="1350168" y="1090612"/>
                    </a:lnTo>
                    <a:lnTo>
                      <a:pt x="1385887" y="1076325"/>
                    </a:lnTo>
                    <a:lnTo>
                      <a:pt x="1540668" y="1081087"/>
                    </a:lnTo>
                    <a:lnTo>
                      <a:pt x="1569243" y="1128712"/>
                    </a:lnTo>
                    <a:lnTo>
                      <a:pt x="1612106" y="1188243"/>
                    </a:lnTo>
                    <a:lnTo>
                      <a:pt x="1616868" y="1219200"/>
                    </a:lnTo>
                    <a:lnTo>
                      <a:pt x="1600200" y="1243012"/>
                    </a:lnTo>
                    <a:lnTo>
                      <a:pt x="1626393" y="1254918"/>
                    </a:lnTo>
                    <a:lnTo>
                      <a:pt x="1609725" y="1283493"/>
                    </a:lnTo>
                    <a:lnTo>
                      <a:pt x="1702593" y="1369218"/>
                    </a:lnTo>
                    <a:lnTo>
                      <a:pt x="1721643" y="1376362"/>
                    </a:lnTo>
                    <a:lnTo>
                      <a:pt x="1776412" y="1390650"/>
                    </a:lnTo>
                    <a:lnTo>
                      <a:pt x="1826418" y="1409700"/>
                    </a:lnTo>
                    <a:lnTo>
                      <a:pt x="1826418" y="1357312"/>
                    </a:lnTo>
                    <a:lnTo>
                      <a:pt x="1819275" y="1319212"/>
                    </a:lnTo>
                    <a:lnTo>
                      <a:pt x="1840706" y="1281112"/>
                    </a:lnTo>
                    <a:lnTo>
                      <a:pt x="1843087" y="1235868"/>
                    </a:lnTo>
                    <a:lnTo>
                      <a:pt x="1883568" y="1188243"/>
                    </a:lnTo>
                    <a:lnTo>
                      <a:pt x="1869281" y="1145381"/>
                    </a:lnTo>
                    <a:lnTo>
                      <a:pt x="1843087" y="1073943"/>
                    </a:lnTo>
                    <a:lnTo>
                      <a:pt x="1793081" y="1031081"/>
                    </a:lnTo>
                    <a:lnTo>
                      <a:pt x="1731168" y="973931"/>
                    </a:lnTo>
                    <a:lnTo>
                      <a:pt x="1674018" y="947737"/>
                    </a:lnTo>
                    <a:lnTo>
                      <a:pt x="1609725" y="888206"/>
                    </a:lnTo>
                    <a:lnTo>
                      <a:pt x="1595437" y="838200"/>
                    </a:lnTo>
                    <a:lnTo>
                      <a:pt x="1538287" y="842962"/>
                    </a:lnTo>
                    <a:lnTo>
                      <a:pt x="1552575" y="814387"/>
                    </a:lnTo>
                    <a:lnTo>
                      <a:pt x="1483518" y="812006"/>
                    </a:lnTo>
                    <a:lnTo>
                      <a:pt x="1390650" y="754856"/>
                    </a:lnTo>
                    <a:lnTo>
                      <a:pt x="1352550" y="762000"/>
                    </a:lnTo>
                    <a:lnTo>
                      <a:pt x="1250156" y="676275"/>
                    </a:lnTo>
                    <a:lnTo>
                      <a:pt x="1221581" y="640556"/>
                    </a:lnTo>
                    <a:lnTo>
                      <a:pt x="1071562" y="566737"/>
                    </a:lnTo>
                    <a:lnTo>
                      <a:pt x="971550" y="528637"/>
                    </a:lnTo>
                    <a:lnTo>
                      <a:pt x="845343" y="483393"/>
                    </a:lnTo>
                    <a:lnTo>
                      <a:pt x="719137" y="433387"/>
                    </a:lnTo>
                    <a:lnTo>
                      <a:pt x="631031" y="373856"/>
                    </a:lnTo>
                    <a:lnTo>
                      <a:pt x="507206" y="304800"/>
                    </a:lnTo>
                    <a:lnTo>
                      <a:pt x="476250" y="238125"/>
                    </a:lnTo>
                    <a:lnTo>
                      <a:pt x="547687" y="197643"/>
                    </a:lnTo>
                    <a:lnTo>
                      <a:pt x="652462" y="121443"/>
                    </a:lnTo>
                    <a:lnTo>
                      <a:pt x="645318" y="52387"/>
                    </a:lnTo>
                    <a:lnTo>
                      <a:pt x="623887" y="19050"/>
                    </a:lnTo>
                    <a:lnTo>
                      <a:pt x="554831" y="0"/>
                    </a:lnTo>
                    <a:lnTo>
                      <a:pt x="492918" y="2381"/>
                    </a:lnTo>
                    <a:lnTo>
                      <a:pt x="414337" y="28575"/>
                    </a:lnTo>
                    <a:lnTo>
                      <a:pt x="340518" y="26193"/>
                    </a:lnTo>
                    <a:lnTo>
                      <a:pt x="319087" y="16668"/>
                    </a:lnTo>
                    <a:lnTo>
                      <a:pt x="269081" y="26193"/>
                    </a:lnTo>
                    <a:lnTo>
                      <a:pt x="169068" y="23812"/>
                    </a:lnTo>
                    <a:lnTo>
                      <a:pt x="92868" y="14287"/>
                    </a:lnTo>
                    <a:lnTo>
                      <a:pt x="83343" y="126206"/>
                    </a:lnTo>
                    <a:lnTo>
                      <a:pt x="111918" y="166687"/>
                    </a:lnTo>
                    <a:lnTo>
                      <a:pt x="92868" y="190500"/>
                    </a:lnTo>
                    <a:lnTo>
                      <a:pt x="54768" y="223837"/>
                    </a:lnTo>
                    <a:lnTo>
                      <a:pt x="19050" y="195262"/>
                    </a:lnTo>
                    <a:lnTo>
                      <a:pt x="0" y="254793"/>
                    </a:lnTo>
                    <a:lnTo>
                      <a:pt x="23812" y="290512"/>
                    </a:lnTo>
                    <a:lnTo>
                      <a:pt x="38100" y="330993"/>
                    </a:lnTo>
                    <a:lnTo>
                      <a:pt x="78581" y="354806"/>
                    </a:lnTo>
                    <a:lnTo>
                      <a:pt x="57150" y="378618"/>
                    </a:lnTo>
                    <a:lnTo>
                      <a:pt x="80962" y="419100"/>
                    </a:lnTo>
                    <a:lnTo>
                      <a:pt x="164306" y="461962"/>
                    </a:lnTo>
                    <a:lnTo>
                      <a:pt x="188118" y="471487"/>
                    </a:lnTo>
                    <a:lnTo>
                      <a:pt x="171450" y="483393"/>
                    </a:lnTo>
                    <a:lnTo>
                      <a:pt x="150018" y="516731"/>
                    </a:lnTo>
                    <a:lnTo>
                      <a:pt x="188118" y="573881"/>
                    </a:lnTo>
                    <a:lnTo>
                      <a:pt x="257175" y="559593"/>
                    </a:lnTo>
                    <a:lnTo>
                      <a:pt x="273843" y="583406"/>
                    </a:lnTo>
                    <a:lnTo>
                      <a:pt x="297656" y="583406"/>
                    </a:lnTo>
                    <a:lnTo>
                      <a:pt x="323850" y="600075"/>
                    </a:lnTo>
                    <a:lnTo>
                      <a:pt x="354806" y="581025"/>
                    </a:lnTo>
                    <a:lnTo>
                      <a:pt x="409575" y="578643"/>
                    </a:lnTo>
                    <a:lnTo>
                      <a:pt x="450056" y="578643"/>
                    </a:lnTo>
                    <a:lnTo>
                      <a:pt x="488156" y="533400"/>
                    </a:lnTo>
                    <a:lnTo>
                      <a:pt x="531018" y="571500"/>
                    </a:lnTo>
                    <a:lnTo>
                      <a:pt x="547687" y="588168"/>
                    </a:lnTo>
                    <a:lnTo>
                      <a:pt x="559593" y="597693"/>
                    </a:lnTo>
                    <a:lnTo>
                      <a:pt x="583406" y="614362"/>
                    </a:lnTo>
                    <a:lnTo>
                      <a:pt x="533400" y="650081"/>
                    </a:lnTo>
                    <a:lnTo>
                      <a:pt x="581025" y="681037"/>
                    </a:lnTo>
                    <a:lnTo>
                      <a:pt x="623887" y="709612"/>
                    </a:lnTo>
                    <a:lnTo>
                      <a:pt x="661987" y="671512"/>
                    </a:lnTo>
                    <a:lnTo>
                      <a:pt x="678656" y="683418"/>
                    </a:lnTo>
                    <a:lnTo>
                      <a:pt x="700087" y="759618"/>
                    </a:lnTo>
                    <a:lnTo>
                      <a:pt x="752475" y="792956"/>
                    </a:lnTo>
                    <a:lnTo>
                      <a:pt x="783431" y="838200"/>
                    </a:lnTo>
                    <a:lnTo>
                      <a:pt x="795337" y="807243"/>
                    </a:lnTo>
                    <a:lnTo>
                      <a:pt x="852487" y="792956"/>
                    </a:lnTo>
                    <a:lnTo>
                      <a:pt x="902493" y="800100"/>
                    </a:lnTo>
                    <a:lnTo>
                      <a:pt x="947737" y="823912"/>
                    </a:lnTo>
                    <a:lnTo>
                      <a:pt x="928687" y="878681"/>
                    </a:lnTo>
                    <a:lnTo>
                      <a:pt x="931068" y="928687"/>
                    </a:lnTo>
                    <a:lnTo>
                      <a:pt x="931068" y="983456"/>
                    </a:lnTo>
                    <a:lnTo>
                      <a:pt x="962025" y="973931"/>
                    </a:lnTo>
                    <a:lnTo>
                      <a:pt x="1023937" y="1012031"/>
                    </a:ln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1" name="Figura a mano libera 130"/>
              <p:cNvSpPr/>
              <p:nvPr/>
            </p:nvSpPr>
            <p:spPr bwMode="auto">
              <a:xfrm>
                <a:off x="9514866" y="4122323"/>
                <a:ext cx="477819" cy="330165"/>
              </a:xfrm>
              <a:custGeom>
                <a:avLst/>
                <a:gdLst>
                  <a:gd name="connsiteX0" fmla="*/ 571500 w 609600"/>
                  <a:gd name="connsiteY0" fmla="*/ 83344 h 454819"/>
                  <a:gd name="connsiteX1" fmla="*/ 528638 w 609600"/>
                  <a:gd name="connsiteY1" fmla="*/ 47625 h 454819"/>
                  <a:gd name="connsiteX2" fmla="*/ 514350 w 609600"/>
                  <a:gd name="connsiteY2" fmla="*/ 19050 h 454819"/>
                  <a:gd name="connsiteX3" fmla="*/ 457200 w 609600"/>
                  <a:gd name="connsiteY3" fmla="*/ 23812 h 454819"/>
                  <a:gd name="connsiteX4" fmla="*/ 423863 w 609600"/>
                  <a:gd name="connsiteY4" fmla="*/ 0 h 454819"/>
                  <a:gd name="connsiteX5" fmla="*/ 388144 w 609600"/>
                  <a:gd name="connsiteY5" fmla="*/ 45244 h 454819"/>
                  <a:gd name="connsiteX6" fmla="*/ 369094 w 609600"/>
                  <a:gd name="connsiteY6" fmla="*/ 88106 h 454819"/>
                  <a:gd name="connsiteX7" fmla="*/ 342900 w 609600"/>
                  <a:gd name="connsiteY7" fmla="*/ 114300 h 454819"/>
                  <a:gd name="connsiteX8" fmla="*/ 261938 w 609600"/>
                  <a:gd name="connsiteY8" fmla="*/ 207169 h 454819"/>
                  <a:gd name="connsiteX9" fmla="*/ 252413 w 609600"/>
                  <a:gd name="connsiteY9" fmla="*/ 140494 h 454819"/>
                  <a:gd name="connsiteX10" fmla="*/ 252413 w 609600"/>
                  <a:gd name="connsiteY10" fmla="*/ 140494 h 454819"/>
                  <a:gd name="connsiteX11" fmla="*/ 242888 w 609600"/>
                  <a:gd name="connsiteY11" fmla="*/ 126206 h 454819"/>
                  <a:gd name="connsiteX12" fmla="*/ 219075 w 609600"/>
                  <a:gd name="connsiteY12" fmla="*/ 126206 h 454819"/>
                  <a:gd name="connsiteX13" fmla="*/ 195263 w 609600"/>
                  <a:gd name="connsiteY13" fmla="*/ 116681 h 454819"/>
                  <a:gd name="connsiteX14" fmla="*/ 195263 w 609600"/>
                  <a:gd name="connsiteY14" fmla="*/ 128587 h 454819"/>
                  <a:gd name="connsiteX15" fmla="*/ 171450 w 609600"/>
                  <a:gd name="connsiteY15" fmla="*/ 102394 h 454819"/>
                  <a:gd name="connsiteX16" fmla="*/ 147638 w 609600"/>
                  <a:gd name="connsiteY16" fmla="*/ 109537 h 454819"/>
                  <a:gd name="connsiteX17" fmla="*/ 114300 w 609600"/>
                  <a:gd name="connsiteY17" fmla="*/ 142875 h 454819"/>
                  <a:gd name="connsiteX18" fmla="*/ 85725 w 609600"/>
                  <a:gd name="connsiteY18" fmla="*/ 152400 h 454819"/>
                  <a:gd name="connsiteX19" fmla="*/ 109538 w 609600"/>
                  <a:gd name="connsiteY19" fmla="*/ 173831 h 454819"/>
                  <a:gd name="connsiteX20" fmla="*/ 109538 w 609600"/>
                  <a:gd name="connsiteY20" fmla="*/ 173831 h 454819"/>
                  <a:gd name="connsiteX21" fmla="*/ 61913 w 609600"/>
                  <a:gd name="connsiteY21" fmla="*/ 192881 h 454819"/>
                  <a:gd name="connsiteX22" fmla="*/ 35719 w 609600"/>
                  <a:gd name="connsiteY22" fmla="*/ 219075 h 454819"/>
                  <a:gd name="connsiteX23" fmla="*/ 45244 w 609600"/>
                  <a:gd name="connsiteY23" fmla="*/ 242887 h 454819"/>
                  <a:gd name="connsiteX24" fmla="*/ 9525 w 609600"/>
                  <a:gd name="connsiteY24" fmla="*/ 230981 h 454819"/>
                  <a:gd name="connsiteX25" fmla="*/ 9525 w 609600"/>
                  <a:gd name="connsiteY25" fmla="*/ 230981 h 454819"/>
                  <a:gd name="connsiteX26" fmla="*/ 16669 w 609600"/>
                  <a:gd name="connsiteY26" fmla="*/ 297656 h 454819"/>
                  <a:gd name="connsiteX27" fmla="*/ 30957 w 609600"/>
                  <a:gd name="connsiteY27" fmla="*/ 352425 h 454819"/>
                  <a:gd name="connsiteX28" fmla="*/ 0 w 609600"/>
                  <a:gd name="connsiteY28" fmla="*/ 376237 h 454819"/>
                  <a:gd name="connsiteX29" fmla="*/ 35719 w 609600"/>
                  <a:gd name="connsiteY29" fmla="*/ 388144 h 454819"/>
                  <a:gd name="connsiteX30" fmla="*/ 61913 w 609600"/>
                  <a:gd name="connsiteY30" fmla="*/ 400050 h 454819"/>
                  <a:gd name="connsiteX31" fmla="*/ 73819 w 609600"/>
                  <a:gd name="connsiteY31" fmla="*/ 357187 h 454819"/>
                  <a:gd name="connsiteX32" fmla="*/ 145257 w 609600"/>
                  <a:gd name="connsiteY32" fmla="*/ 378619 h 454819"/>
                  <a:gd name="connsiteX33" fmla="*/ 188119 w 609600"/>
                  <a:gd name="connsiteY33" fmla="*/ 404812 h 454819"/>
                  <a:gd name="connsiteX34" fmla="*/ 252413 w 609600"/>
                  <a:gd name="connsiteY34" fmla="*/ 416719 h 454819"/>
                  <a:gd name="connsiteX35" fmla="*/ 292894 w 609600"/>
                  <a:gd name="connsiteY35" fmla="*/ 452437 h 454819"/>
                  <a:gd name="connsiteX36" fmla="*/ 323850 w 609600"/>
                  <a:gd name="connsiteY36" fmla="*/ 454819 h 454819"/>
                  <a:gd name="connsiteX37" fmla="*/ 388144 w 609600"/>
                  <a:gd name="connsiteY37" fmla="*/ 428625 h 454819"/>
                  <a:gd name="connsiteX38" fmla="*/ 411957 w 609600"/>
                  <a:gd name="connsiteY38" fmla="*/ 419100 h 454819"/>
                  <a:gd name="connsiteX39" fmla="*/ 414338 w 609600"/>
                  <a:gd name="connsiteY39" fmla="*/ 404812 h 454819"/>
                  <a:gd name="connsiteX40" fmla="*/ 459582 w 609600"/>
                  <a:gd name="connsiteY40" fmla="*/ 409575 h 454819"/>
                  <a:gd name="connsiteX41" fmla="*/ 528638 w 609600"/>
                  <a:gd name="connsiteY41" fmla="*/ 388144 h 454819"/>
                  <a:gd name="connsiteX42" fmla="*/ 504825 w 609600"/>
                  <a:gd name="connsiteY42" fmla="*/ 311944 h 454819"/>
                  <a:gd name="connsiteX43" fmla="*/ 516732 w 609600"/>
                  <a:gd name="connsiteY43" fmla="*/ 259556 h 454819"/>
                  <a:gd name="connsiteX44" fmla="*/ 552450 w 609600"/>
                  <a:gd name="connsiteY44" fmla="*/ 288131 h 454819"/>
                  <a:gd name="connsiteX45" fmla="*/ 609600 w 609600"/>
                  <a:gd name="connsiteY45" fmla="*/ 233362 h 454819"/>
                  <a:gd name="connsiteX46" fmla="*/ 592932 w 609600"/>
                  <a:gd name="connsiteY46" fmla="*/ 197644 h 454819"/>
                  <a:gd name="connsiteX47" fmla="*/ 571500 w 609600"/>
                  <a:gd name="connsiteY47" fmla="*/ 83344 h 45481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</a:cxnLst>
                <a:rect l="l" t="t" r="r" b="b"/>
                <a:pathLst>
                  <a:path w="609600" h="454819">
                    <a:moveTo>
                      <a:pt x="571500" y="83344"/>
                    </a:moveTo>
                    <a:lnTo>
                      <a:pt x="528638" y="47625"/>
                    </a:lnTo>
                    <a:lnTo>
                      <a:pt x="514350" y="19050"/>
                    </a:lnTo>
                    <a:lnTo>
                      <a:pt x="457200" y="23812"/>
                    </a:lnTo>
                    <a:lnTo>
                      <a:pt x="423863" y="0"/>
                    </a:lnTo>
                    <a:lnTo>
                      <a:pt x="388144" y="45244"/>
                    </a:lnTo>
                    <a:lnTo>
                      <a:pt x="369094" y="88106"/>
                    </a:lnTo>
                    <a:lnTo>
                      <a:pt x="342900" y="114300"/>
                    </a:lnTo>
                    <a:lnTo>
                      <a:pt x="261938" y="207169"/>
                    </a:lnTo>
                    <a:lnTo>
                      <a:pt x="252413" y="140494"/>
                    </a:lnTo>
                    <a:lnTo>
                      <a:pt x="252413" y="140494"/>
                    </a:lnTo>
                    <a:lnTo>
                      <a:pt x="242888" y="126206"/>
                    </a:lnTo>
                    <a:lnTo>
                      <a:pt x="219075" y="126206"/>
                    </a:lnTo>
                    <a:lnTo>
                      <a:pt x="195263" y="116681"/>
                    </a:lnTo>
                    <a:lnTo>
                      <a:pt x="195263" y="128587"/>
                    </a:lnTo>
                    <a:lnTo>
                      <a:pt x="171450" y="102394"/>
                    </a:lnTo>
                    <a:lnTo>
                      <a:pt x="147638" y="109537"/>
                    </a:lnTo>
                    <a:lnTo>
                      <a:pt x="114300" y="142875"/>
                    </a:lnTo>
                    <a:lnTo>
                      <a:pt x="85725" y="152400"/>
                    </a:lnTo>
                    <a:lnTo>
                      <a:pt x="109538" y="173831"/>
                    </a:lnTo>
                    <a:lnTo>
                      <a:pt x="109538" y="173831"/>
                    </a:lnTo>
                    <a:lnTo>
                      <a:pt x="61913" y="192881"/>
                    </a:lnTo>
                    <a:lnTo>
                      <a:pt x="35719" y="219075"/>
                    </a:lnTo>
                    <a:lnTo>
                      <a:pt x="45244" y="242887"/>
                    </a:lnTo>
                    <a:lnTo>
                      <a:pt x="9525" y="230981"/>
                    </a:lnTo>
                    <a:lnTo>
                      <a:pt x="9525" y="230981"/>
                    </a:lnTo>
                    <a:lnTo>
                      <a:pt x="16669" y="297656"/>
                    </a:lnTo>
                    <a:lnTo>
                      <a:pt x="30957" y="352425"/>
                    </a:lnTo>
                    <a:lnTo>
                      <a:pt x="0" y="376237"/>
                    </a:lnTo>
                    <a:lnTo>
                      <a:pt x="35719" y="388144"/>
                    </a:lnTo>
                    <a:lnTo>
                      <a:pt x="61913" y="400050"/>
                    </a:lnTo>
                    <a:lnTo>
                      <a:pt x="73819" y="357187"/>
                    </a:lnTo>
                    <a:lnTo>
                      <a:pt x="145257" y="378619"/>
                    </a:lnTo>
                    <a:lnTo>
                      <a:pt x="188119" y="404812"/>
                    </a:lnTo>
                    <a:lnTo>
                      <a:pt x="252413" y="416719"/>
                    </a:lnTo>
                    <a:lnTo>
                      <a:pt x="292894" y="452437"/>
                    </a:lnTo>
                    <a:lnTo>
                      <a:pt x="323850" y="454819"/>
                    </a:lnTo>
                    <a:lnTo>
                      <a:pt x="388144" y="428625"/>
                    </a:lnTo>
                    <a:lnTo>
                      <a:pt x="411957" y="419100"/>
                    </a:lnTo>
                    <a:lnTo>
                      <a:pt x="414338" y="404812"/>
                    </a:lnTo>
                    <a:lnTo>
                      <a:pt x="459582" y="409575"/>
                    </a:lnTo>
                    <a:lnTo>
                      <a:pt x="528638" y="388144"/>
                    </a:lnTo>
                    <a:lnTo>
                      <a:pt x="504825" y="311944"/>
                    </a:lnTo>
                    <a:lnTo>
                      <a:pt x="516732" y="259556"/>
                    </a:lnTo>
                    <a:lnTo>
                      <a:pt x="552450" y="288131"/>
                    </a:lnTo>
                    <a:lnTo>
                      <a:pt x="609600" y="233362"/>
                    </a:lnTo>
                    <a:lnTo>
                      <a:pt x="592932" y="197644"/>
                    </a:lnTo>
                    <a:cubicBezTo>
                      <a:pt x="593726" y="168275"/>
                      <a:pt x="594519" y="138906"/>
                      <a:pt x="571500" y="83344"/>
                    </a:cubicBez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2" name="Figura a mano libera 131"/>
              <p:cNvSpPr/>
              <p:nvPr/>
            </p:nvSpPr>
            <p:spPr bwMode="auto">
              <a:xfrm>
                <a:off x="9132900" y="3720146"/>
                <a:ext cx="717456" cy="589679"/>
              </a:xfrm>
              <a:custGeom>
                <a:avLst/>
                <a:gdLst>
                  <a:gd name="connsiteX0" fmla="*/ 464344 w 912019"/>
                  <a:gd name="connsiteY0" fmla="*/ 0 h 812006"/>
                  <a:gd name="connsiteX1" fmla="*/ 369094 w 912019"/>
                  <a:gd name="connsiteY1" fmla="*/ 21431 h 812006"/>
                  <a:gd name="connsiteX2" fmla="*/ 352425 w 912019"/>
                  <a:gd name="connsiteY2" fmla="*/ 42862 h 812006"/>
                  <a:gd name="connsiteX3" fmla="*/ 330994 w 912019"/>
                  <a:gd name="connsiteY3" fmla="*/ 61912 h 812006"/>
                  <a:gd name="connsiteX4" fmla="*/ 314325 w 912019"/>
                  <a:gd name="connsiteY4" fmla="*/ 57150 h 812006"/>
                  <a:gd name="connsiteX5" fmla="*/ 278607 w 912019"/>
                  <a:gd name="connsiteY5" fmla="*/ 57150 h 812006"/>
                  <a:gd name="connsiteX6" fmla="*/ 264319 w 912019"/>
                  <a:gd name="connsiteY6" fmla="*/ 90487 h 812006"/>
                  <a:gd name="connsiteX7" fmla="*/ 257175 w 912019"/>
                  <a:gd name="connsiteY7" fmla="*/ 102393 h 812006"/>
                  <a:gd name="connsiteX8" fmla="*/ 185738 w 912019"/>
                  <a:gd name="connsiteY8" fmla="*/ 138112 h 812006"/>
                  <a:gd name="connsiteX9" fmla="*/ 202407 w 912019"/>
                  <a:gd name="connsiteY9" fmla="*/ 150018 h 812006"/>
                  <a:gd name="connsiteX10" fmla="*/ 207169 w 912019"/>
                  <a:gd name="connsiteY10" fmla="*/ 171450 h 812006"/>
                  <a:gd name="connsiteX11" fmla="*/ 197644 w 912019"/>
                  <a:gd name="connsiteY11" fmla="*/ 197643 h 812006"/>
                  <a:gd name="connsiteX12" fmla="*/ 159544 w 912019"/>
                  <a:gd name="connsiteY12" fmla="*/ 207168 h 812006"/>
                  <a:gd name="connsiteX13" fmla="*/ 102394 w 912019"/>
                  <a:gd name="connsiteY13" fmla="*/ 190500 h 812006"/>
                  <a:gd name="connsiteX14" fmla="*/ 83344 w 912019"/>
                  <a:gd name="connsiteY14" fmla="*/ 221456 h 812006"/>
                  <a:gd name="connsiteX15" fmla="*/ 90488 w 912019"/>
                  <a:gd name="connsiteY15" fmla="*/ 264318 h 812006"/>
                  <a:gd name="connsiteX16" fmla="*/ 73819 w 912019"/>
                  <a:gd name="connsiteY16" fmla="*/ 278606 h 812006"/>
                  <a:gd name="connsiteX17" fmla="*/ 50007 w 912019"/>
                  <a:gd name="connsiteY17" fmla="*/ 295275 h 812006"/>
                  <a:gd name="connsiteX18" fmla="*/ 85725 w 912019"/>
                  <a:gd name="connsiteY18" fmla="*/ 335756 h 812006"/>
                  <a:gd name="connsiteX19" fmla="*/ 97632 w 912019"/>
                  <a:gd name="connsiteY19" fmla="*/ 371475 h 812006"/>
                  <a:gd name="connsiteX20" fmla="*/ 121444 w 912019"/>
                  <a:gd name="connsiteY20" fmla="*/ 404812 h 812006"/>
                  <a:gd name="connsiteX21" fmla="*/ 154782 w 912019"/>
                  <a:gd name="connsiteY21" fmla="*/ 440531 h 812006"/>
                  <a:gd name="connsiteX22" fmla="*/ 176213 w 912019"/>
                  <a:gd name="connsiteY22" fmla="*/ 454818 h 812006"/>
                  <a:gd name="connsiteX23" fmla="*/ 178594 w 912019"/>
                  <a:gd name="connsiteY23" fmla="*/ 478631 h 812006"/>
                  <a:gd name="connsiteX24" fmla="*/ 159544 w 912019"/>
                  <a:gd name="connsiteY24" fmla="*/ 502443 h 812006"/>
                  <a:gd name="connsiteX25" fmla="*/ 135732 w 912019"/>
                  <a:gd name="connsiteY25" fmla="*/ 502443 h 812006"/>
                  <a:gd name="connsiteX26" fmla="*/ 114300 w 912019"/>
                  <a:gd name="connsiteY26" fmla="*/ 502443 h 812006"/>
                  <a:gd name="connsiteX27" fmla="*/ 97632 w 912019"/>
                  <a:gd name="connsiteY27" fmla="*/ 492918 h 812006"/>
                  <a:gd name="connsiteX28" fmla="*/ 33338 w 912019"/>
                  <a:gd name="connsiteY28" fmla="*/ 461962 h 812006"/>
                  <a:gd name="connsiteX29" fmla="*/ 30957 w 912019"/>
                  <a:gd name="connsiteY29" fmla="*/ 492918 h 812006"/>
                  <a:gd name="connsiteX30" fmla="*/ 11907 w 912019"/>
                  <a:gd name="connsiteY30" fmla="*/ 500062 h 812006"/>
                  <a:gd name="connsiteX31" fmla="*/ 0 w 912019"/>
                  <a:gd name="connsiteY31" fmla="*/ 528637 h 812006"/>
                  <a:gd name="connsiteX32" fmla="*/ 11907 w 912019"/>
                  <a:gd name="connsiteY32" fmla="*/ 569118 h 812006"/>
                  <a:gd name="connsiteX33" fmla="*/ 102394 w 912019"/>
                  <a:gd name="connsiteY33" fmla="*/ 595312 h 812006"/>
                  <a:gd name="connsiteX34" fmla="*/ 180975 w 912019"/>
                  <a:gd name="connsiteY34" fmla="*/ 640556 h 812006"/>
                  <a:gd name="connsiteX35" fmla="*/ 192882 w 912019"/>
                  <a:gd name="connsiteY35" fmla="*/ 714375 h 812006"/>
                  <a:gd name="connsiteX36" fmla="*/ 221457 w 912019"/>
                  <a:gd name="connsiteY36" fmla="*/ 700087 h 812006"/>
                  <a:gd name="connsiteX37" fmla="*/ 269082 w 912019"/>
                  <a:gd name="connsiteY37" fmla="*/ 742950 h 812006"/>
                  <a:gd name="connsiteX38" fmla="*/ 302419 w 912019"/>
                  <a:gd name="connsiteY38" fmla="*/ 735806 h 812006"/>
                  <a:gd name="connsiteX39" fmla="*/ 347663 w 912019"/>
                  <a:gd name="connsiteY39" fmla="*/ 709612 h 812006"/>
                  <a:gd name="connsiteX40" fmla="*/ 366713 w 912019"/>
                  <a:gd name="connsiteY40" fmla="*/ 728662 h 812006"/>
                  <a:gd name="connsiteX41" fmla="*/ 402432 w 912019"/>
                  <a:gd name="connsiteY41" fmla="*/ 762000 h 812006"/>
                  <a:gd name="connsiteX42" fmla="*/ 402432 w 912019"/>
                  <a:gd name="connsiteY42" fmla="*/ 762000 h 812006"/>
                  <a:gd name="connsiteX43" fmla="*/ 459582 w 912019"/>
                  <a:gd name="connsiteY43" fmla="*/ 785812 h 812006"/>
                  <a:gd name="connsiteX44" fmla="*/ 478632 w 912019"/>
                  <a:gd name="connsiteY44" fmla="*/ 812006 h 812006"/>
                  <a:gd name="connsiteX45" fmla="*/ 478632 w 912019"/>
                  <a:gd name="connsiteY45" fmla="*/ 812006 h 812006"/>
                  <a:gd name="connsiteX46" fmla="*/ 478632 w 912019"/>
                  <a:gd name="connsiteY46" fmla="*/ 783431 h 812006"/>
                  <a:gd name="connsiteX47" fmla="*/ 533400 w 912019"/>
                  <a:gd name="connsiteY47" fmla="*/ 800100 h 812006"/>
                  <a:gd name="connsiteX48" fmla="*/ 545307 w 912019"/>
                  <a:gd name="connsiteY48" fmla="*/ 735806 h 812006"/>
                  <a:gd name="connsiteX49" fmla="*/ 590550 w 912019"/>
                  <a:gd name="connsiteY49" fmla="*/ 733425 h 812006"/>
                  <a:gd name="connsiteX50" fmla="*/ 578644 w 912019"/>
                  <a:gd name="connsiteY50" fmla="*/ 707231 h 812006"/>
                  <a:gd name="connsiteX51" fmla="*/ 657225 w 912019"/>
                  <a:gd name="connsiteY51" fmla="*/ 652462 h 812006"/>
                  <a:gd name="connsiteX52" fmla="*/ 669132 w 912019"/>
                  <a:gd name="connsiteY52" fmla="*/ 683418 h 812006"/>
                  <a:gd name="connsiteX53" fmla="*/ 726282 w 912019"/>
                  <a:gd name="connsiteY53" fmla="*/ 681037 h 812006"/>
                  <a:gd name="connsiteX54" fmla="*/ 740569 w 912019"/>
                  <a:gd name="connsiteY54" fmla="*/ 685800 h 812006"/>
                  <a:gd name="connsiteX55" fmla="*/ 745332 w 912019"/>
                  <a:gd name="connsiteY55" fmla="*/ 754856 h 812006"/>
                  <a:gd name="connsiteX56" fmla="*/ 850107 w 912019"/>
                  <a:gd name="connsiteY56" fmla="*/ 640556 h 812006"/>
                  <a:gd name="connsiteX57" fmla="*/ 912019 w 912019"/>
                  <a:gd name="connsiteY57" fmla="*/ 547687 h 812006"/>
                  <a:gd name="connsiteX58" fmla="*/ 876300 w 912019"/>
                  <a:gd name="connsiteY58" fmla="*/ 542925 h 812006"/>
                  <a:gd name="connsiteX59" fmla="*/ 866775 w 912019"/>
                  <a:gd name="connsiteY59" fmla="*/ 481012 h 812006"/>
                  <a:gd name="connsiteX60" fmla="*/ 831057 w 912019"/>
                  <a:gd name="connsiteY60" fmla="*/ 457200 h 812006"/>
                  <a:gd name="connsiteX61" fmla="*/ 781050 w 912019"/>
                  <a:gd name="connsiteY61" fmla="*/ 457200 h 812006"/>
                  <a:gd name="connsiteX62" fmla="*/ 721519 w 912019"/>
                  <a:gd name="connsiteY62" fmla="*/ 395287 h 812006"/>
                  <a:gd name="connsiteX63" fmla="*/ 711994 w 912019"/>
                  <a:gd name="connsiteY63" fmla="*/ 345281 h 812006"/>
                  <a:gd name="connsiteX64" fmla="*/ 645319 w 912019"/>
                  <a:gd name="connsiteY64" fmla="*/ 314325 h 812006"/>
                  <a:gd name="connsiteX65" fmla="*/ 611982 w 912019"/>
                  <a:gd name="connsiteY65" fmla="*/ 288131 h 812006"/>
                  <a:gd name="connsiteX66" fmla="*/ 540544 w 912019"/>
                  <a:gd name="connsiteY66" fmla="*/ 188118 h 812006"/>
                  <a:gd name="connsiteX67" fmla="*/ 490538 w 912019"/>
                  <a:gd name="connsiteY67" fmla="*/ 100012 h 812006"/>
                  <a:gd name="connsiteX68" fmla="*/ 464344 w 912019"/>
                  <a:gd name="connsiteY68" fmla="*/ 0 h 8120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</a:cxnLst>
                <a:rect l="l" t="t" r="r" b="b"/>
                <a:pathLst>
                  <a:path w="912019" h="812006">
                    <a:moveTo>
                      <a:pt x="464344" y="0"/>
                    </a:moveTo>
                    <a:lnTo>
                      <a:pt x="369094" y="21431"/>
                    </a:lnTo>
                    <a:lnTo>
                      <a:pt x="352425" y="42862"/>
                    </a:lnTo>
                    <a:lnTo>
                      <a:pt x="330994" y="61912"/>
                    </a:lnTo>
                    <a:lnTo>
                      <a:pt x="314325" y="57150"/>
                    </a:lnTo>
                    <a:lnTo>
                      <a:pt x="278607" y="57150"/>
                    </a:lnTo>
                    <a:lnTo>
                      <a:pt x="264319" y="90487"/>
                    </a:lnTo>
                    <a:lnTo>
                      <a:pt x="257175" y="102393"/>
                    </a:lnTo>
                    <a:lnTo>
                      <a:pt x="185738" y="138112"/>
                    </a:lnTo>
                    <a:lnTo>
                      <a:pt x="202407" y="150018"/>
                    </a:lnTo>
                    <a:lnTo>
                      <a:pt x="207169" y="171450"/>
                    </a:lnTo>
                    <a:lnTo>
                      <a:pt x="197644" y="197643"/>
                    </a:lnTo>
                    <a:lnTo>
                      <a:pt x="159544" y="207168"/>
                    </a:lnTo>
                    <a:lnTo>
                      <a:pt x="102394" y="190500"/>
                    </a:lnTo>
                    <a:lnTo>
                      <a:pt x="83344" y="221456"/>
                    </a:lnTo>
                    <a:lnTo>
                      <a:pt x="90488" y="264318"/>
                    </a:lnTo>
                    <a:lnTo>
                      <a:pt x="73819" y="278606"/>
                    </a:lnTo>
                    <a:lnTo>
                      <a:pt x="50007" y="295275"/>
                    </a:lnTo>
                    <a:lnTo>
                      <a:pt x="85725" y="335756"/>
                    </a:lnTo>
                    <a:lnTo>
                      <a:pt x="97632" y="371475"/>
                    </a:lnTo>
                    <a:lnTo>
                      <a:pt x="121444" y="404812"/>
                    </a:lnTo>
                    <a:lnTo>
                      <a:pt x="154782" y="440531"/>
                    </a:lnTo>
                    <a:lnTo>
                      <a:pt x="176213" y="454818"/>
                    </a:lnTo>
                    <a:lnTo>
                      <a:pt x="178594" y="478631"/>
                    </a:lnTo>
                    <a:lnTo>
                      <a:pt x="159544" y="502443"/>
                    </a:lnTo>
                    <a:lnTo>
                      <a:pt x="135732" y="502443"/>
                    </a:lnTo>
                    <a:lnTo>
                      <a:pt x="114300" y="502443"/>
                    </a:lnTo>
                    <a:lnTo>
                      <a:pt x="97632" y="492918"/>
                    </a:lnTo>
                    <a:lnTo>
                      <a:pt x="33338" y="461962"/>
                    </a:lnTo>
                    <a:lnTo>
                      <a:pt x="30957" y="492918"/>
                    </a:lnTo>
                    <a:lnTo>
                      <a:pt x="11907" y="500062"/>
                    </a:lnTo>
                    <a:lnTo>
                      <a:pt x="0" y="528637"/>
                    </a:lnTo>
                    <a:lnTo>
                      <a:pt x="11907" y="569118"/>
                    </a:lnTo>
                    <a:lnTo>
                      <a:pt x="102394" y="595312"/>
                    </a:lnTo>
                    <a:lnTo>
                      <a:pt x="180975" y="640556"/>
                    </a:lnTo>
                    <a:lnTo>
                      <a:pt x="192882" y="714375"/>
                    </a:lnTo>
                    <a:lnTo>
                      <a:pt x="221457" y="700087"/>
                    </a:lnTo>
                    <a:lnTo>
                      <a:pt x="269082" y="742950"/>
                    </a:lnTo>
                    <a:lnTo>
                      <a:pt x="302419" y="735806"/>
                    </a:lnTo>
                    <a:lnTo>
                      <a:pt x="347663" y="709612"/>
                    </a:lnTo>
                    <a:lnTo>
                      <a:pt x="366713" y="728662"/>
                    </a:lnTo>
                    <a:lnTo>
                      <a:pt x="402432" y="762000"/>
                    </a:lnTo>
                    <a:lnTo>
                      <a:pt x="402432" y="762000"/>
                    </a:lnTo>
                    <a:lnTo>
                      <a:pt x="459582" y="785812"/>
                    </a:lnTo>
                    <a:lnTo>
                      <a:pt x="478632" y="812006"/>
                    </a:lnTo>
                    <a:lnTo>
                      <a:pt x="478632" y="812006"/>
                    </a:lnTo>
                    <a:lnTo>
                      <a:pt x="478632" y="783431"/>
                    </a:lnTo>
                    <a:lnTo>
                      <a:pt x="533400" y="800100"/>
                    </a:lnTo>
                    <a:lnTo>
                      <a:pt x="545307" y="735806"/>
                    </a:lnTo>
                    <a:lnTo>
                      <a:pt x="590550" y="733425"/>
                    </a:lnTo>
                    <a:lnTo>
                      <a:pt x="578644" y="707231"/>
                    </a:lnTo>
                    <a:lnTo>
                      <a:pt x="657225" y="652462"/>
                    </a:lnTo>
                    <a:lnTo>
                      <a:pt x="669132" y="683418"/>
                    </a:lnTo>
                    <a:lnTo>
                      <a:pt x="726282" y="681037"/>
                    </a:lnTo>
                    <a:lnTo>
                      <a:pt x="740569" y="685800"/>
                    </a:lnTo>
                    <a:lnTo>
                      <a:pt x="745332" y="754856"/>
                    </a:lnTo>
                    <a:lnTo>
                      <a:pt x="850107" y="640556"/>
                    </a:lnTo>
                    <a:lnTo>
                      <a:pt x="912019" y="547687"/>
                    </a:lnTo>
                    <a:lnTo>
                      <a:pt x="876300" y="542925"/>
                    </a:lnTo>
                    <a:lnTo>
                      <a:pt x="866775" y="481012"/>
                    </a:lnTo>
                    <a:lnTo>
                      <a:pt x="831057" y="457200"/>
                    </a:lnTo>
                    <a:lnTo>
                      <a:pt x="781050" y="457200"/>
                    </a:lnTo>
                    <a:lnTo>
                      <a:pt x="721519" y="395287"/>
                    </a:lnTo>
                    <a:lnTo>
                      <a:pt x="711994" y="345281"/>
                    </a:lnTo>
                    <a:lnTo>
                      <a:pt x="645319" y="314325"/>
                    </a:lnTo>
                    <a:lnTo>
                      <a:pt x="611982" y="288131"/>
                    </a:lnTo>
                    <a:lnTo>
                      <a:pt x="540544" y="188118"/>
                    </a:lnTo>
                    <a:lnTo>
                      <a:pt x="490538" y="100012"/>
                    </a:lnTo>
                    <a:lnTo>
                      <a:pt x="464344" y="0"/>
                    </a:ln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3" name="Figura a mano libera 132"/>
              <p:cNvSpPr/>
              <p:nvPr/>
            </p:nvSpPr>
            <p:spPr bwMode="auto">
              <a:xfrm>
                <a:off x="6993604" y="2808453"/>
                <a:ext cx="978877" cy="395385"/>
              </a:xfrm>
              <a:custGeom>
                <a:avLst/>
                <a:gdLst>
                  <a:gd name="connsiteX0" fmla="*/ 1176337 w 1245394"/>
                  <a:gd name="connsiteY0" fmla="*/ 335756 h 545306"/>
                  <a:gd name="connsiteX1" fmla="*/ 1228725 w 1245394"/>
                  <a:gd name="connsiteY1" fmla="*/ 335756 h 545306"/>
                  <a:gd name="connsiteX2" fmla="*/ 1245394 w 1245394"/>
                  <a:gd name="connsiteY2" fmla="*/ 378618 h 545306"/>
                  <a:gd name="connsiteX3" fmla="*/ 1204912 w 1245394"/>
                  <a:gd name="connsiteY3" fmla="*/ 381000 h 545306"/>
                  <a:gd name="connsiteX4" fmla="*/ 1190625 w 1245394"/>
                  <a:gd name="connsiteY4" fmla="*/ 409575 h 545306"/>
                  <a:gd name="connsiteX5" fmla="*/ 1176337 w 1245394"/>
                  <a:gd name="connsiteY5" fmla="*/ 390525 h 545306"/>
                  <a:gd name="connsiteX6" fmla="*/ 1162050 w 1245394"/>
                  <a:gd name="connsiteY6" fmla="*/ 407193 h 545306"/>
                  <a:gd name="connsiteX7" fmla="*/ 1173956 w 1245394"/>
                  <a:gd name="connsiteY7" fmla="*/ 438150 h 545306"/>
                  <a:gd name="connsiteX8" fmla="*/ 1173956 w 1245394"/>
                  <a:gd name="connsiteY8" fmla="*/ 438150 h 545306"/>
                  <a:gd name="connsiteX9" fmla="*/ 1073944 w 1245394"/>
                  <a:gd name="connsiteY9" fmla="*/ 352425 h 545306"/>
                  <a:gd name="connsiteX10" fmla="*/ 1014412 w 1245394"/>
                  <a:gd name="connsiteY10" fmla="*/ 307181 h 545306"/>
                  <a:gd name="connsiteX11" fmla="*/ 978694 w 1245394"/>
                  <a:gd name="connsiteY11" fmla="*/ 273843 h 545306"/>
                  <a:gd name="connsiteX12" fmla="*/ 947737 w 1245394"/>
                  <a:gd name="connsiteY12" fmla="*/ 245268 h 545306"/>
                  <a:gd name="connsiteX13" fmla="*/ 885825 w 1245394"/>
                  <a:gd name="connsiteY13" fmla="*/ 219075 h 545306"/>
                  <a:gd name="connsiteX14" fmla="*/ 869156 w 1245394"/>
                  <a:gd name="connsiteY14" fmla="*/ 223837 h 545306"/>
                  <a:gd name="connsiteX15" fmla="*/ 859631 w 1245394"/>
                  <a:gd name="connsiteY15" fmla="*/ 240506 h 545306"/>
                  <a:gd name="connsiteX16" fmla="*/ 845344 w 1245394"/>
                  <a:gd name="connsiteY16" fmla="*/ 226218 h 545306"/>
                  <a:gd name="connsiteX17" fmla="*/ 828675 w 1245394"/>
                  <a:gd name="connsiteY17" fmla="*/ 204787 h 545306"/>
                  <a:gd name="connsiteX18" fmla="*/ 788194 w 1245394"/>
                  <a:gd name="connsiteY18" fmla="*/ 192881 h 545306"/>
                  <a:gd name="connsiteX19" fmla="*/ 707231 w 1245394"/>
                  <a:gd name="connsiteY19" fmla="*/ 164306 h 545306"/>
                  <a:gd name="connsiteX20" fmla="*/ 671512 w 1245394"/>
                  <a:gd name="connsiteY20" fmla="*/ 150018 h 545306"/>
                  <a:gd name="connsiteX21" fmla="*/ 614362 w 1245394"/>
                  <a:gd name="connsiteY21" fmla="*/ 171450 h 545306"/>
                  <a:gd name="connsiteX22" fmla="*/ 550069 w 1245394"/>
                  <a:gd name="connsiteY22" fmla="*/ 200025 h 545306"/>
                  <a:gd name="connsiteX23" fmla="*/ 483394 w 1245394"/>
                  <a:gd name="connsiteY23" fmla="*/ 235743 h 545306"/>
                  <a:gd name="connsiteX24" fmla="*/ 466725 w 1245394"/>
                  <a:gd name="connsiteY24" fmla="*/ 280987 h 545306"/>
                  <a:gd name="connsiteX25" fmla="*/ 445294 w 1245394"/>
                  <a:gd name="connsiteY25" fmla="*/ 314325 h 545306"/>
                  <a:gd name="connsiteX26" fmla="*/ 388144 w 1245394"/>
                  <a:gd name="connsiteY26" fmla="*/ 326231 h 545306"/>
                  <a:gd name="connsiteX27" fmla="*/ 364331 w 1245394"/>
                  <a:gd name="connsiteY27" fmla="*/ 369093 h 545306"/>
                  <a:gd name="connsiteX28" fmla="*/ 369094 w 1245394"/>
                  <a:gd name="connsiteY28" fmla="*/ 388143 h 545306"/>
                  <a:gd name="connsiteX29" fmla="*/ 342900 w 1245394"/>
                  <a:gd name="connsiteY29" fmla="*/ 411956 h 545306"/>
                  <a:gd name="connsiteX30" fmla="*/ 321469 w 1245394"/>
                  <a:gd name="connsiteY30" fmla="*/ 442912 h 545306"/>
                  <a:gd name="connsiteX31" fmla="*/ 311944 w 1245394"/>
                  <a:gd name="connsiteY31" fmla="*/ 478631 h 545306"/>
                  <a:gd name="connsiteX32" fmla="*/ 273844 w 1245394"/>
                  <a:gd name="connsiteY32" fmla="*/ 478631 h 545306"/>
                  <a:gd name="connsiteX33" fmla="*/ 235744 w 1245394"/>
                  <a:gd name="connsiteY33" fmla="*/ 502443 h 545306"/>
                  <a:gd name="connsiteX34" fmla="*/ 159544 w 1245394"/>
                  <a:gd name="connsiteY34" fmla="*/ 504825 h 545306"/>
                  <a:gd name="connsiteX35" fmla="*/ 126206 w 1245394"/>
                  <a:gd name="connsiteY35" fmla="*/ 521493 h 545306"/>
                  <a:gd name="connsiteX36" fmla="*/ 95250 w 1245394"/>
                  <a:gd name="connsiteY36" fmla="*/ 540543 h 545306"/>
                  <a:gd name="connsiteX37" fmla="*/ 64294 w 1245394"/>
                  <a:gd name="connsiteY37" fmla="*/ 542925 h 545306"/>
                  <a:gd name="connsiteX38" fmla="*/ 50006 w 1245394"/>
                  <a:gd name="connsiteY38" fmla="*/ 528637 h 545306"/>
                  <a:gd name="connsiteX39" fmla="*/ 28575 w 1245394"/>
                  <a:gd name="connsiteY39" fmla="*/ 545306 h 545306"/>
                  <a:gd name="connsiteX40" fmla="*/ 0 w 1245394"/>
                  <a:gd name="connsiteY40" fmla="*/ 545306 h 545306"/>
                  <a:gd name="connsiteX41" fmla="*/ 2381 w 1245394"/>
                  <a:gd name="connsiteY41" fmla="*/ 471487 h 545306"/>
                  <a:gd name="connsiteX42" fmla="*/ 35719 w 1245394"/>
                  <a:gd name="connsiteY42" fmla="*/ 454818 h 545306"/>
                  <a:gd name="connsiteX43" fmla="*/ 100012 w 1245394"/>
                  <a:gd name="connsiteY43" fmla="*/ 381000 h 545306"/>
                  <a:gd name="connsiteX44" fmla="*/ 130969 w 1245394"/>
                  <a:gd name="connsiteY44" fmla="*/ 340518 h 545306"/>
                  <a:gd name="connsiteX45" fmla="*/ 154781 w 1245394"/>
                  <a:gd name="connsiteY45" fmla="*/ 307181 h 545306"/>
                  <a:gd name="connsiteX46" fmla="*/ 219075 w 1245394"/>
                  <a:gd name="connsiteY46" fmla="*/ 338137 h 545306"/>
                  <a:gd name="connsiteX47" fmla="*/ 261937 w 1245394"/>
                  <a:gd name="connsiteY47" fmla="*/ 335756 h 545306"/>
                  <a:gd name="connsiteX48" fmla="*/ 283369 w 1245394"/>
                  <a:gd name="connsiteY48" fmla="*/ 302418 h 545306"/>
                  <a:gd name="connsiteX49" fmla="*/ 314325 w 1245394"/>
                  <a:gd name="connsiteY49" fmla="*/ 319087 h 545306"/>
                  <a:gd name="connsiteX50" fmla="*/ 316706 w 1245394"/>
                  <a:gd name="connsiteY50" fmla="*/ 273843 h 545306"/>
                  <a:gd name="connsiteX51" fmla="*/ 328612 w 1245394"/>
                  <a:gd name="connsiteY51" fmla="*/ 178593 h 545306"/>
                  <a:gd name="connsiteX52" fmla="*/ 354806 w 1245394"/>
                  <a:gd name="connsiteY52" fmla="*/ 157162 h 545306"/>
                  <a:gd name="connsiteX53" fmla="*/ 392906 w 1245394"/>
                  <a:gd name="connsiteY53" fmla="*/ 104775 h 545306"/>
                  <a:gd name="connsiteX54" fmla="*/ 402431 w 1245394"/>
                  <a:gd name="connsiteY54" fmla="*/ 71437 h 545306"/>
                  <a:gd name="connsiteX55" fmla="*/ 459581 w 1245394"/>
                  <a:gd name="connsiteY55" fmla="*/ 107156 h 545306"/>
                  <a:gd name="connsiteX56" fmla="*/ 528637 w 1245394"/>
                  <a:gd name="connsiteY56" fmla="*/ 88106 h 545306"/>
                  <a:gd name="connsiteX57" fmla="*/ 557212 w 1245394"/>
                  <a:gd name="connsiteY57" fmla="*/ 107156 h 545306"/>
                  <a:gd name="connsiteX58" fmla="*/ 590550 w 1245394"/>
                  <a:gd name="connsiteY58" fmla="*/ 45243 h 545306"/>
                  <a:gd name="connsiteX59" fmla="*/ 652462 w 1245394"/>
                  <a:gd name="connsiteY59" fmla="*/ 54768 h 545306"/>
                  <a:gd name="connsiteX60" fmla="*/ 676275 w 1245394"/>
                  <a:gd name="connsiteY60" fmla="*/ 102393 h 545306"/>
                  <a:gd name="connsiteX61" fmla="*/ 704850 w 1245394"/>
                  <a:gd name="connsiteY61" fmla="*/ 71437 h 545306"/>
                  <a:gd name="connsiteX62" fmla="*/ 742950 w 1245394"/>
                  <a:gd name="connsiteY62" fmla="*/ 80962 h 545306"/>
                  <a:gd name="connsiteX63" fmla="*/ 742950 w 1245394"/>
                  <a:gd name="connsiteY63" fmla="*/ 42862 h 545306"/>
                  <a:gd name="connsiteX64" fmla="*/ 776287 w 1245394"/>
                  <a:gd name="connsiteY64" fmla="*/ 0 h 545306"/>
                  <a:gd name="connsiteX65" fmla="*/ 814387 w 1245394"/>
                  <a:gd name="connsiteY65" fmla="*/ 42862 h 545306"/>
                  <a:gd name="connsiteX66" fmla="*/ 852487 w 1245394"/>
                  <a:gd name="connsiteY66" fmla="*/ 61912 h 545306"/>
                  <a:gd name="connsiteX67" fmla="*/ 859631 w 1245394"/>
                  <a:gd name="connsiteY67" fmla="*/ 78581 h 545306"/>
                  <a:gd name="connsiteX68" fmla="*/ 883444 w 1245394"/>
                  <a:gd name="connsiteY68" fmla="*/ 42862 h 545306"/>
                  <a:gd name="connsiteX69" fmla="*/ 928687 w 1245394"/>
                  <a:gd name="connsiteY69" fmla="*/ 76200 h 545306"/>
                  <a:gd name="connsiteX70" fmla="*/ 983456 w 1245394"/>
                  <a:gd name="connsiteY70" fmla="*/ 69056 h 545306"/>
                  <a:gd name="connsiteX71" fmla="*/ 1000125 w 1245394"/>
                  <a:gd name="connsiteY71" fmla="*/ 80962 h 545306"/>
                  <a:gd name="connsiteX72" fmla="*/ 1021556 w 1245394"/>
                  <a:gd name="connsiteY72" fmla="*/ 104775 h 545306"/>
                  <a:gd name="connsiteX73" fmla="*/ 1002506 w 1245394"/>
                  <a:gd name="connsiteY73" fmla="*/ 178593 h 545306"/>
                  <a:gd name="connsiteX74" fmla="*/ 1042987 w 1245394"/>
                  <a:gd name="connsiteY74" fmla="*/ 180975 h 545306"/>
                  <a:gd name="connsiteX75" fmla="*/ 1092994 w 1245394"/>
                  <a:gd name="connsiteY75" fmla="*/ 173831 h 545306"/>
                  <a:gd name="connsiteX76" fmla="*/ 1092994 w 1245394"/>
                  <a:gd name="connsiteY76" fmla="*/ 207168 h 545306"/>
                  <a:gd name="connsiteX77" fmla="*/ 1114425 w 1245394"/>
                  <a:gd name="connsiteY77" fmla="*/ 230981 h 545306"/>
                  <a:gd name="connsiteX78" fmla="*/ 1150144 w 1245394"/>
                  <a:gd name="connsiteY78" fmla="*/ 276225 h 545306"/>
                  <a:gd name="connsiteX79" fmla="*/ 1171575 w 1245394"/>
                  <a:gd name="connsiteY79" fmla="*/ 285750 h 545306"/>
                  <a:gd name="connsiteX80" fmla="*/ 1176337 w 1245394"/>
                  <a:gd name="connsiteY80" fmla="*/ 335756 h 5453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</a:cxnLst>
                <a:rect l="l" t="t" r="r" b="b"/>
                <a:pathLst>
                  <a:path w="1245394" h="545306">
                    <a:moveTo>
                      <a:pt x="1176337" y="335756"/>
                    </a:moveTo>
                    <a:lnTo>
                      <a:pt x="1228725" y="335756"/>
                    </a:lnTo>
                    <a:lnTo>
                      <a:pt x="1245394" y="378618"/>
                    </a:lnTo>
                    <a:lnTo>
                      <a:pt x="1204912" y="381000"/>
                    </a:lnTo>
                    <a:lnTo>
                      <a:pt x="1190625" y="409575"/>
                    </a:lnTo>
                    <a:lnTo>
                      <a:pt x="1176337" y="390525"/>
                    </a:lnTo>
                    <a:lnTo>
                      <a:pt x="1162050" y="407193"/>
                    </a:lnTo>
                    <a:lnTo>
                      <a:pt x="1173956" y="438150"/>
                    </a:lnTo>
                    <a:lnTo>
                      <a:pt x="1173956" y="438150"/>
                    </a:lnTo>
                    <a:lnTo>
                      <a:pt x="1073944" y="352425"/>
                    </a:lnTo>
                    <a:lnTo>
                      <a:pt x="1014412" y="307181"/>
                    </a:lnTo>
                    <a:lnTo>
                      <a:pt x="978694" y="273843"/>
                    </a:lnTo>
                    <a:lnTo>
                      <a:pt x="947737" y="245268"/>
                    </a:lnTo>
                    <a:lnTo>
                      <a:pt x="885825" y="219075"/>
                    </a:lnTo>
                    <a:lnTo>
                      <a:pt x="869156" y="223837"/>
                    </a:lnTo>
                    <a:lnTo>
                      <a:pt x="859631" y="240506"/>
                    </a:lnTo>
                    <a:lnTo>
                      <a:pt x="845344" y="226218"/>
                    </a:lnTo>
                    <a:lnTo>
                      <a:pt x="828675" y="204787"/>
                    </a:lnTo>
                    <a:lnTo>
                      <a:pt x="788194" y="192881"/>
                    </a:lnTo>
                    <a:lnTo>
                      <a:pt x="707231" y="164306"/>
                    </a:lnTo>
                    <a:lnTo>
                      <a:pt x="671512" y="150018"/>
                    </a:lnTo>
                    <a:lnTo>
                      <a:pt x="614362" y="171450"/>
                    </a:lnTo>
                    <a:lnTo>
                      <a:pt x="550069" y="200025"/>
                    </a:lnTo>
                    <a:lnTo>
                      <a:pt x="483394" y="235743"/>
                    </a:lnTo>
                    <a:lnTo>
                      <a:pt x="466725" y="280987"/>
                    </a:lnTo>
                    <a:lnTo>
                      <a:pt x="445294" y="314325"/>
                    </a:lnTo>
                    <a:lnTo>
                      <a:pt x="388144" y="326231"/>
                    </a:lnTo>
                    <a:lnTo>
                      <a:pt x="364331" y="369093"/>
                    </a:lnTo>
                    <a:lnTo>
                      <a:pt x="369094" y="388143"/>
                    </a:lnTo>
                    <a:lnTo>
                      <a:pt x="342900" y="411956"/>
                    </a:lnTo>
                    <a:lnTo>
                      <a:pt x="321469" y="442912"/>
                    </a:lnTo>
                    <a:lnTo>
                      <a:pt x="311944" y="478631"/>
                    </a:lnTo>
                    <a:lnTo>
                      <a:pt x="273844" y="478631"/>
                    </a:lnTo>
                    <a:lnTo>
                      <a:pt x="235744" y="502443"/>
                    </a:lnTo>
                    <a:lnTo>
                      <a:pt x="159544" y="504825"/>
                    </a:lnTo>
                    <a:lnTo>
                      <a:pt x="126206" y="521493"/>
                    </a:lnTo>
                    <a:lnTo>
                      <a:pt x="95250" y="540543"/>
                    </a:lnTo>
                    <a:lnTo>
                      <a:pt x="64294" y="542925"/>
                    </a:lnTo>
                    <a:lnTo>
                      <a:pt x="50006" y="528637"/>
                    </a:lnTo>
                    <a:lnTo>
                      <a:pt x="28575" y="545306"/>
                    </a:lnTo>
                    <a:lnTo>
                      <a:pt x="0" y="545306"/>
                    </a:lnTo>
                    <a:cubicBezTo>
                      <a:pt x="794" y="520700"/>
                      <a:pt x="1587" y="496093"/>
                      <a:pt x="2381" y="471487"/>
                    </a:cubicBezTo>
                    <a:lnTo>
                      <a:pt x="35719" y="454818"/>
                    </a:lnTo>
                    <a:lnTo>
                      <a:pt x="100012" y="381000"/>
                    </a:lnTo>
                    <a:lnTo>
                      <a:pt x="130969" y="340518"/>
                    </a:lnTo>
                    <a:lnTo>
                      <a:pt x="154781" y="307181"/>
                    </a:lnTo>
                    <a:lnTo>
                      <a:pt x="219075" y="338137"/>
                    </a:lnTo>
                    <a:lnTo>
                      <a:pt x="261937" y="335756"/>
                    </a:lnTo>
                    <a:lnTo>
                      <a:pt x="283369" y="302418"/>
                    </a:lnTo>
                    <a:lnTo>
                      <a:pt x="314325" y="319087"/>
                    </a:lnTo>
                    <a:lnTo>
                      <a:pt x="316706" y="273843"/>
                    </a:lnTo>
                    <a:lnTo>
                      <a:pt x="328612" y="178593"/>
                    </a:lnTo>
                    <a:lnTo>
                      <a:pt x="354806" y="157162"/>
                    </a:lnTo>
                    <a:lnTo>
                      <a:pt x="392906" y="104775"/>
                    </a:lnTo>
                    <a:lnTo>
                      <a:pt x="402431" y="71437"/>
                    </a:lnTo>
                    <a:lnTo>
                      <a:pt x="459581" y="107156"/>
                    </a:lnTo>
                    <a:lnTo>
                      <a:pt x="528637" y="88106"/>
                    </a:lnTo>
                    <a:lnTo>
                      <a:pt x="557212" y="107156"/>
                    </a:lnTo>
                    <a:lnTo>
                      <a:pt x="590550" y="45243"/>
                    </a:lnTo>
                    <a:lnTo>
                      <a:pt x="652462" y="54768"/>
                    </a:lnTo>
                    <a:lnTo>
                      <a:pt x="676275" y="102393"/>
                    </a:lnTo>
                    <a:lnTo>
                      <a:pt x="704850" y="71437"/>
                    </a:lnTo>
                    <a:lnTo>
                      <a:pt x="742950" y="80962"/>
                    </a:lnTo>
                    <a:lnTo>
                      <a:pt x="742950" y="42862"/>
                    </a:lnTo>
                    <a:lnTo>
                      <a:pt x="776287" y="0"/>
                    </a:lnTo>
                    <a:lnTo>
                      <a:pt x="814387" y="42862"/>
                    </a:lnTo>
                    <a:lnTo>
                      <a:pt x="852487" y="61912"/>
                    </a:lnTo>
                    <a:lnTo>
                      <a:pt x="859631" y="78581"/>
                    </a:lnTo>
                    <a:lnTo>
                      <a:pt x="883444" y="42862"/>
                    </a:lnTo>
                    <a:lnTo>
                      <a:pt x="928687" y="76200"/>
                    </a:lnTo>
                    <a:lnTo>
                      <a:pt x="983456" y="69056"/>
                    </a:lnTo>
                    <a:lnTo>
                      <a:pt x="1000125" y="80962"/>
                    </a:lnTo>
                    <a:lnTo>
                      <a:pt x="1021556" y="104775"/>
                    </a:lnTo>
                    <a:lnTo>
                      <a:pt x="1002506" y="178593"/>
                    </a:lnTo>
                    <a:lnTo>
                      <a:pt x="1042987" y="180975"/>
                    </a:lnTo>
                    <a:lnTo>
                      <a:pt x="1092994" y="173831"/>
                    </a:lnTo>
                    <a:lnTo>
                      <a:pt x="1092994" y="207168"/>
                    </a:lnTo>
                    <a:lnTo>
                      <a:pt x="1114425" y="230981"/>
                    </a:lnTo>
                    <a:lnTo>
                      <a:pt x="1150144" y="276225"/>
                    </a:lnTo>
                    <a:lnTo>
                      <a:pt x="1171575" y="285750"/>
                    </a:lnTo>
                    <a:lnTo>
                      <a:pt x="1176337" y="335756"/>
                    </a:ln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4" name="Figura a mano libera 133"/>
              <p:cNvSpPr/>
              <p:nvPr/>
            </p:nvSpPr>
            <p:spPr bwMode="auto">
              <a:xfrm>
                <a:off x="7677656" y="2612799"/>
                <a:ext cx="1392795" cy="687506"/>
              </a:xfrm>
              <a:custGeom>
                <a:avLst/>
                <a:gdLst>
                  <a:gd name="connsiteX0" fmla="*/ 11906 w 1774031"/>
                  <a:gd name="connsiteY0" fmla="*/ 311944 h 947738"/>
                  <a:gd name="connsiteX1" fmla="*/ 0 w 1774031"/>
                  <a:gd name="connsiteY1" fmla="*/ 292894 h 947738"/>
                  <a:gd name="connsiteX2" fmla="*/ 16669 w 1774031"/>
                  <a:gd name="connsiteY2" fmla="*/ 264319 h 947738"/>
                  <a:gd name="connsiteX3" fmla="*/ 52388 w 1774031"/>
                  <a:gd name="connsiteY3" fmla="*/ 266700 h 947738"/>
                  <a:gd name="connsiteX4" fmla="*/ 52388 w 1774031"/>
                  <a:gd name="connsiteY4" fmla="*/ 266700 h 947738"/>
                  <a:gd name="connsiteX5" fmla="*/ 83344 w 1774031"/>
                  <a:gd name="connsiteY5" fmla="*/ 242888 h 947738"/>
                  <a:gd name="connsiteX6" fmla="*/ 54769 w 1774031"/>
                  <a:gd name="connsiteY6" fmla="*/ 211932 h 947738"/>
                  <a:gd name="connsiteX7" fmla="*/ 85725 w 1774031"/>
                  <a:gd name="connsiteY7" fmla="*/ 180975 h 947738"/>
                  <a:gd name="connsiteX8" fmla="*/ 95250 w 1774031"/>
                  <a:gd name="connsiteY8" fmla="*/ 142875 h 947738"/>
                  <a:gd name="connsiteX9" fmla="*/ 64294 w 1774031"/>
                  <a:gd name="connsiteY9" fmla="*/ 135732 h 947738"/>
                  <a:gd name="connsiteX10" fmla="*/ 76200 w 1774031"/>
                  <a:gd name="connsiteY10" fmla="*/ 90488 h 947738"/>
                  <a:gd name="connsiteX11" fmla="*/ 121444 w 1774031"/>
                  <a:gd name="connsiteY11" fmla="*/ 33338 h 947738"/>
                  <a:gd name="connsiteX12" fmla="*/ 133350 w 1774031"/>
                  <a:gd name="connsiteY12" fmla="*/ 16669 h 947738"/>
                  <a:gd name="connsiteX13" fmla="*/ 145256 w 1774031"/>
                  <a:gd name="connsiteY13" fmla="*/ 4763 h 947738"/>
                  <a:gd name="connsiteX14" fmla="*/ 178594 w 1774031"/>
                  <a:gd name="connsiteY14" fmla="*/ 2382 h 947738"/>
                  <a:gd name="connsiteX15" fmla="*/ 180975 w 1774031"/>
                  <a:gd name="connsiteY15" fmla="*/ 21432 h 947738"/>
                  <a:gd name="connsiteX16" fmla="*/ 204788 w 1774031"/>
                  <a:gd name="connsiteY16" fmla="*/ 33338 h 947738"/>
                  <a:gd name="connsiteX17" fmla="*/ 235744 w 1774031"/>
                  <a:gd name="connsiteY17" fmla="*/ 33338 h 947738"/>
                  <a:gd name="connsiteX18" fmla="*/ 271463 w 1774031"/>
                  <a:gd name="connsiteY18" fmla="*/ 23813 h 947738"/>
                  <a:gd name="connsiteX19" fmla="*/ 295275 w 1774031"/>
                  <a:gd name="connsiteY19" fmla="*/ 11907 h 947738"/>
                  <a:gd name="connsiteX20" fmla="*/ 297656 w 1774031"/>
                  <a:gd name="connsiteY20" fmla="*/ 23813 h 947738"/>
                  <a:gd name="connsiteX21" fmla="*/ 328613 w 1774031"/>
                  <a:gd name="connsiteY21" fmla="*/ 23813 h 947738"/>
                  <a:gd name="connsiteX22" fmla="*/ 328613 w 1774031"/>
                  <a:gd name="connsiteY22" fmla="*/ 23813 h 947738"/>
                  <a:gd name="connsiteX23" fmla="*/ 371475 w 1774031"/>
                  <a:gd name="connsiteY23" fmla="*/ 0 h 947738"/>
                  <a:gd name="connsiteX24" fmla="*/ 376238 w 1774031"/>
                  <a:gd name="connsiteY24" fmla="*/ 28575 h 947738"/>
                  <a:gd name="connsiteX25" fmla="*/ 411956 w 1774031"/>
                  <a:gd name="connsiteY25" fmla="*/ 2382 h 947738"/>
                  <a:gd name="connsiteX26" fmla="*/ 440531 w 1774031"/>
                  <a:gd name="connsiteY26" fmla="*/ 23813 h 947738"/>
                  <a:gd name="connsiteX27" fmla="*/ 445294 w 1774031"/>
                  <a:gd name="connsiteY27" fmla="*/ 50007 h 947738"/>
                  <a:gd name="connsiteX28" fmla="*/ 466725 w 1774031"/>
                  <a:gd name="connsiteY28" fmla="*/ 66675 h 947738"/>
                  <a:gd name="connsiteX29" fmla="*/ 514350 w 1774031"/>
                  <a:gd name="connsiteY29" fmla="*/ 59532 h 947738"/>
                  <a:gd name="connsiteX30" fmla="*/ 514350 w 1774031"/>
                  <a:gd name="connsiteY30" fmla="*/ 83344 h 947738"/>
                  <a:gd name="connsiteX31" fmla="*/ 545306 w 1774031"/>
                  <a:gd name="connsiteY31" fmla="*/ 85725 h 947738"/>
                  <a:gd name="connsiteX32" fmla="*/ 564356 w 1774031"/>
                  <a:gd name="connsiteY32" fmla="*/ 102394 h 947738"/>
                  <a:gd name="connsiteX33" fmla="*/ 583406 w 1774031"/>
                  <a:gd name="connsiteY33" fmla="*/ 111919 h 947738"/>
                  <a:gd name="connsiteX34" fmla="*/ 602456 w 1774031"/>
                  <a:gd name="connsiteY34" fmla="*/ 119063 h 947738"/>
                  <a:gd name="connsiteX35" fmla="*/ 647700 w 1774031"/>
                  <a:gd name="connsiteY35" fmla="*/ 142875 h 947738"/>
                  <a:gd name="connsiteX36" fmla="*/ 700088 w 1774031"/>
                  <a:gd name="connsiteY36" fmla="*/ 164307 h 947738"/>
                  <a:gd name="connsiteX37" fmla="*/ 750094 w 1774031"/>
                  <a:gd name="connsiteY37" fmla="*/ 121444 h 947738"/>
                  <a:gd name="connsiteX38" fmla="*/ 766763 w 1774031"/>
                  <a:gd name="connsiteY38" fmla="*/ 109538 h 947738"/>
                  <a:gd name="connsiteX39" fmla="*/ 785813 w 1774031"/>
                  <a:gd name="connsiteY39" fmla="*/ 135732 h 947738"/>
                  <a:gd name="connsiteX40" fmla="*/ 807244 w 1774031"/>
                  <a:gd name="connsiteY40" fmla="*/ 152400 h 947738"/>
                  <a:gd name="connsiteX41" fmla="*/ 873919 w 1774031"/>
                  <a:gd name="connsiteY41" fmla="*/ 157163 h 947738"/>
                  <a:gd name="connsiteX42" fmla="*/ 907256 w 1774031"/>
                  <a:gd name="connsiteY42" fmla="*/ 135732 h 947738"/>
                  <a:gd name="connsiteX43" fmla="*/ 969169 w 1774031"/>
                  <a:gd name="connsiteY43" fmla="*/ 138113 h 947738"/>
                  <a:gd name="connsiteX44" fmla="*/ 992981 w 1774031"/>
                  <a:gd name="connsiteY44" fmla="*/ 145257 h 947738"/>
                  <a:gd name="connsiteX45" fmla="*/ 1023938 w 1774031"/>
                  <a:gd name="connsiteY45" fmla="*/ 147638 h 947738"/>
                  <a:gd name="connsiteX46" fmla="*/ 1066800 w 1774031"/>
                  <a:gd name="connsiteY46" fmla="*/ 133350 h 947738"/>
                  <a:gd name="connsiteX47" fmla="*/ 1131094 w 1774031"/>
                  <a:gd name="connsiteY47" fmla="*/ 142875 h 947738"/>
                  <a:gd name="connsiteX48" fmla="*/ 1176338 w 1774031"/>
                  <a:gd name="connsiteY48" fmla="*/ 161925 h 947738"/>
                  <a:gd name="connsiteX49" fmla="*/ 1200150 w 1774031"/>
                  <a:gd name="connsiteY49" fmla="*/ 192882 h 947738"/>
                  <a:gd name="connsiteX50" fmla="*/ 1264444 w 1774031"/>
                  <a:gd name="connsiteY50" fmla="*/ 157163 h 947738"/>
                  <a:gd name="connsiteX51" fmla="*/ 1314450 w 1774031"/>
                  <a:gd name="connsiteY51" fmla="*/ 130969 h 947738"/>
                  <a:gd name="connsiteX52" fmla="*/ 1354931 w 1774031"/>
                  <a:gd name="connsiteY52" fmla="*/ 138113 h 947738"/>
                  <a:gd name="connsiteX53" fmla="*/ 1409700 w 1774031"/>
                  <a:gd name="connsiteY53" fmla="*/ 138113 h 947738"/>
                  <a:gd name="connsiteX54" fmla="*/ 1438275 w 1774031"/>
                  <a:gd name="connsiteY54" fmla="*/ 157163 h 947738"/>
                  <a:gd name="connsiteX55" fmla="*/ 1495425 w 1774031"/>
                  <a:gd name="connsiteY55" fmla="*/ 183357 h 947738"/>
                  <a:gd name="connsiteX56" fmla="*/ 1524000 w 1774031"/>
                  <a:gd name="connsiteY56" fmla="*/ 157163 h 947738"/>
                  <a:gd name="connsiteX57" fmla="*/ 1540669 w 1774031"/>
                  <a:gd name="connsiteY57" fmla="*/ 226219 h 947738"/>
                  <a:gd name="connsiteX58" fmla="*/ 1512094 w 1774031"/>
                  <a:gd name="connsiteY58" fmla="*/ 247650 h 947738"/>
                  <a:gd name="connsiteX59" fmla="*/ 1500188 w 1774031"/>
                  <a:gd name="connsiteY59" fmla="*/ 288132 h 947738"/>
                  <a:gd name="connsiteX60" fmla="*/ 1512094 w 1774031"/>
                  <a:gd name="connsiteY60" fmla="*/ 364332 h 947738"/>
                  <a:gd name="connsiteX61" fmla="*/ 1524000 w 1774031"/>
                  <a:gd name="connsiteY61" fmla="*/ 452438 h 947738"/>
                  <a:gd name="connsiteX62" fmla="*/ 1526381 w 1774031"/>
                  <a:gd name="connsiteY62" fmla="*/ 490538 h 947738"/>
                  <a:gd name="connsiteX63" fmla="*/ 1552575 w 1774031"/>
                  <a:gd name="connsiteY63" fmla="*/ 559594 h 947738"/>
                  <a:gd name="connsiteX64" fmla="*/ 1559719 w 1774031"/>
                  <a:gd name="connsiteY64" fmla="*/ 607219 h 947738"/>
                  <a:gd name="connsiteX65" fmla="*/ 1574006 w 1774031"/>
                  <a:gd name="connsiteY65" fmla="*/ 664369 h 947738"/>
                  <a:gd name="connsiteX66" fmla="*/ 1638300 w 1774031"/>
                  <a:gd name="connsiteY66" fmla="*/ 723900 h 947738"/>
                  <a:gd name="connsiteX67" fmla="*/ 1674019 w 1774031"/>
                  <a:gd name="connsiteY67" fmla="*/ 759619 h 947738"/>
                  <a:gd name="connsiteX68" fmla="*/ 1712119 w 1774031"/>
                  <a:gd name="connsiteY68" fmla="*/ 788194 h 947738"/>
                  <a:gd name="connsiteX69" fmla="*/ 1750219 w 1774031"/>
                  <a:gd name="connsiteY69" fmla="*/ 804863 h 947738"/>
                  <a:gd name="connsiteX70" fmla="*/ 1774031 w 1774031"/>
                  <a:gd name="connsiteY70" fmla="*/ 812007 h 947738"/>
                  <a:gd name="connsiteX71" fmla="*/ 1747838 w 1774031"/>
                  <a:gd name="connsiteY71" fmla="*/ 869157 h 947738"/>
                  <a:gd name="connsiteX72" fmla="*/ 1716881 w 1774031"/>
                  <a:gd name="connsiteY72" fmla="*/ 876300 h 947738"/>
                  <a:gd name="connsiteX73" fmla="*/ 1690688 w 1774031"/>
                  <a:gd name="connsiteY73" fmla="*/ 904875 h 947738"/>
                  <a:gd name="connsiteX74" fmla="*/ 1654969 w 1774031"/>
                  <a:gd name="connsiteY74" fmla="*/ 873919 h 947738"/>
                  <a:gd name="connsiteX75" fmla="*/ 1621631 w 1774031"/>
                  <a:gd name="connsiteY75" fmla="*/ 831057 h 947738"/>
                  <a:gd name="connsiteX76" fmla="*/ 1595438 w 1774031"/>
                  <a:gd name="connsiteY76" fmla="*/ 850107 h 947738"/>
                  <a:gd name="connsiteX77" fmla="*/ 1576388 w 1774031"/>
                  <a:gd name="connsiteY77" fmla="*/ 809625 h 947738"/>
                  <a:gd name="connsiteX78" fmla="*/ 1502569 w 1774031"/>
                  <a:gd name="connsiteY78" fmla="*/ 835819 h 947738"/>
                  <a:gd name="connsiteX79" fmla="*/ 1466850 w 1774031"/>
                  <a:gd name="connsiteY79" fmla="*/ 838200 h 947738"/>
                  <a:gd name="connsiteX80" fmla="*/ 1452563 w 1774031"/>
                  <a:gd name="connsiteY80" fmla="*/ 838200 h 947738"/>
                  <a:gd name="connsiteX81" fmla="*/ 1407319 w 1774031"/>
                  <a:gd name="connsiteY81" fmla="*/ 947738 h 947738"/>
                  <a:gd name="connsiteX82" fmla="*/ 1338263 w 1774031"/>
                  <a:gd name="connsiteY82" fmla="*/ 909638 h 947738"/>
                  <a:gd name="connsiteX83" fmla="*/ 1231106 w 1774031"/>
                  <a:gd name="connsiteY83" fmla="*/ 871538 h 947738"/>
                  <a:gd name="connsiteX84" fmla="*/ 1233488 w 1774031"/>
                  <a:gd name="connsiteY84" fmla="*/ 821532 h 947738"/>
                  <a:gd name="connsiteX85" fmla="*/ 1209675 w 1774031"/>
                  <a:gd name="connsiteY85" fmla="*/ 809625 h 947738"/>
                  <a:gd name="connsiteX86" fmla="*/ 1262063 w 1774031"/>
                  <a:gd name="connsiteY86" fmla="*/ 695325 h 947738"/>
                  <a:gd name="connsiteX87" fmla="*/ 1183481 w 1774031"/>
                  <a:gd name="connsiteY87" fmla="*/ 711994 h 947738"/>
                  <a:gd name="connsiteX88" fmla="*/ 1185863 w 1774031"/>
                  <a:gd name="connsiteY88" fmla="*/ 669132 h 947738"/>
                  <a:gd name="connsiteX89" fmla="*/ 1131094 w 1774031"/>
                  <a:gd name="connsiteY89" fmla="*/ 669132 h 947738"/>
                  <a:gd name="connsiteX90" fmla="*/ 1095375 w 1774031"/>
                  <a:gd name="connsiteY90" fmla="*/ 626269 h 947738"/>
                  <a:gd name="connsiteX91" fmla="*/ 1078706 w 1774031"/>
                  <a:gd name="connsiteY91" fmla="*/ 619125 h 947738"/>
                  <a:gd name="connsiteX92" fmla="*/ 1050131 w 1774031"/>
                  <a:gd name="connsiteY92" fmla="*/ 645319 h 947738"/>
                  <a:gd name="connsiteX93" fmla="*/ 1009650 w 1774031"/>
                  <a:gd name="connsiteY93" fmla="*/ 669132 h 947738"/>
                  <a:gd name="connsiteX94" fmla="*/ 981075 w 1774031"/>
                  <a:gd name="connsiteY94" fmla="*/ 681038 h 947738"/>
                  <a:gd name="connsiteX95" fmla="*/ 1004888 w 1774031"/>
                  <a:gd name="connsiteY95" fmla="*/ 707232 h 947738"/>
                  <a:gd name="connsiteX96" fmla="*/ 985838 w 1774031"/>
                  <a:gd name="connsiteY96" fmla="*/ 702469 h 947738"/>
                  <a:gd name="connsiteX97" fmla="*/ 947738 w 1774031"/>
                  <a:gd name="connsiteY97" fmla="*/ 702469 h 947738"/>
                  <a:gd name="connsiteX98" fmla="*/ 947738 w 1774031"/>
                  <a:gd name="connsiteY98" fmla="*/ 702469 h 947738"/>
                  <a:gd name="connsiteX99" fmla="*/ 885825 w 1774031"/>
                  <a:gd name="connsiteY99" fmla="*/ 673894 h 947738"/>
                  <a:gd name="connsiteX100" fmla="*/ 847725 w 1774031"/>
                  <a:gd name="connsiteY100" fmla="*/ 728663 h 947738"/>
                  <a:gd name="connsiteX101" fmla="*/ 747713 w 1774031"/>
                  <a:gd name="connsiteY101" fmla="*/ 661988 h 947738"/>
                  <a:gd name="connsiteX102" fmla="*/ 704850 w 1774031"/>
                  <a:gd name="connsiteY102" fmla="*/ 657225 h 947738"/>
                  <a:gd name="connsiteX103" fmla="*/ 681038 w 1774031"/>
                  <a:gd name="connsiteY103" fmla="*/ 671513 h 947738"/>
                  <a:gd name="connsiteX104" fmla="*/ 647700 w 1774031"/>
                  <a:gd name="connsiteY104" fmla="*/ 633413 h 947738"/>
                  <a:gd name="connsiteX105" fmla="*/ 623888 w 1774031"/>
                  <a:gd name="connsiteY105" fmla="*/ 600075 h 947738"/>
                  <a:gd name="connsiteX106" fmla="*/ 573881 w 1774031"/>
                  <a:gd name="connsiteY106" fmla="*/ 566738 h 947738"/>
                  <a:gd name="connsiteX107" fmla="*/ 514350 w 1774031"/>
                  <a:gd name="connsiteY107" fmla="*/ 561975 h 947738"/>
                  <a:gd name="connsiteX108" fmla="*/ 431006 w 1774031"/>
                  <a:gd name="connsiteY108" fmla="*/ 521494 h 947738"/>
                  <a:gd name="connsiteX109" fmla="*/ 414338 w 1774031"/>
                  <a:gd name="connsiteY109" fmla="*/ 471488 h 947738"/>
                  <a:gd name="connsiteX110" fmla="*/ 404813 w 1774031"/>
                  <a:gd name="connsiteY110" fmla="*/ 423863 h 947738"/>
                  <a:gd name="connsiteX111" fmla="*/ 314325 w 1774031"/>
                  <a:gd name="connsiteY111" fmla="*/ 421482 h 947738"/>
                  <a:gd name="connsiteX112" fmla="*/ 292894 w 1774031"/>
                  <a:gd name="connsiteY112" fmla="*/ 461963 h 947738"/>
                  <a:gd name="connsiteX113" fmla="*/ 276225 w 1774031"/>
                  <a:gd name="connsiteY113" fmla="*/ 483394 h 947738"/>
                  <a:gd name="connsiteX114" fmla="*/ 233363 w 1774031"/>
                  <a:gd name="connsiteY114" fmla="*/ 495300 h 947738"/>
                  <a:gd name="connsiteX115" fmla="*/ 219075 w 1774031"/>
                  <a:gd name="connsiteY115" fmla="*/ 435769 h 947738"/>
                  <a:gd name="connsiteX116" fmla="*/ 133350 w 1774031"/>
                  <a:gd name="connsiteY116" fmla="*/ 454819 h 947738"/>
                  <a:gd name="connsiteX117" fmla="*/ 152400 w 1774031"/>
                  <a:gd name="connsiteY117" fmla="*/ 409575 h 947738"/>
                  <a:gd name="connsiteX118" fmla="*/ 164306 w 1774031"/>
                  <a:gd name="connsiteY118" fmla="*/ 369094 h 947738"/>
                  <a:gd name="connsiteX119" fmla="*/ 116681 w 1774031"/>
                  <a:gd name="connsiteY119" fmla="*/ 328613 h 947738"/>
                  <a:gd name="connsiteX120" fmla="*/ 64294 w 1774031"/>
                  <a:gd name="connsiteY120" fmla="*/ 340519 h 947738"/>
                  <a:gd name="connsiteX121" fmla="*/ 11906 w 1774031"/>
                  <a:gd name="connsiteY121" fmla="*/ 311944 h 94773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</a:cxnLst>
                <a:rect l="l" t="t" r="r" b="b"/>
                <a:pathLst>
                  <a:path w="1774031" h="947738">
                    <a:moveTo>
                      <a:pt x="11906" y="311944"/>
                    </a:moveTo>
                    <a:lnTo>
                      <a:pt x="0" y="292894"/>
                    </a:lnTo>
                    <a:lnTo>
                      <a:pt x="16669" y="264319"/>
                    </a:lnTo>
                    <a:lnTo>
                      <a:pt x="52388" y="266700"/>
                    </a:lnTo>
                    <a:lnTo>
                      <a:pt x="52388" y="266700"/>
                    </a:lnTo>
                    <a:lnTo>
                      <a:pt x="83344" y="242888"/>
                    </a:lnTo>
                    <a:lnTo>
                      <a:pt x="54769" y="211932"/>
                    </a:lnTo>
                    <a:lnTo>
                      <a:pt x="85725" y="180975"/>
                    </a:lnTo>
                    <a:lnTo>
                      <a:pt x="95250" y="142875"/>
                    </a:lnTo>
                    <a:lnTo>
                      <a:pt x="64294" y="135732"/>
                    </a:lnTo>
                    <a:lnTo>
                      <a:pt x="76200" y="90488"/>
                    </a:lnTo>
                    <a:lnTo>
                      <a:pt x="121444" y="33338"/>
                    </a:lnTo>
                    <a:lnTo>
                      <a:pt x="133350" y="16669"/>
                    </a:lnTo>
                    <a:lnTo>
                      <a:pt x="145256" y="4763"/>
                    </a:lnTo>
                    <a:lnTo>
                      <a:pt x="178594" y="2382"/>
                    </a:lnTo>
                    <a:lnTo>
                      <a:pt x="180975" y="21432"/>
                    </a:lnTo>
                    <a:lnTo>
                      <a:pt x="204788" y="33338"/>
                    </a:lnTo>
                    <a:lnTo>
                      <a:pt x="235744" y="33338"/>
                    </a:lnTo>
                    <a:lnTo>
                      <a:pt x="271463" y="23813"/>
                    </a:lnTo>
                    <a:lnTo>
                      <a:pt x="295275" y="11907"/>
                    </a:lnTo>
                    <a:lnTo>
                      <a:pt x="297656" y="23813"/>
                    </a:lnTo>
                    <a:lnTo>
                      <a:pt x="328613" y="23813"/>
                    </a:lnTo>
                    <a:lnTo>
                      <a:pt x="328613" y="23813"/>
                    </a:lnTo>
                    <a:lnTo>
                      <a:pt x="371475" y="0"/>
                    </a:lnTo>
                    <a:lnTo>
                      <a:pt x="376238" y="28575"/>
                    </a:lnTo>
                    <a:lnTo>
                      <a:pt x="411956" y="2382"/>
                    </a:lnTo>
                    <a:lnTo>
                      <a:pt x="440531" y="23813"/>
                    </a:lnTo>
                    <a:lnTo>
                      <a:pt x="445294" y="50007"/>
                    </a:lnTo>
                    <a:lnTo>
                      <a:pt x="466725" y="66675"/>
                    </a:lnTo>
                    <a:lnTo>
                      <a:pt x="514350" y="59532"/>
                    </a:lnTo>
                    <a:lnTo>
                      <a:pt x="514350" y="83344"/>
                    </a:lnTo>
                    <a:lnTo>
                      <a:pt x="545306" y="85725"/>
                    </a:lnTo>
                    <a:cubicBezTo>
                      <a:pt x="551656" y="91281"/>
                      <a:pt x="557403" y="97614"/>
                      <a:pt x="564356" y="102394"/>
                    </a:cubicBezTo>
                    <a:cubicBezTo>
                      <a:pt x="570206" y="106416"/>
                      <a:pt x="583406" y="111919"/>
                      <a:pt x="583406" y="111919"/>
                    </a:cubicBezTo>
                    <a:lnTo>
                      <a:pt x="602456" y="119063"/>
                    </a:lnTo>
                    <a:lnTo>
                      <a:pt x="647700" y="142875"/>
                    </a:lnTo>
                    <a:lnTo>
                      <a:pt x="700088" y="164307"/>
                    </a:lnTo>
                    <a:lnTo>
                      <a:pt x="750094" y="121444"/>
                    </a:lnTo>
                    <a:lnTo>
                      <a:pt x="766763" y="109538"/>
                    </a:lnTo>
                    <a:lnTo>
                      <a:pt x="785813" y="135732"/>
                    </a:lnTo>
                    <a:lnTo>
                      <a:pt x="807244" y="152400"/>
                    </a:lnTo>
                    <a:lnTo>
                      <a:pt x="873919" y="157163"/>
                    </a:lnTo>
                    <a:lnTo>
                      <a:pt x="907256" y="135732"/>
                    </a:lnTo>
                    <a:lnTo>
                      <a:pt x="969169" y="138113"/>
                    </a:lnTo>
                    <a:lnTo>
                      <a:pt x="992981" y="145257"/>
                    </a:lnTo>
                    <a:cubicBezTo>
                      <a:pt x="1017569" y="147989"/>
                      <a:pt x="1007225" y="147638"/>
                      <a:pt x="1023938" y="147638"/>
                    </a:cubicBezTo>
                    <a:lnTo>
                      <a:pt x="1066800" y="133350"/>
                    </a:lnTo>
                    <a:lnTo>
                      <a:pt x="1131094" y="142875"/>
                    </a:lnTo>
                    <a:lnTo>
                      <a:pt x="1176338" y="161925"/>
                    </a:lnTo>
                    <a:lnTo>
                      <a:pt x="1200150" y="192882"/>
                    </a:lnTo>
                    <a:lnTo>
                      <a:pt x="1264444" y="157163"/>
                    </a:lnTo>
                    <a:lnTo>
                      <a:pt x="1314450" y="130969"/>
                    </a:lnTo>
                    <a:lnTo>
                      <a:pt x="1354931" y="138113"/>
                    </a:lnTo>
                    <a:lnTo>
                      <a:pt x="1409700" y="138113"/>
                    </a:lnTo>
                    <a:lnTo>
                      <a:pt x="1438275" y="157163"/>
                    </a:lnTo>
                    <a:lnTo>
                      <a:pt x="1495425" y="183357"/>
                    </a:lnTo>
                    <a:lnTo>
                      <a:pt x="1524000" y="157163"/>
                    </a:lnTo>
                    <a:lnTo>
                      <a:pt x="1540669" y="226219"/>
                    </a:lnTo>
                    <a:lnTo>
                      <a:pt x="1512094" y="247650"/>
                    </a:lnTo>
                    <a:lnTo>
                      <a:pt x="1500188" y="288132"/>
                    </a:lnTo>
                    <a:lnTo>
                      <a:pt x="1512094" y="364332"/>
                    </a:lnTo>
                    <a:lnTo>
                      <a:pt x="1524000" y="452438"/>
                    </a:lnTo>
                    <a:lnTo>
                      <a:pt x="1526381" y="490538"/>
                    </a:lnTo>
                    <a:lnTo>
                      <a:pt x="1552575" y="559594"/>
                    </a:lnTo>
                    <a:lnTo>
                      <a:pt x="1559719" y="607219"/>
                    </a:lnTo>
                    <a:lnTo>
                      <a:pt x="1574006" y="664369"/>
                    </a:lnTo>
                    <a:lnTo>
                      <a:pt x="1638300" y="723900"/>
                    </a:lnTo>
                    <a:lnTo>
                      <a:pt x="1674019" y="759619"/>
                    </a:lnTo>
                    <a:lnTo>
                      <a:pt x="1712119" y="788194"/>
                    </a:lnTo>
                    <a:lnTo>
                      <a:pt x="1750219" y="804863"/>
                    </a:lnTo>
                    <a:lnTo>
                      <a:pt x="1774031" y="812007"/>
                    </a:lnTo>
                    <a:lnTo>
                      <a:pt x="1747838" y="869157"/>
                    </a:lnTo>
                    <a:lnTo>
                      <a:pt x="1716881" y="876300"/>
                    </a:lnTo>
                    <a:lnTo>
                      <a:pt x="1690688" y="904875"/>
                    </a:lnTo>
                    <a:lnTo>
                      <a:pt x="1654969" y="873919"/>
                    </a:lnTo>
                    <a:lnTo>
                      <a:pt x="1621631" y="831057"/>
                    </a:lnTo>
                    <a:lnTo>
                      <a:pt x="1595438" y="850107"/>
                    </a:lnTo>
                    <a:lnTo>
                      <a:pt x="1576388" y="809625"/>
                    </a:lnTo>
                    <a:lnTo>
                      <a:pt x="1502569" y="835819"/>
                    </a:lnTo>
                    <a:lnTo>
                      <a:pt x="1466850" y="838200"/>
                    </a:lnTo>
                    <a:lnTo>
                      <a:pt x="1452563" y="838200"/>
                    </a:lnTo>
                    <a:lnTo>
                      <a:pt x="1407319" y="947738"/>
                    </a:lnTo>
                    <a:lnTo>
                      <a:pt x="1338263" y="909638"/>
                    </a:lnTo>
                    <a:lnTo>
                      <a:pt x="1231106" y="871538"/>
                    </a:lnTo>
                    <a:lnTo>
                      <a:pt x="1233488" y="821532"/>
                    </a:lnTo>
                    <a:lnTo>
                      <a:pt x="1209675" y="809625"/>
                    </a:lnTo>
                    <a:lnTo>
                      <a:pt x="1262063" y="695325"/>
                    </a:lnTo>
                    <a:lnTo>
                      <a:pt x="1183481" y="711994"/>
                    </a:lnTo>
                    <a:lnTo>
                      <a:pt x="1185863" y="669132"/>
                    </a:lnTo>
                    <a:lnTo>
                      <a:pt x="1131094" y="669132"/>
                    </a:lnTo>
                    <a:lnTo>
                      <a:pt x="1095375" y="626269"/>
                    </a:lnTo>
                    <a:lnTo>
                      <a:pt x="1078706" y="619125"/>
                    </a:lnTo>
                    <a:lnTo>
                      <a:pt x="1050131" y="645319"/>
                    </a:lnTo>
                    <a:lnTo>
                      <a:pt x="1009650" y="669132"/>
                    </a:lnTo>
                    <a:lnTo>
                      <a:pt x="981075" y="681038"/>
                    </a:lnTo>
                    <a:lnTo>
                      <a:pt x="1004888" y="707232"/>
                    </a:lnTo>
                    <a:lnTo>
                      <a:pt x="985838" y="702469"/>
                    </a:lnTo>
                    <a:lnTo>
                      <a:pt x="947738" y="702469"/>
                    </a:lnTo>
                    <a:lnTo>
                      <a:pt x="947738" y="702469"/>
                    </a:lnTo>
                    <a:lnTo>
                      <a:pt x="885825" y="673894"/>
                    </a:lnTo>
                    <a:lnTo>
                      <a:pt x="847725" y="728663"/>
                    </a:lnTo>
                    <a:lnTo>
                      <a:pt x="747713" y="661988"/>
                    </a:lnTo>
                    <a:lnTo>
                      <a:pt x="704850" y="657225"/>
                    </a:lnTo>
                    <a:lnTo>
                      <a:pt x="681038" y="671513"/>
                    </a:lnTo>
                    <a:lnTo>
                      <a:pt x="647700" y="633413"/>
                    </a:lnTo>
                    <a:lnTo>
                      <a:pt x="623888" y="600075"/>
                    </a:lnTo>
                    <a:lnTo>
                      <a:pt x="573881" y="566738"/>
                    </a:lnTo>
                    <a:lnTo>
                      <a:pt x="514350" y="561975"/>
                    </a:lnTo>
                    <a:lnTo>
                      <a:pt x="431006" y="521494"/>
                    </a:lnTo>
                    <a:lnTo>
                      <a:pt x="414338" y="471488"/>
                    </a:lnTo>
                    <a:lnTo>
                      <a:pt x="404813" y="423863"/>
                    </a:lnTo>
                    <a:lnTo>
                      <a:pt x="314325" y="421482"/>
                    </a:lnTo>
                    <a:lnTo>
                      <a:pt x="292894" y="461963"/>
                    </a:lnTo>
                    <a:lnTo>
                      <a:pt x="276225" y="483394"/>
                    </a:lnTo>
                    <a:lnTo>
                      <a:pt x="233363" y="495300"/>
                    </a:lnTo>
                    <a:lnTo>
                      <a:pt x="219075" y="435769"/>
                    </a:lnTo>
                    <a:lnTo>
                      <a:pt x="133350" y="454819"/>
                    </a:lnTo>
                    <a:lnTo>
                      <a:pt x="152400" y="409575"/>
                    </a:lnTo>
                    <a:lnTo>
                      <a:pt x="164306" y="369094"/>
                    </a:lnTo>
                    <a:lnTo>
                      <a:pt x="116681" y="328613"/>
                    </a:lnTo>
                    <a:lnTo>
                      <a:pt x="64294" y="340519"/>
                    </a:lnTo>
                    <a:lnTo>
                      <a:pt x="11906" y="311944"/>
                    </a:ln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5" name="Figura a mano libera 134"/>
              <p:cNvSpPr/>
              <p:nvPr/>
            </p:nvSpPr>
            <p:spPr bwMode="auto">
              <a:xfrm>
                <a:off x="6813514" y="2149480"/>
                <a:ext cx="426989" cy="243209"/>
              </a:xfrm>
              <a:custGeom>
                <a:avLst/>
                <a:gdLst>
                  <a:gd name="connsiteX0" fmla="*/ 121444 w 542925"/>
                  <a:gd name="connsiteY0" fmla="*/ 335756 h 335756"/>
                  <a:gd name="connsiteX1" fmla="*/ 135731 w 542925"/>
                  <a:gd name="connsiteY1" fmla="*/ 304800 h 335756"/>
                  <a:gd name="connsiteX2" fmla="*/ 195262 w 542925"/>
                  <a:gd name="connsiteY2" fmla="*/ 330994 h 335756"/>
                  <a:gd name="connsiteX3" fmla="*/ 242887 w 542925"/>
                  <a:gd name="connsiteY3" fmla="*/ 295275 h 335756"/>
                  <a:gd name="connsiteX4" fmla="*/ 335756 w 542925"/>
                  <a:gd name="connsiteY4" fmla="*/ 264319 h 335756"/>
                  <a:gd name="connsiteX5" fmla="*/ 404812 w 542925"/>
                  <a:gd name="connsiteY5" fmla="*/ 302419 h 335756"/>
                  <a:gd name="connsiteX6" fmla="*/ 483394 w 542925"/>
                  <a:gd name="connsiteY6" fmla="*/ 269081 h 335756"/>
                  <a:gd name="connsiteX7" fmla="*/ 521494 w 542925"/>
                  <a:gd name="connsiteY7" fmla="*/ 269081 h 335756"/>
                  <a:gd name="connsiteX8" fmla="*/ 535781 w 542925"/>
                  <a:gd name="connsiteY8" fmla="*/ 247650 h 335756"/>
                  <a:gd name="connsiteX9" fmla="*/ 526256 w 542925"/>
                  <a:gd name="connsiteY9" fmla="*/ 195263 h 335756"/>
                  <a:gd name="connsiteX10" fmla="*/ 542925 w 542925"/>
                  <a:gd name="connsiteY10" fmla="*/ 188119 h 335756"/>
                  <a:gd name="connsiteX11" fmla="*/ 511969 w 542925"/>
                  <a:gd name="connsiteY11" fmla="*/ 135731 h 335756"/>
                  <a:gd name="connsiteX12" fmla="*/ 519112 w 542925"/>
                  <a:gd name="connsiteY12" fmla="*/ 71438 h 335756"/>
                  <a:gd name="connsiteX13" fmla="*/ 521494 w 542925"/>
                  <a:gd name="connsiteY13" fmla="*/ 50006 h 335756"/>
                  <a:gd name="connsiteX14" fmla="*/ 500062 w 542925"/>
                  <a:gd name="connsiteY14" fmla="*/ 52388 h 335756"/>
                  <a:gd name="connsiteX15" fmla="*/ 452437 w 542925"/>
                  <a:gd name="connsiteY15" fmla="*/ 50006 h 335756"/>
                  <a:gd name="connsiteX16" fmla="*/ 445294 w 542925"/>
                  <a:gd name="connsiteY16" fmla="*/ 54769 h 335756"/>
                  <a:gd name="connsiteX17" fmla="*/ 426244 w 542925"/>
                  <a:gd name="connsiteY17" fmla="*/ 21431 h 335756"/>
                  <a:gd name="connsiteX18" fmla="*/ 404812 w 542925"/>
                  <a:gd name="connsiteY18" fmla="*/ 4763 h 335756"/>
                  <a:gd name="connsiteX19" fmla="*/ 364331 w 542925"/>
                  <a:gd name="connsiteY19" fmla="*/ 0 h 335756"/>
                  <a:gd name="connsiteX20" fmla="*/ 333375 w 542925"/>
                  <a:gd name="connsiteY20" fmla="*/ 30956 h 335756"/>
                  <a:gd name="connsiteX21" fmla="*/ 288131 w 542925"/>
                  <a:gd name="connsiteY21" fmla="*/ 42863 h 335756"/>
                  <a:gd name="connsiteX22" fmla="*/ 280987 w 542925"/>
                  <a:gd name="connsiteY22" fmla="*/ 64294 h 335756"/>
                  <a:gd name="connsiteX23" fmla="*/ 247650 w 542925"/>
                  <a:gd name="connsiteY23" fmla="*/ 30956 h 335756"/>
                  <a:gd name="connsiteX24" fmla="*/ 230981 w 542925"/>
                  <a:gd name="connsiteY24" fmla="*/ 54769 h 335756"/>
                  <a:gd name="connsiteX25" fmla="*/ 204787 w 542925"/>
                  <a:gd name="connsiteY25" fmla="*/ 76200 h 335756"/>
                  <a:gd name="connsiteX26" fmla="*/ 178594 w 542925"/>
                  <a:gd name="connsiteY26" fmla="*/ 78581 h 335756"/>
                  <a:gd name="connsiteX27" fmla="*/ 183356 w 542925"/>
                  <a:gd name="connsiteY27" fmla="*/ 54769 h 335756"/>
                  <a:gd name="connsiteX28" fmla="*/ 138112 w 542925"/>
                  <a:gd name="connsiteY28" fmla="*/ 64294 h 335756"/>
                  <a:gd name="connsiteX29" fmla="*/ 126206 w 542925"/>
                  <a:gd name="connsiteY29" fmla="*/ 88106 h 335756"/>
                  <a:gd name="connsiteX30" fmla="*/ 126206 w 542925"/>
                  <a:gd name="connsiteY30" fmla="*/ 52388 h 335756"/>
                  <a:gd name="connsiteX31" fmla="*/ 123825 w 542925"/>
                  <a:gd name="connsiteY31" fmla="*/ 28575 h 335756"/>
                  <a:gd name="connsiteX32" fmla="*/ 95250 w 542925"/>
                  <a:gd name="connsiteY32" fmla="*/ 45244 h 335756"/>
                  <a:gd name="connsiteX33" fmla="*/ 90487 w 542925"/>
                  <a:gd name="connsiteY33" fmla="*/ 64294 h 335756"/>
                  <a:gd name="connsiteX34" fmla="*/ 35719 w 542925"/>
                  <a:gd name="connsiteY34" fmla="*/ 69056 h 335756"/>
                  <a:gd name="connsiteX35" fmla="*/ 19050 w 542925"/>
                  <a:gd name="connsiteY35" fmla="*/ 83344 h 335756"/>
                  <a:gd name="connsiteX36" fmla="*/ 0 w 542925"/>
                  <a:gd name="connsiteY36" fmla="*/ 128588 h 335756"/>
                  <a:gd name="connsiteX37" fmla="*/ 16669 w 542925"/>
                  <a:gd name="connsiteY37" fmla="*/ 161925 h 335756"/>
                  <a:gd name="connsiteX38" fmla="*/ 50006 w 542925"/>
                  <a:gd name="connsiteY38" fmla="*/ 202406 h 335756"/>
                  <a:gd name="connsiteX39" fmla="*/ 76200 w 542925"/>
                  <a:gd name="connsiteY39" fmla="*/ 200025 h 335756"/>
                  <a:gd name="connsiteX40" fmla="*/ 88106 w 542925"/>
                  <a:gd name="connsiteY40" fmla="*/ 223838 h 335756"/>
                  <a:gd name="connsiteX41" fmla="*/ 69056 w 542925"/>
                  <a:gd name="connsiteY41" fmla="*/ 233363 h 335756"/>
                  <a:gd name="connsiteX42" fmla="*/ 52387 w 542925"/>
                  <a:gd name="connsiteY42" fmla="*/ 250031 h 335756"/>
                  <a:gd name="connsiteX43" fmla="*/ 121444 w 542925"/>
                  <a:gd name="connsiteY43" fmla="*/ 335756 h 3357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</a:cxnLst>
                <a:rect l="l" t="t" r="r" b="b"/>
                <a:pathLst>
                  <a:path w="542925" h="335756">
                    <a:moveTo>
                      <a:pt x="121444" y="335756"/>
                    </a:moveTo>
                    <a:lnTo>
                      <a:pt x="135731" y="304800"/>
                    </a:lnTo>
                    <a:lnTo>
                      <a:pt x="195262" y="330994"/>
                    </a:lnTo>
                    <a:lnTo>
                      <a:pt x="242887" y="295275"/>
                    </a:lnTo>
                    <a:lnTo>
                      <a:pt x="335756" y="264319"/>
                    </a:lnTo>
                    <a:lnTo>
                      <a:pt x="404812" y="302419"/>
                    </a:lnTo>
                    <a:lnTo>
                      <a:pt x="483394" y="269081"/>
                    </a:lnTo>
                    <a:lnTo>
                      <a:pt x="521494" y="269081"/>
                    </a:lnTo>
                    <a:lnTo>
                      <a:pt x="535781" y="247650"/>
                    </a:lnTo>
                    <a:lnTo>
                      <a:pt x="526256" y="195263"/>
                    </a:lnTo>
                    <a:lnTo>
                      <a:pt x="542925" y="188119"/>
                    </a:lnTo>
                    <a:lnTo>
                      <a:pt x="511969" y="135731"/>
                    </a:lnTo>
                    <a:lnTo>
                      <a:pt x="519112" y="71438"/>
                    </a:lnTo>
                    <a:lnTo>
                      <a:pt x="521494" y="50006"/>
                    </a:lnTo>
                    <a:lnTo>
                      <a:pt x="500062" y="52388"/>
                    </a:lnTo>
                    <a:lnTo>
                      <a:pt x="452437" y="50006"/>
                    </a:lnTo>
                    <a:lnTo>
                      <a:pt x="445294" y="54769"/>
                    </a:lnTo>
                    <a:lnTo>
                      <a:pt x="426244" y="21431"/>
                    </a:lnTo>
                    <a:lnTo>
                      <a:pt x="404812" y="4763"/>
                    </a:lnTo>
                    <a:lnTo>
                      <a:pt x="364331" y="0"/>
                    </a:lnTo>
                    <a:lnTo>
                      <a:pt x="333375" y="30956"/>
                    </a:lnTo>
                    <a:lnTo>
                      <a:pt x="288131" y="42863"/>
                    </a:lnTo>
                    <a:lnTo>
                      <a:pt x="280987" y="64294"/>
                    </a:lnTo>
                    <a:lnTo>
                      <a:pt x="247650" y="30956"/>
                    </a:lnTo>
                    <a:lnTo>
                      <a:pt x="230981" y="54769"/>
                    </a:lnTo>
                    <a:lnTo>
                      <a:pt x="204787" y="76200"/>
                    </a:lnTo>
                    <a:lnTo>
                      <a:pt x="178594" y="78581"/>
                    </a:lnTo>
                    <a:lnTo>
                      <a:pt x="183356" y="54769"/>
                    </a:lnTo>
                    <a:lnTo>
                      <a:pt x="138112" y="64294"/>
                    </a:lnTo>
                    <a:lnTo>
                      <a:pt x="126206" y="88106"/>
                    </a:lnTo>
                    <a:lnTo>
                      <a:pt x="126206" y="52388"/>
                    </a:lnTo>
                    <a:lnTo>
                      <a:pt x="123825" y="28575"/>
                    </a:lnTo>
                    <a:lnTo>
                      <a:pt x="95250" y="45244"/>
                    </a:lnTo>
                    <a:lnTo>
                      <a:pt x="90487" y="64294"/>
                    </a:lnTo>
                    <a:lnTo>
                      <a:pt x="35719" y="69056"/>
                    </a:lnTo>
                    <a:lnTo>
                      <a:pt x="19050" y="83344"/>
                    </a:lnTo>
                    <a:lnTo>
                      <a:pt x="0" y="128588"/>
                    </a:lnTo>
                    <a:lnTo>
                      <a:pt x="16669" y="161925"/>
                    </a:lnTo>
                    <a:lnTo>
                      <a:pt x="50006" y="202406"/>
                    </a:lnTo>
                    <a:lnTo>
                      <a:pt x="76200" y="200025"/>
                    </a:lnTo>
                    <a:lnTo>
                      <a:pt x="88106" y="223838"/>
                    </a:lnTo>
                    <a:lnTo>
                      <a:pt x="69056" y="233363"/>
                    </a:lnTo>
                    <a:lnTo>
                      <a:pt x="52387" y="250031"/>
                    </a:lnTo>
                    <a:lnTo>
                      <a:pt x="121444" y="335756"/>
                    </a:ln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6" name="Figura a mano libera 135"/>
              <p:cNvSpPr/>
              <p:nvPr/>
            </p:nvSpPr>
            <p:spPr bwMode="auto">
              <a:xfrm>
                <a:off x="6714755" y="1949750"/>
                <a:ext cx="996304" cy="1110064"/>
              </a:xfrm>
              <a:custGeom>
                <a:avLst/>
                <a:gdLst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343025 w 1624012"/>
                  <a:gd name="connsiteY97" fmla="*/ 61913 h 1533525"/>
                  <a:gd name="connsiteX98" fmla="*/ 1381125 w 1624012"/>
                  <a:gd name="connsiteY98" fmla="*/ 0 h 1533525"/>
                  <a:gd name="connsiteX99" fmla="*/ 1419225 w 1624012"/>
                  <a:gd name="connsiteY99" fmla="*/ 11906 h 1533525"/>
                  <a:gd name="connsiteX100" fmla="*/ 1440656 w 1624012"/>
                  <a:gd name="connsiteY100" fmla="*/ 7144 h 1533525"/>
                  <a:gd name="connsiteX101" fmla="*/ 1438275 w 1624012"/>
                  <a:gd name="connsiteY101" fmla="*/ 69056 h 1533525"/>
                  <a:gd name="connsiteX102" fmla="*/ 1440656 w 1624012"/>
                  <a:gd name="connsiteY102" fmla="*/ 104775 h 1533525"/>
                  <a:gd name="connsiteX103" fmla="*/ 1490662 w 1624012"/>
                  <a:gd name="connsiteY103" fmla="*/ 142875 h 1533525"/>
                  <a:gd name="connsiteX104" fmla="*/ 1543050 w 1624012"/>
                  <a:gd name="connsiteY104" fmla="*/ 147638 h 1533525"/>
                  <a:gd name="connsiteX105" fmla="*/ 1547812 w 1624012"/>
                  <a:gd name="connsiteY105" fmla="*/ 121444 h 1533525"/>
                  <a:gd name="connsiteX106" fmla="*/ 1574006 w 1624012"/>
                  <a:gd name="connsiteY106" fmla="*/ 121444 h 1533525"/>
                  <a:gd name="connsiteX107" fmla="*/ 1624012 w 1624012"/>
                  <a:gd name="connsiteY107" fmla="*/ 109538 h 1533525"/>
                  <a:gd name="connsiteX108" fmla="*/ 1057275 w 1624012"/>
                  <a:gd name="connsiteY108" fmla="*/ 264319 h 1533525"/>
                  <a:gd name="connsiteX109" fmla="*/ 1062037 w 1624012"/>
                  <a:gd name="connsiteY109" fmla="*/ 304800 h 1533525"/>
                  <a:gd name="connsiteX110" fmla="*/ 995362 w 1624012"/>
                  <a:gd name="connsiteY110" fmla="*/ 352425 h 1533525"/>
                  <a:gd name="connsiteX111" fmla="*/ 973931 w 1624012"/>
                  <a:gd name="connsiteY111" fmla="*/ 383381 h 1533525"/>
                  <a:gd name="connsiteX112" fmla="*/ 1000125 w 1624012"/>
                  <a:gd name="connsiteY112" fmla="*/ 428625 h 1533525"/>
                  <a:gd name="connsiteX113" fmla="*/ 983456 w 1624012"/>
                  <a:gd name="connsiteY113" fmla="*/ 466725 h 1533525"/>
                  <a:gd name="connsiteX114" fmla="*/ 1000125 w 1624012"/>
                  <a:gd name="connsiteY114" fmla="*/ 519113 h 1533525"/>
                  <a:gd name="connsiteX115" fmla="*/ 1033462 w 1624012"/>
                  <a:gd name="connsiteY115" fmla="*/ 519113 h 1533525"/>
                  <a:gd name="connsiteX116" fmla="*/ 1019175 w 1624012"/>
                  <a:gd name="connsiteY116" fmla="*/ 552450 h 1533525"/>
                  <a:gd name="connsiteX117" fmla="*/ 1035843 w 1624012"/>
                  <a:gd name="connsiteY117" fmla="*/ 590550 h 1533525"/>
                  <a:gd name="connsiteX118" fmla="*/ 1035843 w 1624012"/>
                  <a:gd name="connsiteY118" fmla="*/ 607219 h 1533525"/>
                  <a:gd name="connsiteX119" fmla="*/ 1045368 w 1624012"/>
                  <a:gd name="connsiteY119" fmla="*/ 645319 h 1533525"/>
                  <a:gd name="connsiteX120" fmla="*/ 1064418 w 1624012"/>
                  <a:gd name="connsiteY120" fmla="*/ 645319 h 1533525"/>
                  <a:gd name="connsiteX121" fmla="*/ 1078706 w 1624012"/>
                  <a:gd name="connsiteY121" fmla="*/ 666750 h 1533525"/>
                  <a:gd name="connsiteX122" fmla="*/ 1085850 w 1624012"/>
                  <a:gd name="connsiteY122" fmla="*/ 688181 h 1533525"/>
                  <a:gd name="connsiteX123" fmla="*/ 1076325 w 1624012"/>
                  <a:gd name="connsiteY123" fmla="*/ 719138 h 1533525"/>
                  <a:gd name="connsiteX124" fmla="*/ 1021556 w 1624012"/>
                  <a:gd name="connsiteY124" fmla="*/ 714375 h 1533525"/>
                  <a:gd name="connsiteX125" fmla="*/ 1002506 w 1624012"/>
                  <a:gd name="connsiteY125" fmla="*/ 721519 h 1533525"/>
                  <a:gd name="connsiteX126" fmla="*/ 995362 w 1624012"/>
                  <a:gd name="connsiteY126" fmla="*/ 726281 h 1533525"/>
                  <a:gd name="connsiteX127" fmla="*/ 995362 w 1624012"/>
                  <a:gd name="connsiteY127" fmla="*/ 726281 h 1533525"/>
                  <a:gd name="connsiteX128" fmla="*/ 923925 w 1624012"/>
                  <a:gd name="connsiteY128" fmla="*/ 721519 h 1533525"/>
                  <a:gd name="connsiteX129" fmla="*/ 940593 w 1624012"/>
                  <a:gd name="connsiteY129" fmla="*/ 778669 h 1533525"/>
                  <a:gd name="connsiteX130" fmla="*/ 938212 w 1624012"/>
                  <a:gd name="connsiteY130" fmla="*/ 847725 h 1533525"/>
                  <a:gd name="connsiteX131" fmla="*/ 954881 w 1624012"/>
                  <a:gd name="connsiteY131" fmla="*/ 871538 h 1533525"/>
                  <a:gd name="connsiteX132" fmla="*/ 997743 w 1624012"/>
                  <a:gd name="connsiteY132" fmla="*/ 919163 h 1533525"/>
                  <a:gd name="connsiteX133" fmla="*/ 1012031 w 1624012"/>
                  <a:gd name="connsiteY133" fmla="*/ 954881 h 1533525"/>
                  <a:gd name="connsiteX134" fmla="*/ 1031081 w 1624012"/>
                  <a:gd name="connsiteY134" fmla="*/ 954881 h 1533525"/>
                  <a:gd name="connsiteX135" fmla="*/ 1071562 w 1624012"/>
                  <a:gd name="connsiteY135" fmla="*/ 940594 h 1533525"/>
                  <a:gd name="connsiteX136" fmla="*/ 1102518 w 1624012"/>
                  <a:gd name="connsiteY136" fmla="*/ 933450 h 1533525"/>
                  <a:gd name="connsiteX137" fmla="*/ 1159668 w 1624012"/>
                  <a:gd name="connsiteY137" fmla="*/ 997744 h 1533525"/>
                  <a:gd name="connsiteX138" fmla="*/ 1178718 w 1624012"/>
                  <a:gd name="connsiteY138" fmla="*/ 1052513 h 1533525"/>
                  <a:gd name="connsiteX139" fmla="*/ 1190625 w 1624012"/>
                  <a:gd name="connsiteY139" fmla="*/ 1081088 h 1533525"/>
                  <a:gd name="connsiteX140" fmla="*/ 1212056 w 1624012"/>
                  <a:gd name="connsiteY140" fmla="*/ 1109663 h 1533525"/>
                  <a:gd name="connsiteX141" fmla="*/ 1231106 w 1624012"/>
                  <a:gd name="connsiteY141" fmla="*/ 1102519 h 1533525"/>
                  <a:gd name="connsiteX142" fmla="*/ 1231106 w 1624012"/>
                  <a:gd name="connsiteY142" fmla="*/ 1131094 h 1533525"/>
                  <a:gd name="connsiteX143" fmla="*/ 1233487 w 1624012"/>
                  <a:gd name="connsiteY143" fmla="*/ 1145381 h 1533525"/>
                  <a:gd name="connsiteX144" fmla="*/ 1266825 w 1624012"/>
                  <a:gd name="connsiteY144" fmla="*/ 1181100 h 1533525"/>
                  <a:gd name="connsiteX145" fmla="*/ 1233487 w 1624012"/>
                  <a:gd name="connsiteY145" fmla="*/ 1181100 h 1533525"/>
                  <a:gd name="connsiteX146" fmla="*/ 1228725 w 1624012"/>
                  <a:gd name="connsiteY146" fmla="*/ 1223963 h 1533525"/>
                  <a:gd name="connsiteX147" fmla="*/ 1226343 w 1624012"/>
                  <a:gd name="connsiteY147" fmla="*/ 1243013 h 1533525"/>
                  <a:gd name="connsiteX148" fmla="*/ 1216818 w 1624012"/>
                  <a:gd name="connsiteY148" fmla="*/ 1264444 h 1533525"/>
                  <a:gd name="connsiteX149" fmla="*/ 1190625 w 1624012"/>
                  <a:gd name="connsiteY149" fmla="*/ 1238250 h 1533525"/>
                  <a:gd name="connsiteX150" fmla="*/ 1157287 w 1624012"/>
                  <a:gd name="connsiteY150" fmla="*/ 1209675 h 1533525"/>
                  <a:gd name="connsiteX151" fmla="*/ 1131093 w 1624012"/>
                  <a:gd name="connsiteY151" fmla="*/ 1185863 h 1533525"/>
                  <a:gd name="connsiteX152" fmla="*/ 1107281 w 1624012"/>
                  <a:gd name="connsiteY152" fmla="*/ 1219200 h 1533525"/>
                  <a:gd name="connsiteX153" fmla="*/ 1104900 w 1624012"/>
                  <a:gd name="connsiteY153" fmla="*/ 1264444 h 1533525"/>
                  <a:gd name="connsiteX154" fmla="*/ 1062037 w 1624012"/>
                  <a:gd name="connsiteY154" fmla="*/ 1259681 h 1533525"/>
                  <a:gd name="connsiteX155" fmla="*/ 1026318 w 1624012"/>
                  <a:gd name="connsiteY155" fmla="*/ 1288256 h 1533525"/>
                  <a:gd name="connsiteX156" fmla="*/ 1007268 w 1624012"/>
                  <a:gd name="connsiteY156" fmla="*/ 1240631 h 1533525"/>
                  <a:gd name="connsiteX157" fmla="*/ 947737 w 1624012"/>
                  <a:gd name="connsiteY157" fmla="*/ 1231106 h 1533525"/>
                  <a:gd name="connsiteX158" fmla="*/ 921543 w 1624012"/>
                  <a:gd name="connsiteY158" fmla="*/ 1297781 h 1533525"/>
                  <a:gd name="connsiteX159" fmla="*/ 885825 w 1624012"/>
                  <a:gd name="connsiteY159" fmla="*/ 1278731 h 1533525"/>
                  <a:gd name="connsiteX160" fmla="*/ 816768 w 1624012"/>
                  <a:gd name="connsiteY160" fmla="*/ 1295400 h 1533525"/>
                  <a:gd name="connsiteX161" fmla="*/ 757237 w 1624012"/>
                  <a:gd name="connsiteY161" fmla="*/ 1259681 h 1533525"/>
                  <a:gd name="connsiteX162" fmla="*/ 742950 w 1624012"/>
                  <a:gd name="connsiteY162" fmla="*/ 1312069 h 1533525"/>
                  <a:gd name="connsiteX163" fmla="*/ 704850 w 1624012"/>
                  <a:gd name="connsiteY163" fmla="*/ 1345406 h 1533525"/>
                  <a:gd name="connsiteX164" fmla="*/ 692943 w 1624012"/>
                  <a:gd name="connsiteY164" fmla="*/ 1366838 h 1533525"/>
                  <a:gd name="connsiteX165" fmla="*/ 671512 w 1624012"/>
                  <a:gd name="connsiteY165" fmla="*/ 1509713 h 1533525"/>
                  <a:gd name="connsiteX166" fmla="*/ 633412 w 1624012"/>
                  <a:gd name="connsiteY166" fmla="*/ 1490663 h 1533525"/>
                  <a:gd name="connsiteX167" fmla="*/ 614362 w 1624012"/>
                  <a:gd name="connsiteY167" fmla="*/ 1504950 h 1533525"/>
                  <a:gd name="connsiteX168" fmla="*/ 581025 w 1624012"/>
                  <a:gd name="connsiteY168" fmla="*/ 1531144 h 1533525"/>
                  <a:gd name="connsiteX169" fmla="*/ 523875 w 1624012"/>
                  <a:gd name="connsiteY169" fmla="*/ 1502569 h 1533525"/>
                  <a:gd name="connsiteX170" fmla="*/ 514350 w 1624012"/>
                  <a:gd name="connsiteY170" fmla="*/ 1490663 h 1533525"/>
                  <a:gd name="connsiteX171" fmla="*/ 483393 w 1624012"/>
                  <a:gd name="connsiteY171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343025 w 1624012"/>
                  <a:gd name="connsiteY97" fmla="*/ 61913 h 1533525"/>
                  <a:gd name="connsiteX98" fmla="*/ 1381125 w 1624012"/>
                  <a:gd name="connsiteY98" fmla="*/ 0 h 1533525"/>
                  <a:gd name="connsiteX99" fmla="*/ 1419225 w 1624012"/>
                  <a:gd name="connsiteY99" fmla="*/ 11906 h 1533525"/>
                  <a:gd name="connsiteX100" fmla="*/ 1438275 w 1624012"/>
                  <a:gd name="connsiteY100" fmla="*/ 69056 h 1533525"/>
                  <a:gd name="connsiteX101" fmla="*/ 1440656 w 1624012"/>
                  <a:gd name="connsiteY101" fmla="*/ 104775 h 1533525"/>
                  <a:gd name="connsiteX102" fmla="*/ 1490662 w 1624012"/>
                  <a:gd name="connsiteY102" fmla="*/ 142875 h 1533525"/>
                  <a:gd name="connsiteX103" fmla="*/ 1543050 w 1624012"/>
                  <a:gd name="connsiteY103" fmla="*/ 147638 h 1533525"/>
                  <a:gd name="connsiteX104" fmla="*/ 1547812 w 1624012"/>
                  <a:gd name="connsiteY104" fmla="*/ 121444 h 1533525"/>
                  <a:gd name="connsiteX105" fmla="*/ 1574006 w 1624012"/>
                  <a:gd name="connsiteY105" fmla="*/ 121444 h 1533525"/>
                  <a:gd name="connsiteX106" fmla="*/ 1624012 w 1624012"/>
                  <a:gd name="connsiteY106" fmla="*/ 109538 h 1533525"/>
                  <a:gd name="connsiteX107" fmla="*/ 1057275 w 1624012"/>
                  <a:gd name="connsiteY107" fmla="*/ 264319 h 1533525"/>
                  <a:gd name="connsiteX108" fmla="*/ 1062037 w 1624012"/>
                  <a:gd name="connsiteY108" fmla="*/ 304800 h 1533525"/>
                  <a:gd name="connsiteX109" fmla="*/ 995362 w 1624012"/>
                  <a:gd name="connsiteY109" fmla="*/ 352425 h 1533525"/>
                  <a:gd name="connsiteX110" fmla="*/ 973931 w 1624012"/>
                  <a:gd name="connsiteY110" fmla="*/ 383381 h 1533525"/>
                  <a:gd name="connsiteX111" fmla="*/ 1000125 w 1624012"/>
                  <a:gd name="connsiteY111" fmla="*/ 428625 h 1533525"/>
                  <a:gd name="connsiteX112" fmla="*/ 983456 w 1624012"/>
                  <a:gd name="connsiteY112" fmla="*/ 466725 h 1533525"/>
                  <a:gd name="connsiteX113" fmla="*/ 1000125 w 1624012"/>
                  <a:gd name="connsiteY113" fmla="*/ 519113 h 1533525"/>
                  <a:gd name="connsiteX114" fmla="*/ 1033462 w 1624012"/>
                  <a:gd name="connsiteY114" fmla="*/ 519113 h 1533525"/>
                  <a:gd name="connsiteX115" fmla="*/ 1019175 w 1624012"/>
                  <a:gd name="connsiteY115" fmla="*/ 552450 h 1533525"/>
                  <a:gd name="connsiteX116" fmla="*/ 1035843 w 1624012"/>
                  <a:gd name="connsiteY116" fmla="*/ 590550 h 1533525"/>
                  <a:gd name="connsiteX117" fmla="*/ 1035843 w 1624012"/>
                  <a:gd name="connsiteY117" fmla="*/ 607219 h 1533525"/>
                  <a:gd name="connsiteX118" fmla="*/ 1045368 w 1624012"/>
                  <a:gd name="connsiteY118" fmla="*/ 645319 h 1533525"/>
                  <a:gd name="connsiteX119" fmla="*/ 1064418 w 1624012"/>
                  <a:gd name="connsiteY119" fmla="*/ 645319 h 1533525"/>
                  <a:gd name="connsiteX120" fmla="*/ 1078706 w 1624012"/>
                  <a:gd name="connsiteY120" fmla="*/ 666750 h 1533525"/>
                  <a:gd name="connsiteX121" fmla="*/ 1085850 w 1624012"/>
                  <a:gd name="connsiteY121" fmla="*/ 688181 h 1533525"/>
                  <a:gd name="connsiteX122" fmla="*/ 1076325 w 1624012"/>
                  <a:gd name="connsiteY122" fmla="*/ 719138 h 1533525"/>
                  <a:gd name="connsiteX123" fmla="*/ 1021556 w 1624012"/>
                  <a:gd name="connsiteY123" fmla="*/ 714375 h 1533525"/>
                  <a:gd name="connsiteX124" fmla="*/ 1002506 w 1624012"/>
                  <a:gd name="connsiteY124" fmla="*/ 721519 h 1533525"/>
                  <a:gd name="connsiteX125" fmla="*/ 995362 w 1624012"/>
                  <a:gd name="connsiteY125" fmla="*/ 726281 h 1533525"/>
                  <a:gd name="connsiteX126" fmla="*/ 995362 w 1624012"/>
                  <a:gd name="connsiteY126" fmla="*/ 726281 h 1533525"/>
                  <a:gd name="connsiteX127" fmla="*/ 923925 w 1624012"/>
                  <a:gd name="connsiteY127" fmla="*/ 721519 h 1533525"/>
                  <a:gd name="connsiteX128" fmla="*/ 940593 w 1624012"/>
                  <a:gd name="connsiteY128" fmla="*/ 778669 h 1533525"/>
                  <a:gd name="connsiteX129" fmla="*/ 938212 w 1624012"/>
                  <a:gd name="connsiteY129" fmla="*/ 847725 h 1533525"/>
                  <a:gd name="connsiteX130" fmla="*/ 954881 w 1624012"/>
                  <a:gd name="connsiteY130" fmla="*/ 871538 h 1533525"/>
                  <a:gd name="connsiteX131" fmla="*/ 997743 w 1624012"/>
                  <a:gd name="connsiteY131" fmla="*/ 919163 h 1533525"/>
                  <a:gd name="connsiteX132" fmla="*/ 1012031 w 1624012"/>
                  <a:gd name="connsiteY132" fmla="*/ 954881 h 1533525"/>
                  <a:gd name="connsiteX133" fmla="*/ 1031081 w 1624012"/>
                  <a:gd name="connsiteY133" fmla="*/ 954881 h 1533525"/>
                  <a:gd name="connsiteX134" fmla="*/ 1071562 w 1624012"/>
                  <a:gd name="connsiteY134" fmla="*/ 940594 h 1533525"/>
                  <a:gd name="connsiteX135" fmla="*/ 1102518 w 1624012"/>
                  <a:gd name="connsiteY135" fmla="*/ 933450 h 1533525"/>
                  <a:gd name="connsiteX136" fmla="*/ 1159668 w 1624012"/>
                  <a:gd name="connsiteY136" fmla="*/ 997744 h 1533525"/>
                  <a:gd name="connsiteX137" fmla="*/ 1178718 w 1624012"/>
                  <a:gd name="connsiteY137" fmla="*/ 1052513 h 1533525"/>
                  <a:gd name="connsiteX138" fmla="*/ 1190625 w 1624012"/>
                  <a:gd name="connsiteY138" fmla="*/ 1081088 h 1533525"/>
                  <a:gd name="connsiteX139" fmla="*/ 1212056 w 1624012"/>
                  <a:gd name="connsiteY139" fmla="*/ 1109663 h 1533525"/>
                  <a:gd name="connsiteX140" fmla="*/ 1231106 w 1624012"/>
                  <a:gd name="connsiteY140" fmla="*/ 1102519 h 1533525"/>
                  <a:gd name="connsiteX141" fmla="*/ 1231106 w 1624012"/>
                  <a:gd name="connsiteY141" fmla="*/ 1131094 h 1533525"/>
                  <a:gd name="connsiteX142" fmla="*/ 1233487 w 1624012"/>
                  <a:gd name="connsiteY142" fmla="*/ 1145381 h 1533525"/>
                  <a:gd name="connsiteX143" fmla="*/ 1266825 w 1624012"/>
                  <a:gd name="connsiteY143" fmla="*/ 1181100 h 1533525"/>
                  <a:gd name="connsiteX144" fmla="*/ 1233487 w 1624012"/>
                  <a:gd name="connsiteY144" fmla="*/ 1181100 h 1533525"/>
                  <a:gd name="connsiteX145" fmla="*/ 1228725 w 1624012"/>
                  <a:gd name="connsiteY145" fmla="*/ 1223963 h 1533525"/>
                  <a:gd name="connsiteX146" fmla="*/ 1226343 w 1624012"/>
                  <a:gd name="connsiteY146" fmla="*/ 1243013 h 1533525"/>
                  <a:gd name="connsiteX147" fmla="*/ 1216818 w 1624012"/>
                  <a:gd name="connsiteY147" fmla="*/ 1264444 h 1533525"/>
                  <a:gd name="connsiteX148" fmla="*/ 1190625 w 1624012"/>
                  <a:gd name="connsiteY148" fmla="*/ 1238250 h 1533525"/>
                  <a:gd name="connsiteX149" fmla="*/ 1157287 w 1624012"/>
                  <a:gd name="connsiteY149" fmla="*/ 1209675 h 1533525"/>
                  <a:gd name="connsiteX150" fmla="*/ 1131093 w 1624012"/>
                  <a:gd name="connsiteY150" fmla="*/ 1185863 h 1533525"/>
                  <a:gd name="connsiteX151" fmla="*/ 1107281 w 1624012"/>
                  <a:gd name="connsiteY151" fmla="*/ 1219200 h 1533525"/>
                  <a:gd name="connsiteX152" fmla="*/ 1104900 w 1624012"/>
                  <a:gd name="connsiteY152" fmla="*/ 1264444 h 1533525"/>
                  <a:gd name="connsiteX153" fmla="*/ 1062037 w 1624012"/>
                  <a:gd name="connsiteY153" fmla="*/ 1259681 h 1533525"/>
                  <a:gd name="connsiteX154" fmla="*/ 1026318 w 1624012"/>
                  <a:gd name="connsiteY154" fmla="*/ 1288256 h 1533525"/>
                  <a:gd name="connsiteX155" fmla="*/ 1007268 w 1624012"/>
                  <a:gd name="connsiteY155" fmla="*/ 1240631 h 1533525"/>
                  <a:gd name="connsiteX156" fmla="*/ 947737 w 1624012"/>
                  <a:gd name="connsiteY156" fmla="*/ 1231106 h 1533525"/>
                  <a:gd name="connsiteX157" fmla="*/ 921543 w 1624012"/>
                  <a:gd name="connsiteY157" fmla="*/ 1297781 h 1533525"/>
                  <a:gd name="connsiteX158" fmla="*/ 885825 w 1624012"/>
                  <a:gd name="connsiteY158" fmla="*/ 1278731 h 1533525"/>
                  <a:gd name="connsiteX159" fmla="*/ 816768 w 1624012"/>
                  <a:gd name="connsiteY159" fmla="*/ 1295400 h 1533525"/>
                  <a:gd name="connsiteX160" fmla="*/ 757237 w 1624012"/>
                  <a:gd name="connsiteY160" fmla="*/ 1259681 h 1533525"/>
                  <a:gd name="connsiteX161" fmla="*/ 742950 w 1624012"/>
                  <a:gd name="connsiteY161" fmla="*/ 1312069 h 1533525"/>
                  <a:gd name="connsiteX162" fmla="*/ 704850 w 1624012"/>
                  <a:gd name="connsiteY162" fmla="*/ 1345406 h 1533525"/>
                  <a:gd name="connsiteX163" fmla="*/ 692943 w 1624012"/>
                  <a:gd name="connsiteY163" fmla="*/ 1366838 h 1533525"/>
                  <a:gd name="connsiteX164" fmla="*/ 671512 w 1624012"/>
                  <a:gd name="connsiteY164" fmla="*/ 1509713 h 1533525"/>
                  <a:gd name="connsiteX165" fmla="*/ 633412 w 1624012"/>
                  <a:gd name="connsiteY165" fmla="*/ 1490663 h 1533525"/>
                  <a:gd name="connsiteX166" fmla="*/ 614362 w 1624012"/>
                  <a:gd name="connsiteY166" fmla="*/ 1504950 h 1533525"/>
                  <a:gd name="connsiteX167" fmla="*/ 581025 w 1624012"/>
                  <a:gd name="connsiteY167" fmla="*/ 1531144 h 1533525"/>
                  <a:gd name="connsiteX168" fmla="*/ 523875 w 1624012"/>
                  <a:gd name="connsiteY168" fmla="*/ 1502569 h 1533525"/>
                  <a:gd name="connsiteX169" fmla="*/ 514350 w 1624012"/>
                  <a:gd name="connsiteY169" fmla="*/ 1490663 h 1533525"/>
                  <a:gd name="connsiteX170" fmla="*/ 483393 w 1624012"/>
                  <a:gd name="connsiteY170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343025 w 1624012"/>
                  <a:gd name="connsiteY97" fmla="*/ 61913 h 1533525"/>
                  <a:gd name="connsiteX98" fmla="*/ 1419225 w 1624012"/>
                  <a:gd name="connsiteY98" fmla="*/ 11906 h 1533525"/>
                  <a:gd name="connsiteX99" fmla="*/ 1438275 w 1624012"/>
                  <a:gd name="connsiteY99" fmla="*/ 69056 h 1533525"/>
                  <a:gd name="connsiteX100" fmla="*/ 1440656 w 1624012"/>
                  <a:gd name="connsiteY100" fmla="*/ 104775 h 1533525"/>
                  <a:gd name="connsiteX101" fmla="*/ 1490662 w 1624012"/>
                  <a:gd name="connsiteY101" fmla="*/ 142875 h 1533525"/>
                  <a:gd name="connsiteX102" fmla="*/ 1543050 w 1624012"/>
                  <a:gd name="connsiteY102" fmla="*/ 147638 h 1533525"/>
                  <a:gd name="connsiteX103" fmla="*/ 1547812 w 1624012"/>
                  <a:gd name="connsiteY103" fmla="*/ 121444 h 1533525"/>
                  <a:gd name="connsiteX104" fmla="*/ 1574006 w 1624012"/>
                  <a:gd name="connsiteY104" fmla="*/ 121444 h 1533525"/>
                  <a:gd name="connsiteX105" fmla="*/ 1624012 w 1624012"/>
                  <a:gd name="connsiteY105" fmla="*/ 109538 h 1533525"/>
                  <a:gd name="connsiteX106" fmla="*/ 1057275 w 1624012"/>
                  <a:gd name="connsiteY106" fmla="*/ 264319 h 1533525"/>
                  <a:gd name="connsiteX107" fmla="*/ 1062037 w 1624012"/>
                  <a:gd name="connsiteY107" fmla="*/ 304800 h 1533525"/>
                  <a:gd name="connsiteX108" fmla="*/ 995362 w 1624012"/>
                  <a:gd name="connsiteY108" fmla="*/ 352425 h 1533525"/>
                  <a:gd name="connsiteX109" fmla="*/ 973931 w 1624012"/>
                  <a:gd name="connsiteY109" fmla="*/ 383381 h 1533525"/>
                  <a:gd name="connsiteX110" fmla="*/ 1000125 w 1624012"/>
                  <a:gd name="connsiteY110" fmla="*/ 428625 h 1533525"/>
                  <a:gd name="connsiteX111" fmla="*/ 983456 w 1624012"/>
                  <a:gd name="connsiteY111" fmla="*/ 466725 h 1533525"/>
                  <a:gd name="connsiteX112" fmla="*/ 1000125 w 1624012"/>
                  <a:gd name="connsiteY112" fmla="*/ 519113 h 1533525"/>
                  <a:gd name="connsiteX113" fmla="*/ 1033462 w 1624012"/>
                  <a:gd name="connsiteY113" fmla="*/ 519113 h 1533525"/>
                  <a:gd name="connsiteX114" fmla="*/ 1019175 w 1624012"/>
                  <a:gd name="connsiteY114" fmla="*/ 552450 h 1533525"/>
                  <a:gd name="connsiteX115" fmla="*/ 1035843 w 1624012"/>
                  <a:gd name="connsiteY115" fmla="*/ 590550 h 1533525"/>
                  <a:gd name="connsiteX116" fmla="*/ 1035843 w 1624012"/>
                  <a:gd name="connsiteY116" fmla="*/ 607219 h 1533525"/>
                  <a:gd name="connsiteX117" fmla="*/ 1045368 w 1624012"/>
                  <a:gd name="connsiteY117" fmla="*/ 645319 h 1533525"/>
                  <a:gd name="connsiteX118" fmla="*/ 1064418 w 1624012"/>
                  <a:gd name="connsiteY118" fmla="*/ 645319 h 1533525"/>
                  <a:gd name="connsiteX119" fmla="*/ 1078706 w 1624012"/>
                  <a:gd name="connsiteY119" fmla="*/ 666750 h 1533525"/>
                  <a:gd name="connsiteX120" fmla="*/ 1085850 w 1624012"/>
                  <a:gd name="connsiteY120" fmla="*/ 688181 h 1533525"/>
                  <a:gd name="connsiteX121" fmla="*/ 1076325 w 1624012"/>
                  <a:gd name="connsiteY121" fmla="*/ 719138 h 1533525"/>
                  <a:gd name="connsiteX122" fmla="*/ 1021556 w 1624012"/>
                  <a:gd name="connsiteY122" fmla="*/ 714375 h 1533525"/>
                  <a:gd name="connsiteX123" fmla="*/ 1002506 w 1624012"/>
                  <a:gd name="connsiteY123" fmla="*/ 721519 h 1533525"/>
                  <a:gd name="connsiteX124" fmla="*/ 995362 w 1624012"/>
                  <a:gd name="connsiteY124" fmla="*/ 726281 h 1533525"/>
                  <a:gd name="connsiteX125" fmla="*/ 995362 w 1624012"/>
                  <a:gd name="connsiteY125" fmla="*/ 726281 h 1533525"/>
                  <a:gd name="connsiteX126" fmla="*/ 923925 w 1624012"/>
                  <a:gd name="connsiteY126" fmla="*/ 721519 h 1533525"/>
                  <a:gd name="connsiteX127" fmla="*/ 940593 w 1624012"/>
                  <a:gd name="connsiteY127" fmla="*/ 778669 h 1533525"/>
                  <a:gd name="connsiteX128" fmla="*/ 938212 w 1624012"/>
                  <a:gd name="connsiteY128" fmla="*/ 847725 h 1533525"/>
                  <a:gd name="connsiteX129" fmla="*/ 954881 w 1624012"/>
                  <a:gd name="connsiteY129" fmla="*/ 871538 h 1533525"/>
                  <a:gd name="connsiteX130" fmla="*/ 997743 w 1624012"/>
                  <a:gd name="connsiteY130" fmla="*/ 919163 h 1533525"/>
                  <a:gd name="connsiteX131" fmla="*/ 1012031 w 1624012"/>
                  <a:gd name="connsiteY131" fmla="*/ 954881 h 1533525"/>
                  <a:gd name="connsiteX132" fmla="*/ 1031081 w 1624012"/>
                  <a:gd name="connsiteY132" fmla="*/ 954881 h 1533525"/>
                  <a:gd name="connsiteX133" fmla="*/ 1071562 w 1624012"/>
                  <a:gd name="connsiteY133" fmla="*/ 940594 h 1533525"/>
                  <a:gd name="connsiteX134" fmla="*/ 1102518 w 1624012"/>
                  <a:gd name="connsiteY134" fmla="*/ 933450 h 1533525"/>
                  <a:gd name="connsiteX135" fmla="*/ 1159668 w 1624012"/>
                  <a:gd name="connsiteY135" fmla="*/ 997744 h 1533525"/>
                  <a:gd name="connsiteX136" fmla="*/ 1178718 w 1624012"/>
                  <a:gd name="connsiteY136" fmla="*/ 1052513 h 1533525"/>
                  <a:gd name="connsiteX137" fmla="*/ 1190625 w 1624012"/>
                  <a:gd name="connsiteY137" fmla="*/ 1081088 h 1533525"/>
                  <a:gd name="connsiteX138" fmla="*/ 1212056 w 1624012"/>
                  <a:gd name="connsiteY138" fmla="*/ 1109663 h 1533525"/>
                  <a:gd name="connsiteX139" fmla="*/ 1231106 w 1624012"/>
                  <a:gd name="connsiteY139" fmla="*/ 1102519 h 1533525"/>
                  <a:gd name="connsiteX140" fmla="*/ 1231106 w 1624012"/>
                  <a:gd name="connsiteY140" fmla="*/ 1131094 h 1533525"/>
                  <a:gd name="connsiteX141" fmla="*/ 1233487 w 1624012"/>
                  <a:gd name="connsiteY141" fmla="*/ 1145381 h 1533525"/>
                  <a:gd name="connsiteX142" fmla="*/ 1266825 w 1624012"/>
                  <a:gd name="connsiteY142" fmla="*/ 1181100 h 1533525"/>
                  <a:gd name="connsiteX143" fmla="*/ 1233487 w 1624012"/>
                  <a:gd name="connsiteY143" fmla="*/ 1181100 h 1533525"/>
                  <a:gd name="connsiteX144" fmla="*/ 1228725 w 1624012"/>
                  <a:gd name="connsiteY144" fmla="*/ 1223963 h 1533525"/>
                  <a:gd name="connsiteX145" fmla="*/ 1226343 w 1624012"/>
                  <a:gd name="connsiteY145" fmla="*/ 1243013 h 1533525"/>
                  <a:gd name="connsiteX146" fmla="*/ 1216818 w 1624012"/>
                  <a:gd name="connsiteY146" fmla="*/ 1264444 h 1533525"/>
                  <a:gd name="connsiteX147" fmla="*/ 1190625 w 1624012"/>
                  <a:gd name="connsiteY147" fmla="*/ 1238250 h 1533525"/>
                  <a:gd name="connsiteX148" fmla="*/ 1157287 w 1624012"/>
                  <a:gd name="connsiteY148" fmla="*/ 1209675 h 1533525"/>
                  <a:gd name="connsiteX149" fmla="*/ 1131093 w 1624012"/>
                  <a:gd name="connsiteY149" fmla="*/ 1185863 h 1533525"/>
                  <a:gd name="connsiteX150" fmla="*/ 1107281 w 1624012"/>
                  <a:gd name="connsiteY150" fmla="*/ 1219200 h 1533525"/>
                  <a:gd name="connsiteX151" fmla="*/ 1104900 w 1624012"/>
                  <a:gd name="connsiteY151" fmla="*/ 1264444 h 1533525"/>
                  <a:gd name="connsiteX152" fmla="*/ 1062037 w 1624012"/>
                  <a:gd name="connsiteY152" fmla="*/ 1259681 h 1533525"/>
                  <a:gd name="connsiteX153" fmla="*/ 1026318 w 1624012"/>
                  <a:gd name="connsiteY153" fmla="*/ 1288256 h 1533525"/>
                  <a:gd name="connsiteX154" fmla="*/ 1007268 w 1624012"/>
                  <a:gd name="connsiteY154" fmla="*/ 1240631 h 1533525"/>
                  <a:gd name="connsiteX155" fmla="*/ 947737 w 1624012"/>
                  <a:gd name="connsiteY155" fmla="*/ 1231106 h 1533525"/>
                  <a:gd name="connsiteX156" fmla="*/ 921543 w 1624012"/>
                  <a:gd name="connsiteY156" fmla="*/ 1297781 h 1533525"/>
                  <a:gd name="connsiteX157" fmla="*/ 885825 w 1624012"/>
                  <a:gd name="connsiteY157" fmla="*/ 1278731 h 1533525"/>
                  <a:gd name="connsiteX158" fmla="*/ 816768 w 1624012"/>
                  <a:gd name="connsiteY158" fmla="*/ 1295400 h 1533525"/>
                  <a:gd name="connsiteX159" fmla="*/ 757237 w 1624012"/>
                  <a:gd name="connsiteY159" fmla="*/ 1259681 h 1533525"/>
                  <a:gd name="connsiteX160" fmla="*/ 742950 w 1624012"/>
                  <a:gd name="connsiteY160" fmla="*/ 1312069 h 1533525"/>
                  <a:gd name="connsiteX161" fmla="*/ 704850 w 1624012"/>
                  <a:gd name="connsiteY161" fmla="*/ 1345406 h 1533525"/>
                  <a:gd name="connsiteX162" fmla="*/ 692943 w 1624012"/>
                  <a:gd name="connsiteY162" fmla="*/ 1366838 h 1533525"/>
                  <a:gd name="connsiteX163" fmla="*/ 671512 w 1624012"/>
                  <a:gd name="connsiteY163" fmla="*/ 1509713 h 1533525"/>
                  <a:gd name="connsiteX164" fmla="*/ 633412 w 1624012"/>
                  <a:gd name="connsiteY164" fmla="*/ 1490663 h 1533525"/>
                  <a:gd name="connsiteX165" fmla="*/ 614362 w 1624012"/>
                  <a:gd name="connsiteY165" fmla="*/ 1504950 h 1533525"/>
                  <a:gd name="connsiteX166" fmla="*/ 581025 w 1624012"/>
                  <a:gd name="connsiteY166" fmla="*/ 1531144 h 1533525"/>
                  <a:gd name="connsiteX167" fmla="*/ 523875 w 1624012"/>
                  <a:gd name="connsiteY167" fmla="*/ 1502569 h 1533525"/>
                  <a:gd name="connsiteX168" fmla="*/ 514350 w 1624012"/>
                  <a:gd name="connsiteY168" fmla="*/ 1490663 h 1533525"/>
                  <a:gd name="connsiteX169" fmla="*/ 483393 w 1624012"/>
                  <a:gd name="connsiteY169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343025 w 1624012"/>
                  <a:gd name="connsiteY97" fmla="*/ 61913 h 1533525"/>
                  <a:gd name="connsiteX98" fmla="*/ 1438275 w 1624012"/>
                  <a:gd name="connsiteY98" fmla="*/ 69056 h 1533525"/>
                  <a:gd name="connsiteX99" fmla="*/ 1440656 w 1624012"/>
                  <a:gd name="connsiteY99" fmla="*/ 104775 h 1533525"/>
                  <a:gd name="connsiteX100" fmla="*/ 1490662 w 1624012"/>
                  <a:gd name="connsiteY100" fmla="*/ 142875 h 1533525"/>
                  <a:gd name="connsiteX101" fmla="*/ 1543050 w 1624012"/>
                  <a:gd name="connsiteY101" fmla="*/ 147638 h 1533525"/>
                  <a:gd name="connsiteX102" fmla="*/ 1547812 w 1624012"/>
                  <a:gd name="connsiteY102" fmla="*/ 121444 h 1533525"/>
                  <a:gd name="connsiteX103" fmla="*/ 1574006 w 1624012"/>
                  <a:gd name="connsiteY103" fmla="*/ 121444 h 1533525"/>
                  <a:gd name="connsiteX104" fmla="*/ 1624012 w 1624012"/>
                  <a:gd name="connsiteY104" fmla="*/ 109538 h 1533525"/>
                  <a:gd name="connsiteX105" fmla="*/ 1057275 w 1624012"/>
                  <a:gd name="connsiteY105" fmla="*/ 264319 h 1533525"/>
                  <a:gd name="connsiteX106" fmla="*/ 1062037 w 1624012"/>
                  <a:gd name="connsiteY106" fmla="*/ 304800 h 1533525"/>
                  <a:gd name="connsiteX107" fmla="*/ 995362 w 1624012"/>
                  <a:gd name="connsiteY107" fmla="*/ 352425 h 1533525"/>
                  <a:gd name="connsiteX108" fmla="*/ 973931 w 1624012"/>
                  <a:gd name="connsiteY108" fmla="*/ 383381 h 1533525"/>
                  <a:gd name="connsiteX109" fmla="*/ 1000125 w 1624012"/>
                  <a:gd name="connsiteY109" fmla="*/ 428625 h 1533525"/>
                  <a:gd name="connsiteX110" fmla="*/ 983456 w 1624012"/>
                  <a:gd name="connsiteY110" fmla="*/ 466725 h 1533525"/>
                  <a:gd name="connsiteX111" fmla="*/ 1000125 w 1624012"/>
                  <a:gd name="connsiteY111" fmla="*/ 519113 h 1533525"/>
                  <a:gd name="connsiteX112" fmla="*/ 1033462 w 1624012"/>
                  <a:gd name="connsiteY112" fmla="*/ 519113 h 1533525"/>
                  <a:gd name="connsiteX113" fmla="*/ 1019175 w 1624012"/>
                  <a:gd name="connsiteY113" fmla="*/ 552450 h 1533525"/>
                  <a:gd name="connsiteX114" fmla="*/ 1035843 w 1624012"/>
                  <a:gd name="connsiteY114" fmla="*/ 590550 h 1533525"/>
                  <a:gd name="connsiteX115" fmla="*/ 1035843 w 1624012"/>
                  <a:gd name="connsiteY115" fmla="*/ 607219 h 1533525"/>
                  <a:gd name="connsiteX116" fmla="*/ 1045368 w 1624012"/>
                  <a:gd name="connsiteY116" fmla="*/ 645319 h 1533525"/>
                  <a:gd name="connsiteX117" fmla="*/ 1064418 w 1624012"/>
                  <a:gd name="connsiteY117" fmla="*/ 645319 h 1533525"/>
                  <a:gd name="connsiteX118" fmla="*/ 1078706 w 1624012"/>
                  <a:gd name="connsiteY118" fmla="*/ 666750 h 1533525"/>
                  <a:gd name="connsiteX119" fmla="*/ 1085850 w 1624012"/>
                  <a:gd name="connsiteY119" fmla="*/ 688181 h 1533525"/>
                  <a:gd name="connsiteX120" fmla="*/ 1076325 w 1624012"/>
                  <a:gd name="connsiteY120" fmla="*/ 719138 h 1533525"/>
                  <a:gd name="connsiteX121" fmla="*/ 1021556 w 1624012"/>
                  <a:gd name="connsiteY121" fmla="*/ 714375 h 1533525"/>
                  <a:gd name="connsiteX122" fmla="*/ 1002506 w 1624012"/>
                  <a:gd name="connsiteY122" fmla="*/ 721519 h 1533525"/>
                  <a:gd name="connsiteX123" fmla="*/ 995362 w 1624012"/>
                  <a:gd name="connsiteY123" fmla="*/ 726281 h 1533525"/>
                  <a:gd name="connsiteX124" fmla="*/ 995362 w 1624012"/>
                  <a:gd name="connsiteY124" fmla="*/ 726281 h 1533525"/>
                  <a:gd name="connsiteX125" fmla="*/ 923925 w 1624012"/>
                  <a:gd name="connsiteY125" fmla="*/ 721519 h 1533525"/>
                  <a:gd name="connsiteX126" fmla="*/ 940593 w 1624012"/>
                  <a:gd name="connsiteY126" fmla="*/ 778669 h 1533525"/>
                  <a:gd name="connsiteX127" fmla="*/ 938212 w 1624012"/>
                  <a:gd name="connsiteY127" fmla="*/ 847725 h 1533525"/>
                  <a:gd name="connsiteX128" fmla="*/ 954881 w 1624012"/>
                  <a:gd name="connsiteY128" fmla="*/ 871538 h 1533525"/>
                  <a:gd name="connsiteX129" fmla="*/ 997743 w 1624012"/>
                  <a:gd name="connsiteY129" fmla="*/ 919163 h 1533525"/>
                  <a:gd name="connsiteX130" fmla="*/ 1012031 w 1624012"/>
                  <a:gd name="connsiteY130" fmla="*/ 954881 h 1533525"/>
                  <a:gd name="connsiteX131" fmla="*/ 1031081 w 1624012"/>
                  <a:gd name="connsiteY131" fmla="*/ 954881 h 1533525"/>
                  <a:gd name="connsiteX132" fmla="*/ 1071562 w 1624012"/>
                  <a:gd name="connsiteY132" fmla="*/ 940594 h 1533525"/>
                  <a:gd name="connsiteX133" fmla="*/ 1102518 w 1624012"/>
                  <a:gd name="connsiteY133" fmla="*/ 933450 h 1533525"/>
                  <a:gd name="connsiteX134" fmla="*/ 1159668 w 1624012"/>
                  <a:gd name="connsiteY134" fmla="*/ 997744 h 1533525"/>
                  <a:gd name="connsiteX135" fmla="*/ 1178718 w 1624012"/>
                  <a:gd name="connsiteY135" fmla="*/ 1052513 h 1533525"/>
                  <a:gd name="connsiteX136" fmla="*/ 1190625 w 1624012"/>
                  <a:gd name="connsiteY136" fmla="*/ 1081088 h 1533525"/>
                  <a:gd name="connsiteX137" fmla="*/ 1212056 w 1624012"/>
                  <a:gd name="connsiteY137" fmla="*/ 1109663 h 1533525"/>
                  <a:gd name="connsiteX138" fmla="*/ 1231106 w 1624012"/>
                  <a:gd name="connsiteY138" fmla="*/ 1102519 h 1533525"/>
                  <a:gd name="connsiteX139" fmla="*/ 1231106 w 1624012"/>
                  <a:gd name="connsiteY139" fmla="*/ 1131094 h 1533525"/>
                  <a:gd name="connsiteX140" fmla="*/ 1233487 w 1624012"/>
                  <a:gd name="connsiteY140" fmla="*/ 1145381 h 1533525"/>
                  <a:gd name="connsiteX141" fmla="*/ 1266825 w 1624012"/>
                  <a:gd name="connsiteY141" fmla="*/ 1181100 h 1533525"/>
                  <a:gd name="connsiteX142" fmla="*/ 1233487 w 1624012"/>
                  <a:gd name="connsiteY142" fmla="*/ 1181100 h 1533525"/>
                  <a:gd name="connsiteX143" fmla="*/ 1228725 w 1624012"/>
                  <a:gd name="connsiteY143" fmla="*/ 1223963 h 1533525"/>
                  <a:gd name="connsiteX144" fmla="*/ 1226343 w 1624012"/>
                  <a:gd name="connsiteY144" fmla="*/ 1243013 h 1533525"/>
                  <a:gd name="connsiteX145" fmla="*/ 1216818 w 1624012"/>
                  <a:gd name="connsiteY145" fmla="*/ 1264444 h 1533525"/>
                  <a:gd name="connsiteX146" fmla="*/ 1190625 w 1624012"/>
                  <a:gd name="connsiteY146" fmla="*/ 1238250 h 1533525"/>
                  <a:gd name="connsiteX147" fmla="*/ 1157287 w 1624012"/>
                  <a:gd name="connsiteY147" fmla="*/ 1209675 h 1533525"/>
                  <a:gd name="connsiteX148" fmla="*/ 1131093 w 1624012"/>
                  <a:gd name="connsiteY148" fmla="*/ 1185863 h 1533525"/>
                  <a:gd name="connsiteX149" fmla="*/ 1107281 w 1624012"/>
                  <a:gd name="connsiteY149" fmla="*/ 1219200 h 1533525"/>
                  <a:gd name="connsiteX150" fmla="*/ 1104900 w 1624012"/>
                  <a:gd name="connsiteY150" fmla="*/ 1264444 h 1533525"/>
                  <a:gd name="connsiteX151" fmla="*/ 1062037 w 1624012"/>
                  <a:gd name="connsiteY151" fmla="*/ 1259681 h 1533525"/>
                  <a:gd name="connsiteX152" fmla="*/ 1026318 w 1624012"/>
                  <a:gd name="connsiteY152" fmla="*/ 1288256 h 1533525"/>
                  <a:gd name="connsiteX153" fmla="*/ 1007268 w 1624012"/>
                  <a:gd name="connsiteY153" fmla="*/ 1240631 h 1533525"/>
                  <a:gd name="connsiteX154" fmla="*/ 947737 w 1624012"/>
                  <a:gd name="connsiteY154" fmla="*/ 1231106 h 1533525"/>
                  <a:gd name="connsiteX155" fmla="*/ 921543 w 1624012"/>
                  <a:gd name="connsiteY155" fmla="*/ 1297781 h 1533525"/>
                  <a:gd name="connsiteX156" fmla="*/ 885825 w 1624012"/>
                  <a:gd name="connsiteY156" fmla="*/ 1278731 h 1533525"/>
                  <a:gd name="connsiteX157" fmla="*/ 816768 w 1624012"/>
                  <a:gd name="connsiteY157" fmla="*/ 1295400 h 1533525"/>
                  <a:gd name="connsiteX158" fmla="*/ 757237 w 1624012"/>
                  <a:gd name="connsiteY158" fmla="*/ 1259681 h 1533525"/>
                  <a:gd name="connsiteX159" fmla="*/ 742950 w 1624012"/>
                  <a:gd name="connsiteY159" fmla="*/ 1312069 h 1533525"/>
                  <a:gd name="connsiteX160" fmla="*/ 704850 w 1624012"/>
                  <a:gd name="connsiteY160" fmla="*/ 1345406 h 1533525"/>
                  <a:gd name="connsiteX161" fmla="*/ 692943 w 1624012"/>
                  <a:gd name="connsiteY161" fmla="*/ 1366838 h 1533525"/>
                  <a:gd name="connsiteX162" fmla="*/ 671512 w 1624012"/>
                  <a:gd name="connsiteY162" fmla="*/ 1509713 h 1533525"/>
                  <a:gd name="connsiteX163" fmla="*/ 633412 w 1624012"/>
                  <a:gd name="connsiteY163" fmla="*/ 1490663 h 1533525"/>
                  <a:gd name="connsiteX164" fmla="*/ 614362 w 1624012"/>
                  <a:gd name="connsiteY164" fmla="*/ 1504950 h 1533525"/>
                  <a:gd name="connsiteX165" fmla="*/ 581025 w 1624012"/>
                  <a:gd name="connsiteY165" fmla="*/ 1531144 h 1533525"/>
                  <a:gd name="connsiteX166" fmla="*/ 523875 w 1624012"/>
                  <a:gd name="connsiteY166" fmla="*/ 1502569 h 1533525"/>
                  <a:gd name="connsiteX167" fmla="*/ 514350 w 1624012"/>
                  <a:gd name="connsiteY167" fmla="*/ 1490663 h 1533525"/>
                  <a:gd name="connsiteX168" fmla="*/ 483393 w 1624012"/>
                  <a:gd name="connsiteY168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438275 w 1624012"/>
                  <a:gd name="connsiteY97" fmla="*/ 69056 h 1533525"/>
                  <a:gd name="connsiteX98" fmla="*/ 1440656 w 1624012"/>
                  <a:gd name="connsiteY98" fmla="*/ 104775 h 1533525"/>
                  <a:gd name="connsiteX99" fmla="*/ 1490662 w 1624012"/>
                  <a:gd name="connsiteY99" fmla="*/ 142875 h 1533525"/>
                  <a:gd name="connsiteX100" fmla="*/ 1543050 w 1624012"/>
                  <a:gd name="connsiteY100" fmla="*/ 147638 h 1533525"/>
                  <a:gd name="connsiteX101" fmla="*/ 1547812 w 1624012"/>
                  <a:gd name="connsiteY101" fmla="*/ 121444 h 1533525"/>
                  <a:gd name="connsiteX102" fmla="*/ 1574006 w 1624012"/>
                  <a:gd name="connsiteY102" fmla="*/ 121444 h 1533525"/>
                  <a:gd name="connsiteX103" fmla="*/ 1624012 w 1624012"/>
                  <a:gd name="connsiteY103" fmla="*/ 109538 h 1533525"/>
                  <a:gd name="connsiteX104" fmla="*/ 1057275 w 1624012"/>
                  <a:gd name="connsiteY104" fmla="*/ 264319 h 1533525"/>
                  <a:gd name="connsiteX105" fmla="*/ 1062037 w 1624012"/>
                  <a:gd name="connsiteY105" fmla="*/ 304800 h 1533525"/>
                  <a:gd name="connsiteX106" fmla="*/ 995362 w 1624012"/>
                  <a:gd name="connsiteY106" fmla="*/ 352425 h 1533525"/>
                  <a:gd name="connsiteX107" fmla="*/ 973931 w 1624012"/>
                  <a:gd name="connsiteY107" fmla="*/ 383381 h 1533525"/>
                  <a:gd name="connsiteX108" fmla="*/ 1000125 w 1624012"/>
                  <a:gd name="connsiteY108" fmla="*/ 428625 h 1533525"/>
                  <a:gd name="connsiteX109" fmla="*/ 983456 w 1624012"/>
                  <a:gd name="connsiteY109" fmla="*/ 466725 h 1533525"/>
                  <a:gd name="connsiteX110" fmla="*/ 1000125 w 1624012"/>
                  <a:gd name="connsiteY110" fmla="*/ 519113 h 1533525"/>
                  <a:gd name="connsiteX111" fmla="*/ 1033462 w 1624012"/>
                  <a:gd name="connsiteY111" fmla="*/ 519113 h 1533525"/>
                  <a:gd name="connsiteX112" fmla="*/ 1019175 w 1624012"/>
                  <a:gd name="connsiteY112" fmla="*/ 552450 h 1533525"/>
                  <a:gd name="connsiteX113" fmla="*/ 1035843 w 1624012"/>
                  <a:gd name="connsiteY113" fmla="*/ 590550 h 1533525"/>
                  <a:gd name="connsiteX114" fmla="*/ 1035843 w 1624012"/>
                  <a:gd name="connsiteY114" fmla="*/ 607219 h 1533525"/>
                  <a:gd name="connsiteX115" fmla="*/ 1045368 w 1624012"/>
                  <a:gd name="connsiteY115" fmla="*/ 645319 h 1533525"/>
                  <a:gd name="connsiteX116" fmla="*/ 1064418 w 1624012"/>
                  <a:gd name="connsiteY116" fmla="*/ 645319 h 1533525"/>
                  <a:gd name="connsiteX117" fmla="*/ 1078706 w 1624012"/>
                  <a:gd name="connsiteY117" fmla="*/ 666750 h 1533525"/>
                  <a:gd name="connsiteX118" fmla="*/ 1085850 w 1624012"/>
                  <a:gd name="connsiteY118" fmla="*/ 688181 h 1533525"/>
                  <a:gd name="connsiteX119" fmla="*/ 1076325 w 1624012"/>
                  <a:gd name="connsiteY119" fmla="*/ 719138 h 1533525"/>
                  <a:gd name="connsiteX120" fmla="*/ 1021556 w 1624012"/>
                  <a:gd name="connsiteY120" fmla="*/ 714375 h 1533525"/>
                  <a:gd name="connsiteX121" fmla="*/ 1002506 w 1624012"/>
                  <a:gd name="connsiteY121" fmla="*/ 721519 h 1533525"/>
                  <a:gd name="connsiteX122" fmla="*/ 995362 w 1624012"/>
                  <a:gd name="connsiteY122" fmla="*/ 726281 h 1533525"/>
                  <a:gd name="connsiteX123" fmla="*/ 995362 w 1624012"/>
                  <a:gd name="connsiteY123" fmla="*/ 726281 h 1533525"/>
                  <a:gd name="connsiteX124" fmla="*/ 923925 w 1624012"/>
                  <a:gd name="connsiteY124" fmla="*/ 721519 h 1533525"/>
                  <a:gd name="connsiteX125" fmla="*/ 940593 w 1624012"/>
                  <a:gd name="connsiteY125" fmla="*/ 778669 h 1533525"/>
                  <a:gd name="connsiteX126" fmla="*/ 938212 w 1624012"/>
                  <a:gd name="connsiteY126" fmla="*/ 847725 h 1533525"/>
                  <a:gd name="connsiteX127" fmla="*/ 954881 w 1624012"/>
                  <a:gd name="connsiteY127" fmla="*/ 871538 h 1533525"/>
                  <a:gd name="connsiteX128" fmla="*/ 997743 w 1624012"/>
                  <a:gd name="connsiteY128" fmla="*/ 919163 h 1533525"/>
                  <a:gd name="connsiteX129" fmla="*/ 1012031 w 1624012"/>
                  <a:gd name="connsiteY129" fmla="*/ 954881 h 1533525"/>
                  <a:gd name="connsiteX130" fmla="*/ 1031081 w 1624012"/>
                  <a:gd name="connsiteY130" fmla="*/ 954881 h 1533525"/>
                  <a:gd name="connsiteX131" fmla="*/ 1071562 w 1624012"/>
                  <a:gd name="connsiteY131" fmla="*/ 940594 h 1533525"/>
                  <a:gd name="connsiteX132" fmla="*/ 1102518 w 1624012"/>
                  <a:gd name="connsiteY132" fmla="*/ 933450 h 1533525"/>
                  <a:gd name="connsiteX133" fmla="*/ 1159668 w 1624012"/>
                  <a:gd name="connsiteY133" fmla="*/ 997744 h 1533525"/>
                  <a:gd name="connsiteX134" fmla="*/ 1178718 w 1624012"/>
                  <a:gd name="connsiteY134" fmla="*/ 1052513 h 1533525"/>
                  <a:gd name="connsiteX135" fmla="*/ 1190625 w 1624012"/>
                  <a:gd name="connsiteY135" fmla="*/ 1081088 h 1533525"/>
                  <a:gd name="connsiteX136" fmla="*/ 1212056 w 1624012"/>
                  <a:gd name="connsiteY136" fmla="*/ 1109663 h 1533525"/>
                  <a:gd name="connsiteX137" fmla="*/ 1231106 w 1624012"/>
                  <a:gd name="connsiteY137" fmla="*/ 1102519 h 1533525"/>
                  <a:gd name="connsiteX138" fmla="*/ 1231106 w 1624012"/>
                  <a:gd name="connsiteY138" fmla="*/ 1131094 h 1533525"/>
                  <a:gd name="connsiteX139" fmla="*/ 1233487 w 1624012"/>
                  <a:gd name="connsiteY139" fmla="*/ 1145381 h 1533525"/>
                  <a:gd name="connsiteX140" fmla="*/ 1266825 w 1624012"/>
                  <a:gd name="connsiteY140" fmla="*/ 1181100 h 1533525"/>
                  <a:gd name="connsiteX141" fmla="*/ 1233487 w 1624012"/>
                  <a:gd name="connsiteY141" fmla="*/ 1181100 h 1533525"/>
                  <a:gd name="connsiteX142" fmla="*/ 1228725 w 1624012"/>
                  <a:gd name="connsiteY142" fmla="*/ 1223963 h 1533525"/>
                  <a:gd name="connsiteX143" fmla="*/ 1226343 w 1624012"/>
                  <a:gd name="connsiteY143" fmla="*/ 1243013 h 1533525"/>
                  <a:gd name="connsiteX144" fmla="*/ 1216818 w 1624012"/>
                  <a:gd name="connsiteY144" fmla="*/ 1264444 h 1533525"/>
                  <a:gd name="connsiteX145" fmla="*/ 1190625 w 1624012"/>
                  <a:gd name="connsiteY145" fmla="*/ 1238250 h 1533525"/>
                  <a:gd name="connsiteX146" fmla="*/ 1157287 w 1624012"/>
                  <a:gd name="connsiteY146" fmla="*/ 1209675 h 1533525"/>
                  <a:gd name="connsiteX147" fmla="*/ 1131093 w 1624012"/>
                  <a:gd name="connsiteY147" fmla="*/ 1185863 h 1533525"/>
                  <a:gd name="connsiteX148" fmla="*/ 1107281 w 1624012"/>
                  <a:gd name="connsiteY148" fmla="*/ 1219200 h 1533525"/>
                  <a:gd name="connsiteX149" fmla="*/ 1104900 w 1624012"/>
                  <a:gd name="connsiteY149" fmla="*/ 1264444 h 1533525"/>
                  <a:gd name="connsiteX150" fmla="*/ 1062037 w 1624012"/>
                  <a:gd name="connsiteY150" fmla="*/ 1259681 h 1533525"/>
                  <a:gd name="connsiteX151" fmla="*/ 1026318 w 1624012"/>
                  <a:gd name="connsiteY151" fmla="*/ 1288256 h 1533525"/>
                  <a:gd name="connsiteX152" fmla="*/ 1007268 w 1624012"/>
                  <a:gd name="connsiteY152" fmla="*/ 1240631 h 1533525"/>
                  <a:gd name="connsiteX153" fmla="*/ 947737 w 1624012"/>
                  <a:gd name="connsiteY153" fmla="*/ 1231106 h 1533525"/>
                  <a:gd name="connsiteX154" fmla="*/ 921543 w 1624012"/>
                  <a:gd name="connsiteY154" fmla="*/ 1297781 h 1533525"/>
                  <a:gd name="connsiteX155" fmla="*/ 885825 w 1624012"/>
                  <a:gd name="connsiteY155" fmla="*/ 1278731 h 1533525"/>
                  <a:gd name="connsiteX156" fmla="*/ 816768 w 1624012"/>
                  <a:gd name="connsiteY156" fmla="*/ 1295400 h 1533525"/>
                  <a:gd name="connsiteX157" fmla="*/ 757237 w 1624012"/>
                  <a:gd name="connsiteY157" fmla="*/ 1259681 h 1533525"/>
                  <a:gd name="connsiteX158" fmla="*/ 742950 w 1624012"/>
                  <a:gd name="connsiteY158" fmla="*/ 1312069 h 1533525"/>
                  <a:gd name="connsiteX159" fmla="*/ 704850 w 1624012"/>
                  <a:gd name="connsiteY159" fmla="*/ 1345406 h 1533525"/>
                  <a:gd name="connsiteX160" fmla="*/ 692943 w 1624012"/>
                  <a:gd name="connsiteY160" fmla="*/ 1366838 h 1533525"/>
                  <a:gd name="connsiteX161" fmla="*/ 671512 w 1624012"/>
                  <a:gd name="connsiteY161" fmla="*/ 1509713 h 1533525"/>
                  <a:gd name="connsiteX162" fmla="*/ 633412 w 1624012"/>
                  <a:gd name="connsiteY162" fmla="*/ 1490663 h 1533525"/>
                  <a:gd name="connsiteX163" fmla="*/ 614362 w 1624012"/>
                  <a:gd name="connsiteY163" fmla="*/ 1504950 h 1533525"/>
                  <a:gd name="connsiteX164" fmla="*/ 581025 w 1624012"/>
                  <a:gd name="connsiteY164" fmla="*/ 1531144 h 1533525"/>
                  <a:gd name="connsiteX165" fmla="*/ 523875 w 1624012"/>
                  <a:gd name="connsiteY165" fmla="*/ 1502569 h 1533525"/>
                  <a:gd name="connsiteX166" fmla="*/ 514350 w 1624012"/>
                  <a:gd name="connsiteY166" fmla="*/ 1490663 h 1533525"/>
                  <a:gd name="connsiteX167" fmla="*/ 483393 w 1624012"/>
                  <a:gd name="connsiteY167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440656 w 1624012"/>
                  <a:gd name="connsiteY97" fmla="*/ 104775 h 1533525"/>
                  <a:gd name="connsiteX98" fmla="*/ 1490662 w 1624012"/>
                  <a:gd name="connsiteY98" fmla="*/ 142875 h 1533525"/>
                  <a:gd name="connsiteX99" fmla="*/ 1543050 w 1624012"/>
                  <a:gd name="connsiteY99" fmla="*/ 147638 h 1533525"/>
                  <a:gd name="connsiteX100" fmla="*/ 1547812 w 1624012"/>
                  <a:gd name="connsiteY100" fmla="*/ 121444 h 1533525"/>
                  <a:gd name="connsiteX101" fmla="*/ 1574006 w 1624012"/>
                  <a:gd name="connsiteY101" fmla="*/ 121444 h 1533525"/>
                  <a:gd name="connsiteX102" fmla="*/ 1624012 w 1624012"/>
                  <a:gd name="connsiteY102" fmla="*/ 109538 h 1533525"/>
                  <a:gd name="connsiteX103" fmla="*/ 1057275 w 1624012"/>
                  <a:gd name="connsiteY103" fmla="*/ 264319 h 1533525"/>
                  <a:gd name="connsiteX104" fmla="*/ 1062037 w 1624012"/>
                  <a:gd name="connsiteY104" fmla="*/ 304800 h 1533525"/>
                  <a:gd name="connsiteX105" fmla="*/ 995362 w 1624012"/>
                  <a:gd name="connsiteY105" fmla="*/ 352425 h 1533525"/>
                  <a:gd name="connsiteX106" fmla="*/ 973931 w 1624012"/>
                  <a:gd name="connsiteY106" fmla="*/ 383381 h 1533525"/>
                  <a:gd name="connsiteX107" fmla="*/ 1000125 w 1624012"/>
                  <a:gd name="connsiteY107" fmla="*/ 428625 h 1533525"/>
                  <a:gd name="connsiteX108" fmla="*/ 983456 w 1624012"/>
                  <a:gd name="connsiteY108" fmla="*/ 466725 h 1533525"/>
                  <a:gd name="connsiteX109" fmla="*/ 1000125 w 1624012"/>
                  <a:gd name="connsiteY109" fmla="*/ 519113 h 1533525"/>
                  <a:gd name="connsiteX110" fmla="*/ 1033462 w 1624012"/>
                  <a:gd name="connsiteY110" fmla="*/ 519113 h 1533525"/>
                  <a:gd name="connsiteX111" fmla="*/ 1019175 w 1624012"/>
                  <a:gd name="connsiteY111" fmla="*/ 552450 h 1533525"/>
                  <a:gd name="connsiteX112" fmla="*/ 1035843 w 1624012"/>
                  <a:gd name="connsiteY112" fmla="*/ 590550 h 1533525"/>
                  <a:gd name="connsiteX113" fmla="*/ 1035843 w 1624012"/>
                  <a:gd name="connsiteY113" fmla="*/ 607219 h 1533525"/>
                  <a:gd name="connsiteX114" fmla="*/ 1045368 w 1624012"/>
                  <a:gd name="connsiteY114" fmla="*/ 645319 h 1533525"/>
                  <a:gd name="connsiteX115" fmla="*/ 1064418 w 1624012"/>
                  <a:gd name="connsiteY115" fmla="*/ 645319 h 1533525"/>
                  <a:gd name="connsiteX116" fmla="*/ 1078706 w 1624012"/>
                  <a:gd name="connsiteY116" fmla="*/ 666750 h 1533525"/>
                  <a:gd name="connsiteX117" fmla="*/ 1085850 w 1624012"/>
                  <a:gd name="connsiteY117" fmla="*/ 688181 h 1533525"/>
                  <a:gd name="connsiteX118" fmla="*/ 1076325 w 1624012"/>
                  <a:gd name="connsiteY118" fmla="*/ 719138 h 1533525"/>
                  <a:gd name="connsiteX119" fmla="*/ 1021556 w 1624012"/>
                  <a:gd name="connsiteY119" fmla="*/ 714375 h 1533525"/>
                  <a:gd name="connsiteX120" fmla="*/ 1002506 w 1624012"/>
                  <a:gd name="connsiteY120" fmla="*/ 721519 h 1533525"/>
                  <a:gd name="connsiteX121" fmla="*/ 995362 w 1624012"/>
                  <a:gd name="connsiteY121" fmla="*/ 726281 h 1533525"/>
                  <a:gd name="connsiteX122" fmla="*/ 995362 w 1624012"/>
                  <a:gd name="connsiteY122" fmla="*/ 726281 h 1533525"/>
                  <a:gd name="connsiteX123" fmla="*/ 923925 w 1624012"/>
                  <a:gd name="connsiteY123" fmla="*/ 721519 h 1533525"/>
                  <a:gd name="connsiteX124" fmla="*/ 940593 w 1624012"/>
                  <a:gd name="connsiteY124" fmla="*/ 778669 h 1533525"/>
                  <a:gd name="connsiteX125" fmla="*/ 938212 w 1624012"/>
                  <a:gd name="connsiteY125" fmla="*/ 847725 h 1533525"/>
                  <a:gd name="connsiteX126" fmla="*/ 954881 w 1624012"/>
                  <a:gd name="connsiteY126" fmla="*/ 871538 h 1533525"/>
                  <a:gd name="connsiteX127" fmla="*/ 997743 w 1624012"/>
                  <a:gd name="connsiteY127" fmla="*/ 919163 h 1533525"/>
                  <a:gd name="connsiteX128" fmla="*/ 1012031 w 1624012"/>
                  <a:gd name="connsiteY128" fmla="*/ 954881 h 1533525"/>
                  <a:gd name="connsiteX129" fmla="*/ 1031081 w 1624012"/>
                  <a:gd name="connsiteY129" fmla="*/ 954881 h 1533525"/>
                  <a:gd name="connsiteX130" fmla="*/ 1071562 w 1624012"/>
                  <a:gd name="connsiteY130" fmla="*/ 940594 h 1533525"/>
                  <a:gd name="connsiteX131" fmla="*/ 1102518 w 1624012"/>
                  <a:gd name="connsiteY131" fmla="*/ 933450 h 1533525"/>
                  <a:gd name="connsiteX132" fmla="*/ 1159668 w 1624012"/>
                  <a:gd name="connsiteY132" fmla="*/ 997744 h 1533525"/>
                  <a:gd name="connsiteX133" fmla="*/ 1178718 w 1624012"/>
                  <a:gd name="connsiteY133" fmla="*/ 1052513 h 1533525"/>
                  <a:gd name="connsiteX134" fmla="*/ 1190625 w 1624012"/>
                  <a:gd name="connsiteY134" fmla="*/ 1081088 h 1533525"/>
                  <a:gd name="connsiteX135" fmla="*/ 1212056 w 1624012"/>
                  <a:gd name="connsiteY135" fmla="*/ 1109663 h 1533525"/>
                  <a:gd name="connsiteX136" fmla="*/ 1231106 w 1624012"/>
                  <a:gd name="connsiteY136" fmla="*/ 1102519 h 1533525"/>
                  <a:gd name="connsiteX137" fmla="*/ 1231106 w 1624012"/>
                  <a:gd name="connsiteY137" fmla="*/ 1131094 h 1533525"/>
                  <a:gd name="connsiteX138" fmla="*/ 1233487 w 1624012"/>
                  <a:gd name="connsiteY138" fmla="*/ 1145381 h 1533525"/>
                  <a:gd name="connsiteX139" fmla="*/ 1266825 w 1624012"/>
                  <a:gd name="connsiteY139" fmla="*/ 1181100 h 1533525"/>
                  <a:gd name="connsiteX140" fmla="*/ 1233487 w 1624012"/>
                  <a:gd name="connsiteY140" fmla="*/ 1181100 h 1533525"/>
                  <a:gd name="connsiteX141" fmla="*/ 1228725 w 1624012"/>
                  <a:gd name="connsiteY141" fmla="*/ 1223963 h 1533525"/>
                  <a:gd name="connsiteX142" fmla="*/ 1226343 w 1624012"/>
                  <a:gd name="connsiteY142" fmla="*/ 1243013 h 1533525"/>
                  <a:gd name="connsiteX143" fmla="*/ 1216818 w 1624012"/>
                  <a:gd name="connsiteY143" fmla="*/ 1264444 h 1533525"/>
                  <a:gd name="connsiteX144" fmla="*/ 1190625 w 1624012"/>
                  <a:gd name="connsiteY144" fmla="*/ 1238250 h 1533525"/>
                  <a:gd name="connsiteX145" fmla="*/ 1157287 w 1624012"/>
                  <a:gd name="connsiteY145" fmla="*/ 1209675 h 1533525"/>
                  <a:gd name="connsiteX146" fmla="*/ 1131093 w 1624012"/>
                  <a:gd name="connsiteY146" fmla="*/ 1185863 h 1533525"/>
                  <a:gd name="connsiteX147" fmla="*/ 1107281 w 1624012"/>
                  <a:gd name="connsiteY147" fmla="*/ 1219200 h 1533525"/>
                  <a:gd name="connsiteX148" fmla="*/ 1104900 w 1624012"/>
                  <a:gd name="connsiteY148" fmla="*/ 1264444 h 1533525"/>
                  <a:gd name="connsiteX149" fmla="*/ 1062037 w 1624012"/>
                  <a:gd name="connsiteY149" fmla="*/ 1259681 h 1533525"/>
                  <a:gd name="connsiteX150" fmla="*/ 1026318 w 1624012"/>
                  <a:gd name="connsiteY150" fmla="*/ 1288256 h 1533525"/>
                  <a:gd name="connsiteX151" fmla="*/ 1007268 w 1624012"/>
                  <a:gd name="connsiteY151" fmla="*/ 1240631 h 1533525"/>
                  <a:gd name="connsiteX152" fmla="*/ 947737 w 1624012"/>
                  <a:gd name="connsiteY152" fmla="*/ 1231106 h 1533525"/>
                  <a:gd name="connsiteX153" fmla="*/ 921543 w 1624012"/>
                  <a:gd name="connsiteY153" fmla="*/ 1297781 h 1533525"/>
                  <a:gd name="connsiteX154" fmla="*/ 885825 w 1624012"/>
                  <a:gd name="connsiteY154" fmla="*/ 1278731 h 1533525"/>
                  <a:gd name="connsiteX155" fmla="*/ 816768 w 1624012"/>
                  <a:gd name="connsiteY155" fmla="*/ 1295400 h 1533525"/>
                  <a:gd name="connsiteX156" fmla="*/ 757237 w 1624012"/>
                  <a:gd name="connsiteY156" fmla="*/ 1259681 h 1533525"/>
                  <a:gd name="connsiteX157" fmla="*/ 742950 w 1624012"/>
                  <a:gd name="connsiteY157" fmla="*/ 1312069 h 1533525"/>
                  <a:gd name="connsiteX158" fmla="*/ 704850 w 1624012"/>
                  <a:gd name="connsiteY158" fmla="*/ 1345406 h 1533525"/>
                  <a:gd name="connsiteX159" fmla="*/ 692943 w 1624012"/>
                  <a:gd name="connsiteY159" fmla="*/ 1366838 h 1533525"/>
                  <a:gd name="connsiteX160" fmla="*/ 671512 w 1624012"/>
                  <a:gd name="connsiteY160" fmla="*/ 1509713 h 1533525"/>
                  <a:gd name="connsiteX161" fmla="*/ 633412 w 1624012"/>
                  <a:gd name="connsiteY161" fmla="*/ 1490663 h 1533525"/>
                  <a:gd name="connsiteX162" fmla="*/ 614362 w 1624012"/>
                  <a:gd name="connsiteY162" fmla="*/ 1504950 h 1533525"/>
                  <a:gd name="connsiteX163" fmla="*/ 581025 w 1624012"/>
                  <a:gd name="connsiteY163" fmla="*/ 1531144 h 1533525"/>
                  <a:gd name="connsiteX164" fmla="*/ 523875 w 1624012"/>
                  <a:gd name="connsiteY164" fmla="*/ 1502569 h 1533525"/>
                  <a:gd name="connsiteX165" fmla="*/ 514350 w 1624012"/>
                  <a:gd name="connsiteY165" fmla="*/ 1490663 h 1533525"/>
                  <a:gd name="connsiteX166" fmla="*/ 483393 w 1624012"/>
                  <a:gd name="connsiteY166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490662 w 1624012"/>
                  <a:gd name="connsiteY97" fmla="*/ 142875 h 1533525"/>
                  <a:gd name="connsiteX98" fmla="*/ 1543050 w 1624012"/>
                  <a:gd name="connsiteY98" fmla="*/ 147638 h 1533525"/>
                  <a:gd name="connsiteX99" fmla="*/ 1547812 w 1624012"/>
                  <a:gd name="connsiteY99" fmla="*/ 121444 h 1533525"/>
                  <a:gd name="connsiteX100" fmla="*/ 1574006 w 1624012"/>
                  <a:gd name="connsiteY100" fmla="*/ 121444 h 1533525"/>
                  <a:gd name="connsiteX101" fmla="*/ 1624012 w 1624012"/>
                  <a:gd name="connsiteY101" fmla="*/ 109538 h 1533525"/>
                  <a:gd name="connsiteX102" fmla="*/ 1057275 w 1624012"/>
                  <a:gd name="connsiteY102" fmla="*/ 264319 h 1533525"/>
                  <a:gd name="connsiteX103" fmla="*/ 1062037 w 1624012"/>
                  <a:gd name="connsiteY103" fmla="*/ 304800 h 1533525"/>
                  <a:gd name="connsiteX104" fmla="*/ 995362 w 1624012"/>
                  <a:gd name="connsiteY104" fmla="*/ 352425 h 1533525"/>
                  <a:gd name="connsiteX105" fmla="*/ 973931 w 1624012"/>
                  <a:gd name="connsiteY105" fmla="*/ 383381 h 1533525"/>
                  <a:gd name="connsiteX106" fmla="*/ 1000125 w 1624012"/>
                  <a:gd name="connsiteY106" fmla="*/ 428625 h 1533525"/>
                  <a:gd name="connsiteX107" fmla="*/ 983456 w 1624012"/>
                  <a:gd name="connsiteY107" fmla="*/ 466725 h 1533525"/>
                  <a:gd name="connsiteX108" fmla="*/ 1000125 w 1624012"/>
                  <a:gd name="connsiteY108" fmla="*/ 519113 h 1533525"/>
                  <a:gd name="connsiteX109" fmla="*/ 1033462 w 1624012"/>
                  <a:gd name="connsiteY109" fmla="*/ 519113 h 1533525"/>
                  <a:gd name="connsiteX110" fmla="*/ 1019175 w 1624012"/>
                  <a:gd name="connsiteY110" fmla="*/ 552450 h 1533525"/>
                  <a:gd name="connsiteX111" fmla="*/ 1035843 w 1624012"/>
                  <a:gd name="connsiteY111" fmla="*/ 590550 h 1533525"/>
                  <a:gd name="connsiteX112" fmla="*/ 1035843 w 1624012"/>
                  <a:gd name="connsiteY112" fmla="*/ 607219 h 1533525"/>
                  <a:gd name="connsiteX113" fmla="*/ 1045368 w 1624012"/>
                  <a:gd name="connsiteY113" fmla="*/ 645319 h 1533525"/>
                  <a:gd name="connsiteX114" fmla="*/ 1064418 w 1624012"/>
                  <a:gd name="connsiteY114" fmla="*/ 645319 h 1533525"/>
                  <a:gd name="connsiteX115" fmla="*/ 1078706 w 1624012"/>
                  <a:gd name="connsiteY115" fmla="*/ 666750 h 1533525"/>
                  <a:gd name="connsiteX116" fmla="*/ 1085850 w 1624012"/>
                  <a:gd name="connsiteY116" fmla="*/ 688181 h 1533525"/>
                  <a:gd name="connsiteX117" fmla="*/ 1076325 w 1624012"/>
                  <a:gd name="connsiteY117" fmla="*/ 719138 h 1533525"/>
                  <a:gd name="connsiteX118" fmla="*/ 1021556 w 1624012"/>
                  <a:gd name="connsiteY118" fmla="*/ 714375 h 1533525"/>
                  <a:gd name="connsiteX119" fmla="*/ 1002506 w 1624012"/>
                  <a:gd name="connsiteY119" fmla="*/ 721519 h 1533525"/>
                  <a:gd name="connsiteX120" fmla="*/ 995362 w 1624012"/>
                  <a:gd name="connsiteY120" fmla="*/ 726281 h 1533525"/>
                  <a:gd name="connsiteX121" fmla="*/ 995362 w 1624012"/>
                  <a:gd name="connsiteY121" fmla="*/ 726281 h 1533525"/>
                  <a:gd name="connsiteX122" fmla="*/ 923925 w 1624012"/>
                  <a:gd name="connsiteY122" fmla="*/ 721519 h 1533525"/>
                  <a:gd name="connsiteX123" fmla="*/ 940593 w 1624012"/>
                  <a:gd name="connsiteY123" fmla="*/ 778669 h 1533525"/>
                  <a:gd name="connsiteX124" fmla="*/ 938212 w 1624012"/>
                  <a:gd name="connsiteY124" fmla="*/ 847725 h 1533525"/>
                  <a:gd name="connsiteX125" fmla="*/ 954881 w 1624012"/>
                  <a:gd name="connsiteY125" fmla="*/ 871538 h 1533525"/>
                  <a:gd name="connsiteX126" fmla="*/ 997743 w 1624012"/>
                  <a:gd name="connsiteY126" fmla="*/ 919163 h 1533525"/>
                  <a:gd name="connsiteX127" fmla="*/ 1012031 w 1624012"/>
                  <a:gd name="connsiteY127" fmla="*/ 954881 h 1533525"/>
                  <a:gd name="connsiteX128" fmla="*/ 1031081 w 1624012"/>
                  <a:gd name="connsiteY128" fmla="*/ 954881 h 1533525"/>
                  <a:gd name="connsiteX129" fmla="*/ 1071562 w 1624012"/>
                  <a:gd name="connsiteY129" fmla="*/ 940594 h 1533525"/>
                  <a:gd name="connsiteX130" fmla="*/ 1102518 w 1624012"/>
                  <a:gd name="connsiteY130" fmla="*/ 933450 h 1533525"/>
                  <a:gd name="connsiteX131" fmla="*/ 1159668 w 1624012"/>
                  <a:gd name="connsiteY131" fmla="*/ 997744 h 1533525"/>
                  <a:gd name="connsiteX132" fmla="*/ 1178718 w 1624012"/>
                  <a:gd name="connsiteY132" fmla="*/ 1052513 h 1533525"/>
                  <a:gd name="connsiteX133" fmla="*/ 1190625 w 1624012"/>
                  <a:gd name="connsiteY133" fmla="*/ 1081088 h 1533525"/>
                  <a:gd name="connsiteX134" fmla="*/ 1212056 w 1624012"/>
                  <a:gd name="connsiteY134" fmla="*/ 1109663 h 1533525"/>
                  <a:gd name="connsiteX135" fmla="*/ 1231106 w 1624012"/>
                  <a:gd name="connsiteY135" fmla="*/ 1102519 h 1533525"/>
                  <a:gd name="connsiteX136" fmla="*/ 1231106 w 1624012"/>
                  <a:gd name="connsiteY136" fmla="*/ 1131094 h 1533525"/>
                  <a:gd name="connsiteX137" fmla="*/ 1233487 w 1624012"/>
                  <a:gd name="connsiteY137" fmla="*/ 1145381 h 1533525"/>
                  <a:gd name="connsiteX138" fmla="*/ 1266825 w 1624012"/>
                  <a:gd name="connsiteY138" fmla="*/ 1181100 h 1533525"/>
                  <a:gd name="connsiteX139" fmla="*/ 1233487 w 1624012"/>
                  <a:gd name="connsiteY139" fmla="*/ 1181100 h 1533525"/>
                  <a:gd name="connsiteX140" fmla="*/ 1228725 w 1624012"/>
                  <a:gd name="connsiteY140" fmla="*/ 1223963 h 1533525"/>
                  <a:gd name="connsiteX141" fmla="*/ 1226343 w 1624012"/>
                  <a:gd name="connsiteY141" fmla="*/ 1243013 h 1533525"/>
                  <a:gd name="connsiteX142" fmla="*/ 1216818 w 1624012"/>
                  <a:gd name="connsiteY142" fmla="*/ 1264444 h 1533525"/>
                  <a:gd name="connsiteX143" fmla="*/ 1190625 w 1624012"/>
                  <a:gd name="connsiteY143" fmla="*/ 1238250 h 1533525"/>
                  <a:gd name="connsiteX144" fmla="*/ 1157287 w 1624012"/>
                  <a:gd name="connsiteY144" fmla="*/ 1209675 h 1533525"/>
                  <a:gd name="connsiteX145" fmla="*/ 1131093 w 1624012"/>
                  <a:gd name="connsiteY145" fmla="*/ 1185863 h 1533525"/>
                  <a:gd name="connsiteX146" fmla="*/ 1107281 w 1624012"/>
                  <a:gd name="connsiteY146" fmla="*/ 1219200 h 1533525"/>
                  <a:gd name="connsiteX147" fmla="*/ 1104900 w 1624012"/>
                  <a:gd name="connsiteY147" fmla="*/ 1264444 h 1533525"/>
                  <a:gd name="connsiteX148" fmla="*/ 1062037 w 1624012"/>
                  <a:gd name="connsiteY148" fmla="*/ 1259681 h 1533525"/>
                  <a:gd name="connsiteX149" fmla="*/ 1026318 w 1624012"/>
                  <a:gd name="connsiteY149" fmla="*/ 1288256 h 1533525"/>
                  <a:gd name="connsiteX150" fmla="*/ 1007268 w 1624012"/>
                  <a:gd name="connsiteY150" fmla="*/ 1240631 h 1533525"/>
                  <a:gd name="connsiteX151" fmla="*/ 947737 w 1624012"/>
                  <a:gd name="connsiteY151" fmla="*/ 1231106 h 1533525"/>
                  <a:gd name="connsiteX152" fmla="*/ 921543 w 1624012"/>
                  <a:gd name="connsiteY152" fmla="*/ 1297781 h 1533525"/>
                  <a:gd name="connsiteX153" fmla="*/ 885825 w 1624012"/>
                  <a:gd name="connsiteY153" fmla="*/ 1278731 h 1533525"/>
                  <a:gd name="connsiteX154" fmla="*/ 816768 w 1624012"/>
                  <a:gd name="connsiteY154" fmla="*/ 1295400 h 1533525"/>
                  <a:gd name="connsiteX155" fmla="*/ 757237 w 1624012"/>
                  <a:gd name="connsiteY155" fmla="*/ 1259681 h 1533525"/>
                  <a:gd name="connsiteX156" fmla="*/ 742950 w 1624012"/>
                  <a:gd name="connsiteY156" fmla="*/ 1312069 h 1533525"/>
                  <a:gd name="connsiteX157" fmla="*/ 704850 w 1624012"/>
                  <a:gd name="connsiteY157" fmla="*/ 1345406 h 1533525"/>
                  <a:gd name="connsiteX158" fmla="*/ 692943 w 1624012"/>
                  <a:gd name="connsiteY158" fmla="*/ 1366838 h 1533525"/>
                  <a:gd name="connsiteX159" fmla="*/ 671512 w 1624012"/>
                  <a:gd name="connsiteY159" fmla="*/ 1509713 h 1533525"/>
                  <a:gd name="connsiteX160" fmla="*/ 633412 w 1624012"/>
                  <a:gd name="connsiteY160" fmla="*/ 1490663 h 1533525"/>
                  <a:gd name="connsiteX161" fmla="*/ 614362 w 1624012"/>
                  <a:gd name="connsiteY161" fmla="*/ 1504950 h 1533525"/>
                  <a:gd name="connsiteX162" fmla="*/ 581025 w 1624012"/>
                  <a:gd name="connsiteY162" fmla="*/ 1531144 h 1533525"/>
                  <a:gd name="connsiteX163" fmla="*/ 523875 w 1624012"/>
                  <a:gd name="connsiteY163" fmla="*/ 1502569 h 1533525"/>
                  <a:gd name="connsiteX164" fmla="*/ 514350 w 1624012"/>
                  <a:gd name="connsiteY164" fmla="*/ 1490663 h 1533525"/>
                  <a:gd name="connsiteX165" fmla="*/ 483393 w 1624012"/>
                  <a:gd name="connsiteY165" fmla="*/ 1533525 h 1533525"/>
                  <a:gd name="connsiteX0" fmla="*/ 483393 w 1624012"/>
                  <a:gd name="connsiteY0" fmla="*/ 1533525 h 1533525"/>
                  <a:gd name="connsiteX1" fmla="*/ 459581 w 1624012"/>
                  <a:gd name="connsiteY1" fmla="*/ 1481138 h 1533525"/>
                  <a:gd name="connsiteX2" fmla="*/ 438150 w 1624012"/>
                  <a:gd name="connsiteY2" fmla="*/ 1471613 h 1533525"/>
                  <a:gd name="connsiteX3" fmla="*/ 400050 w 1624012"/>
                  <a:gd name="connsiteY3" fmla="*/ 1485900 h 1533525"/>
                  <a:gd name="connsiteX4" fmla="*/ 338137 w 1624012"/>
                  <a:gd name="connsiteY4" fmla="*/ 1490663 h 1533525"/>
                  <a:gd name="connsiteX5" fmla="*/ 330993 w 1624012"/>
                  <a:gd name="connsiteY5" fmla="*/ 1497806 h 1533525"/>
                  <a:gd name="connsiteX6" fmla="*/ 271462 w 1624012"/>
                  <a:gd name="connsiteY6" fmla="*/ 1471613 h 1533525"/>
                  <a:gd name="connsiteX7" fmla="*/ 219075 w 1624012"/>
                  <a:gd name="connsiteY7" fmla="*/ 1443038 h 1533525"/>
                  <a:gd name="connsiteX8" fmla="*/ 138112 w 1624012"/>
                  <a:gd name="connsiteY8" fmla="*/ 1402556 h 1533525"/>
                  <a:gd name="connsiteX9" fmla="*/ 95250 w 1624012"/>
                  <a:gd name="connsiteY9" fmla="*/ 1316831 h 1533525"/>
                  <a:gd name="connsiteX10" fmla="*/ 80962 w 1624012"/>
                  <a:gd name="connsiteY10" fmla="*/ 1288256 h 1533525"/>
                  <a:gd name="connsiteX11" fmla="*/ 104775 w 1624012"/>
                  <a:gd name="connsiteY11" fmla="*/ 1266825 h 1533525"/>
                  <a:gd name="connsiteX12" fmla="*/ 76200 w 1624012"/>
                  <a:gd name="connsiteY12" fmla="*/ 1212056 h 1533525"/>
                  <a:gd name="connsiteX13" fmla="*/ 109537 w 1624012"/>
                  <a:gd name="connsiteY13" fmla="*/ 1193006 h 1533525"/>
                  <a:gd name="connsiteX14" fmla="*/ 140493 w 1624012"/>
                  <a:gd name="connsiteY14" fmla="*/ 1143000 h 1533525"/>
                  <a:gd name="connsiteX15" fmla="*/ 123825 w 1624012"/>
                  <a:gd name="connsiteY15" fmla="*/ 1107281 h 1533525"/>
                  <a:gd name="connsiteX16" fmla="*/ 178593 w 1624012"/>
                  <a:gd name="connsiteY16" fmla="*/ 1107281 h 1533525"/>
                  <a:gd name="connsiteX17" fmla="*/ 192881 w 1624012"/>
                  <a:gd name="connsiteY17" fmla="*/ 1109663 h 1533525"/>
                  <a:gd name="connsiteX18" fmla="*/ 159543 w 1624012"/>
                  <a:gd name="connsiteY18" fmla="*/ 1064419 h 1533525"/>
                  <a:gd name="connsiteX19" fmla="*/ 169068 w 1624012"/>
                  <a:gd name="connsiteY19" fmla="*/ 1014413 h 1533525"/>
                  <a:gd name="connsiteX20" fmla="*/ 123825 w 1624012"/>
                  <a:gd name="connsiteY20" fmla="*/ 997744 h 1533525"/>
                  <a:gd name="connsiteX21" fmla="*/ 61912 w 1624012"/>
                  <a:gd name="connsiteY21" fmla="*/ 954881 h 1533525"/>
                  <a:gd name="connsiteX22" fmla="*/ 45243 w 1624012"/>
                  <a:gd name="connsiteY22" fmla="*/ 938213 h 1533525"/>
                  <a:gd name="connsiteX23" fmla="*/ 64293 w 1624012"/>
                  <a:gd name="connsiteY23" fmla="*/ 909638 h 1533525"/>
                  <a:gd name="connsiteX24" fmla="*/ 47625 w 1624012"/>
                  <a:gd name="connsiteY24" fmla="*/ 897731 h 1533525"/>
                  <a:gd name="connsiteX25" fmla="*/ 47625 w 1624012"/>
                  <a:gd name="connsiteY25" fmla="*/ 881063 h 1533525"/>
                  <a:gd name="connsiteX26" fmla="*/ 26193 w 1624012"/>
                  <a:gd name="connsiteY26" fmla="*/ 881063 h 1533525"/>
                  <a:gd name="connsiteX27" fmla="*/ 7143 w 1624012"/>
                  <a:gd name="connsiteY27" fmla="*/ 847725 h 1533525"/>
                  <a:gd name="connsiteX28" fmla="*/ 0 w 1624012"/>
                  <a:gd name="connsiteY28" fmla="*/ 816769 h 1533525"/>
                  <a:gd name="connsiteX29" fmla="*/ 54768 w 1624012"/>
                  <a:gd name="connsiteY29" fmla="*/ 800100 h 1533525"/>
                  <a:gd name="connsiteX30" fmla="*/ 76200 w 1624012"/>
                  <a:gd name="connsiteY30" fmla="*/ 788194 h 1533525"/>
                  <a:gd name="connsiteX31" fmla="*/ 128587 w 1624012"/>
                  <a:gd name="connsiteY31" fmla="*/ 821531 h 1533525"/>
                  <a:gd name="connsiteX32" fmla="*/ 126206 w 1624012"/>
                  <a:gd name="connsiteY32" fmla="*/ 800100 h 1533525"/>
                  <a:gd name="connsiteX33" fmla="*/ 164306 w 1624012"/>
                  <a:gd name="connsiteY33" fmla="*/ 795338 h 1533525"/>
                  <a:gd name="connsiteX34" fmla="*/ 173831 w 1624012"/>
                  <a:gd name="connsiteY34" fmla="*/ 759619 h 1533525"/>
                  <a:gd name="connsiteX35" fmla="*/ 235743 w 1624012"/>
                  <a:gd name="connsiteY35" fmla="*/ 764381 h 1533525"/>
                  <a:gd name="connsiteX36" fmla="*/ 235743 w 1624012"/>
                  <a:gd name="connsiteY36" fmla="*/ 764381 h 1533525"/>
                  <a:gd name="connsiteX37" fmla="*/ 245268 w 1624012"/>
                  <a:gd name="connsiteY37" fmla="*/ 704850 h 1533525"/>
                  <a:gd name="connsiteX38" fmla="*/ 276225 w 1624012"/>
                  <a:gd name="connsiteY38" fmla="*/ 666750 h 1533525"/>
                  <a:gd name="connsiteX39" fmla="*/ 292893 w 1624012"/>
                  <a:gd name="connsiteY39" fmla="*/ 638175 h 1533525"/>
                  <a:gd name="connsiteX40" fmla="*/ 245268 w 1624012"/>
                  <a:gd name="connsiteY40" fmla="*/ 602456 h 1533525"/>
                  <a:gd name="connsiteX41" fmla="*/ 264318 w 1624012"/>
                  <a:gd name="connsiteY41" fmla="*/ 585788 h 1533525"/>
                  <a:gd name="connsiteX42" fmla="*/ 311943 w 1624012"/>
                  <a:gd name="connsiteY42" fmla="*/ 602456 h 1533525"/>
                  <a:gd name="connsiteX43" fmla="*/ 369093 w 1624012"/>
                  <a:gd name="connsiteY43" fmla="*/ 573881 h 1533525"/>
                  <a:gd name="connsiteX44" fmla="*/ 457200 w 1624012"/>
                  <a:gd name="connsiteY44" fmla="*/ 545306 h 1533525"/>
                  <a:gd name="connsiteX45" fmla="*/ 538162 w 1624012"/>
                  <a:gd name="connsiteY45" fmla="*/ 578644 h 1533525"/>
                  <a:gd name="connsiteX46" fmla="*/ 614362 w 1624012"/>
                  <a:gd name="connsiteY46" fmla="*/ 550069 h 1533525"/>
                  <a:gd name="connsiteX47" fmla="*/ 650081 w 1624012"/>
                  <a:gd name="connsiteY47" fmla="*/ 552450 h 1533525"/>
                  <a:gd name="connsiteX48" fmla="*/ 654843 w 1624012"/>
                  <a:gd name="connsiteY48" fmla="*/ 523875 h 1533525"/>
                  <a:gd name="connsiteX49" fmla="*/ 654843 w 1624012"/>
                  <a:gd name="connsiteY49" fmla="*/ 490538 h 1533525"/>
                  <a:gd name="connsiteX50" fmla="*/ 669131 w 1624012"/>
                  <a:gd name="connsiteY50" fmla="*/ 469106 h 1533525"/>
                  <a:gd name="connsiteX51" fmla="*/ 652462 w 1624012"/>
                  <a:gd name="connsiteY51" fmla="*/ 450056 h 1533525"/>
                  <a:gd name="connsiteX52" fmla="*/ 642937 w 1624012"/>
                  <a:gd name="connsiteY52" fmla="*/ 411956 h 1533525"/>
                  <a:gd name="connsiteX53" fmla="*/ 642937 w 1624012"/>
                  <a:gd name="connsiteY53" fmla="*/ 330994 h 1533525"/>
                  <a:gd name="connsiteX54" fmla="*/ 633412 w 1624012"/>
                  <a:gd name="connsiteY54" fmla="*/ 319088 h 1533525"/>
                  <a:gd name="connsiteX55" fmla="*/ 664368 w 1624012"/>
                  <a:gd name="connsiteY55" fmla="*/ 285750 h 1533525"/>
                  <a:gd name="connsiteX56" fmla="*/ 721518 w 1624012"/>
                  <a:gd name="connsiteY56" fmla="*/ 292894 h 1533525"/>
                  <a:gd name="connsiteX57" fmla="*/ 733425 w 1624012"/>
                  <a:gd name="connsiteY57" fmla="*/ 264319 h 1533525"/>
                  <a:gd name="connsiteX58" fmla="*/ 731043 w 1624012"/>
                  <a:gd name="connsiteY58" fmla="*/ 228600 h 1533525"/>
                  <a:gd name="connsiteX59" fmla="*/ 790575 w 1624012"/>
                  <a:gd name="connsiteY59" fmla="*/ 192881 h 1533525"/>
                  <a:gd name="connsiteX60" fmla="*/ 804862 w 1624012"/>
                  <a:gd name="connsiteY60" fmla="*/ 166688 h 1533525"/>
                  <a:gd name="connsiteX61" fmla="*/ 778668 w 1624012"/>
                  <a:gd name="connsiteY61" fmla="*/ 128588 h 1533525"/>
                  <a:gd name="connsiteX62" fmla="*/ 771525 w 1624012"/>
                  <a:gd name="connsiteY62" fmla="*/ 104775 h 1533525"/>
                  <a:gd name="connsiteX63" fmla="*/ 823912 w 1624012"/>
                  <a:gd name="connsiteY63" fmla="*/ 97631 h 1533525"/>
                  <a:gd name="connsiteX64" fmla="*/ 869156 w 1624012"/>
                  <a:gd name="connsiteY64" fmla="*/ 52388 h 1533525"/>
                  <a:gd name="connsiteX65" fmla="*/ 890587 w 1624012"/>
                  <a:gd name="connsiteY65" fmla="*/ 23813 h 1533525"/>
                  <a:gd name="connsiteX66" fmla="*/ 923925 w 1624012"/>
                  <a:gd name="connsiteY66" fmla="*/ 9525 h 1533525"/>
                  <a:gd name="connsiteX67" fmla="*/ 971550 w 1624012"/>
                  <a:gd name="connsiteY67" fmla="*/ 0 h 1533525"/>
                  <a:gd name="connsiteX68" fmla="*/ 971550 w 1624012"/>
                  <a:gd name="connsiteY68" fmla="*/ 40481 h 1533525"/>
                  <a:gd name="connsiteX69" fmla="*/ 950118 w 1624012"/>
                  <a:gd name="connsiteY69" fmla="*/ 80963 h 1533525"/>
                  <a:gd name="connsiteX70" fmla="*/ 950118 w 1624012"/>
                  <a:gd name="connsiteY70" fmla="*/ 140494 h 1533525"/>
                  <a:gd name="connsiteX71" fmla="*/ 969168 w 1624012"/>
                  <a:gd name="connsiteY71" fmla="*/ 161925 h 1533525"/>
                  <a:gd name="connsiteX72" fmla="*/ 1007268 w 1624012"/>
                  <a:gd name="connsiteY72" fmla="*/ 188119 h 1533525"/>
                  <a:gd name="connsiteX73" fmla="*/ 1019175 w 1624012"/>
                  <a:gd name="connsiteY73" fmla="*/ 216694 h 1533525"/>
                  <a:gd name="connsiteX74" fmla="*/ 1004887 w 1624012"/>
                  <a:gd name="connsiteY74" fmla="*/ 226219 h 1533525"/>
                  <a:gd name="connsiteX75" fmla="*/ 1057275 w 1624012"/>
                  <a:gd name="connsiteY75" fmla="*/ 250031 h 1533525"/>
                  <a:gd name="connsiteX76" fmla="*/ 1073943 w 1624012"/>
                  <a:gd name="connsiteY76" fmla="*/ 228600 h 1533525"/>
                  <a:gd name="connsiteX77" fmla="*/ 1083468 w 1624012"/>
                  <a:gd name="connsiteY77" fmla="*/ 252413 h 1533525"/>
                  <a:gd name="connsiteX78" fmla="*/ 1116806 w 1624012"/>
                  <a:gd name="connsiteY78" fmla="*/ 252413 h 1533525"/>
                  <a:gd name="connsiteX79" fmla="*/ 1123950 w 1624012"/>
                  <a:gd name="connsiteY79" fmla="*/ 257175 h 1533525"/>
                  <a:gd name="connsiteX80" fmla="*/ 1116806 w 1624012"/>
                  <a:gd name="connsiteY80" fmla="*/ 276225 h 1533525"/>
                  <a:gd name="connsiteX81" fmla="*/ 1088231 w 1624012"/>
                  <a:gd name="connsiteY81" fmla="*/ 309563 h 1533525"/>
                  <a:gd name="connsiteX82" fmla="*/ 1123950 w 1624012"/>
                  <a:gd name="connsiteY82" fmla="*/ 333375 h 1533525"/>
                  <a:gd name="connsiteX83" fmla="*/ 1135856 w 1624012"/>
                  <a:gd name="connsiteY83" fmla="*/ 347663 h 1533525"/>
                  <a:gd name="connsiteX84" fmla="*/ 1135856 w 1624012"/>
                  <a:gd name="connsiteY84" fmla="*/ 376238 h 1533525"/>
                  <a:gd name="connsiteX85" fmla="*/ 1119187 w 1624012"/>
                  <a:gd name="connsiteY85" fmla="*/ 411956 h 1533525"/>
                  <a:gd name="connsiteX86" fmla="*/ 1162050 w 1624012"/>
                  <a:gd name="connsiteY86" fmla="*/ 423863 h 1533525"/>
                  <a:gd name="connsiteX87" fmla="*/ 1233487 w 1624012"/>
                  <a:gd name="connsiteY87" fmla="*/ 416719 h 1533525"/>
                  <a:gd name="connsiteX88" fmla="*/ 1223962 w 1624012"/>
                  <a:gd name="connsiteY88" fmla="*/ 385763 h 1533525"/>
                  <a:gd name="connsiteX89" fmla="*/ 1188243 w 1624012"/>
                  <a:gd name="connsiteY89" fmla="*/ 347663 h 1533525"/>
                  <a:gd name="connsiteX90" fmla="*/ 1181100 w 1624012"/>
                  <a:gd name="connsiteY90" fmla="*/ 333375 h 1533525"/>
                  <a:gd name="connsiteX91" fmla="*/ 1207293 w 1624012"/>
                  <a:gd name="connsiteY91" fmla="*/ 326231 h 1533525"/>
                  <a:gd name="connsiteX92" fmla="*/ 1200150 w 1624012"/>
                  <a:gd name="connsiteY92" fmla="*/ 302419 h 1533525"/>
                  <a:gd name="connsiteX93" fmla="*/ 1223962 w 1624012"/>
                  <a:gd name="connsiteY93" fmla="*/ 283369 h 1533525"/>
                  <a:gd name="connsiteX94" fmla="*/ 1250156 w 1624012"/>
                  <a:gd name="connsiteY94" fmla="*/ 242888 h 1533525"/>
                  <a:gd name="connsiteX95" fmla="*/ 1302543 w 1624012"/>
                  <a:gd name="connsiteY95" fmla="*/ 211931 h 1533525"/>
                  <a:gd name="connsiteX96" fmla="*/ 1350168 w 1624012"/>
                  <a:gd name="connsiteY96" fmla="*/ 123825 h 1533525"/>
                  <a:gd name="connsiteX97" fmla="*/ 1543050 w 1624012"/>
                  <a:gd name="connsiteY97" fmla="*/ 147638 h 1533525"/>
                  <a:gd name="connsiteX98" fmla="*/ 1547812 w 1624012"/>
                  <a:gd name="connsiteY98" fmla="*/ 121444 h 1533525"/>
                  <a:gd name="connsiteX99" fmla="*/ 1574006 w 1624012"/>
                  <a:gd name="connsiteY99" fmla="*/ 121444 h 1533525"/>
                  <a:gd name="connsiteX100" fmla="*/ 1624012 w 1624012"/>
                  <a:gd name="connsiteY100" fmla="*/ 109538 h 1533525"/>
                  <a:gd name="connsiteX101" fmla="*/ 1057275 w 1624012"/>
                  <a:gd name="connsiteY101" fmla="*/ 264319 h 1533525"/>
                  <a:gd name="connsiteX102" fmla="*/ 1062037 w 1624012"/>
                  <a:gd name="connsiteY102" fmla="*/ 304800 h 1533525"/>
                  <a:gd name="connsiteX103" fmla="*/ 995362 w 1624012"/>
                  <a:gd name="connsiteY103" fmla="*/ 352425 h 1533525"/>
                  <a:gd name="connsiteX104" fmla="*/ 973931 w 1624012"/>
                  <a:gd name="connsiteY104" fmla="*/ 383381 h 1533525"/>
                  <a:gd name="connsiteX105" fmla="*/ 1000125 w 1624012"/>
                  <a:gd name="connsiteY105" fmla="*/ 428625 h 1533525"/>
                  <a:gd name="connsiteX106" fmla="*/ 983456 w 1624012"/>
                  <a:gd name="connsiteY106" fmla="*/ 466725 h 1533525"/>
                  <a:gd name="connsiteX107" fmla="*/ 1000125 w 1624012"/>
                  <a:gd name="connsiteY107" fmla="*/ 519113 h 1533525"/>
                  <a:gd name="connsiteX108" fmla="*/ 1033462 w 1624012"/>
                  <a:gd name="connsiteY108" fmla="*/ 519113 h 1533525"/>
                  <a:gd name="connsiteX109" fmla="*/ 1019175 w 1624012"/>
                  <a:gd name="connsiteY109" fmla="*/ 552450 h 1533525"/>
                  <a:gd name="connsiteX110" fmla="*/ 1035843 w 1624012"/>
                  <a:gd name="connsiteY110" fmla="*/ 590550 h 1533525"/>
                  <a:gd name="connsiteX111" fmla="*/ 1035843 w 1624012"/>
                  <a:gd name="connsiteY111" fmla="*/ 607219 h 1533525"/>
                  <a:gd name="connsiteX112" fmla="*/ 1045368 w 1624012"/>
                  <a:gd name="connsiteY112" fmla="*/ 645319 h 1533525"/>
                  <a:gd name="connsiteX113" fmla="*/ 1064418 w 1624012"/>
                  <a:gd name="connsiteY113" fmla="*/ 645319 h 1533525"/>
                  <a:gd name="connsiteX114" fmla="*/ 1078706 w 1624012"/>
                  <a:gd name="connsiteY114" fmla="*/ 666750 h 1533525"/>
                  <a:gd name="connsiteX115" fmla="*/ 1085850 w 1624012"/>
                  <a:gd name="connsiteY115" fmla="*/ 688181 h 1533525"/>
                  <a:gd name="connsiteX116" fmla="*/ 1076325 w 1624012"/>
                  <a:gd name="connsiteY116" fmla="*/ 719138 h 1533525"/>
                  <a:gd name="connsiteX117" fmla="*/ 1021556 w 1624012"/>
                  <a:gd name="connsiteY117" fmla="*/ 714375 h 1533525"/>
                  <a:gd name="connsiteX118" fmla="*/ 1002506 w 1624012"/>
                  <a:gd name="connsiteY118" fmla="*/ 721519 h 1533525"/>
                  <a:gd name="connsiteX119" fmla="*/ 995362 w 1624012"/>
                  <a:gd name="connsiteY119" fmla="*/ 726281 h 1533525"/>
                  <a:gd name="connsiteX120" fmla="*/ 995362 w 1624012"/>
                  <a:gd name="connsiteY120" fmla="*/ 726281 h 1533525"/>
                  <a:gd name="connsiteX121" fmla="*/ 923925 w 1624012"/>
                  <a:gd name="connsiteY121" fmla="*/ 721519 h 1533525"/>
                  <a:gd name="connsiteX122" fmla="*/ 940593 w 1624012"/>
                  <a:gd name="connsiteY122" fmla="*/ 778669 h 1533525"/>
                  <a:gd name="connsiteX123" fmla="*/ 938212 w 1624012"/>
                  <a:gd name="connsiteY123" fmla="*/ 847725 h 1533525"/>
                  <a:gd name="connsiteX124" fmla="*/ 954881 w 1624012"/>
                  <a:gd name="connsiteY124" fmla="*/ 871538 h 1533525"/>
                  <a:gd name="connsiteX125" fmla="*/ 997743 w 1624012"/>
                  <a:gd name="connsiteY125" fmla="*/ 919163 h 1533525"/>
                  <a:gd name="connsiteX126" fmla="*/ 1012031 w 1624012"/>
                  <a:gd name="connsiteY126" fmla="*/ 954881 h 1533525"/>
                  <a:gd name="connsiteX127" fmla="*/ 1031081 w 1624012"/>
                  <a:gd name="connsiteY127" fmla="*/ 954881 h 1533525"/>
                  <a:gd name="connsiteX128" fmla="*/ 1071562 w 1624012"/>
                  <a:gd name="connsiteY128" fmla="*/ 940594 h 1533525"/>
                  <a:gd name="connsiteX129" fmla="*/ 1102518 w 1624012"/>
                  <a:gd name="connsiteY129" fmla="*/ 933450 h 1533525"/>
                  <a:gd name="connsiteX130" fmla="*/ 1159668 w 1624012"/>
                  <a:gd name="connsiteY130" fmla="*/ 997744 h 1533525"/>
                  <a:gd name="connsiteX131" fmla="*/ 1178718 w 1624012"/>
                  <a:gd name="connsiteY131" fmla="*/ 1052513 h 1533525"/>
                  <a:gd name="connsiteX132" fmla="*/ 1190625 w 1624012"/>
                  <a:gd name="connsiteY132" fmla="*/ 1081088 h 1533525"/>
                  <a:gd name="connsiteX133" fmla="*/ 1212056 w 1624012"/>
                  <a:gd name="connsiteY133" fmla="*/ 1109663 h 1533525"/>
                  <a:gd name="connsiteX134" fmla="*/ 1231106 w 1624012"/>
                  <a:gd name="connsiteY134" fmla="*/ 1102519 h 1533525"/>
                  <a:gd name="connsiteX135" fmla="*/ 1231106 w 1624012"/>
                  <a:gd name="connsiteY135" fmla="*/ 1131094 h 1533525"/>
                  <a:gd name="connsiteX136" fmla="*/ 1233487 w 1624012"/>
                  <a:gd name="connsiteY136" fmla="*/ 1145381 h 1533525"/>
                  <a:gd name="connsiteX137" fmla="*/ 1266825 w 1624012"/>
                  <a:gd name="connsiteY137" fmla="*/ 1181100 h 1533525"/>
                  <a:gd name="connsiteX138" fmla="*/ 1233487 w 1624012"/>
                  <a:gd name="connsiteY138" fmla="*/ 1181100 h 1533525"/>
                  <a:gd name="connsiteX139" fmla="*/ 1228725 w 1624012"/>
                  <a:gd name="connsiteY139" fmla="*/ 1223963 h 1533525"/>
                  <a:gd name="connsiteX140" fmla="*/ 1226343 w 1624012"/>
                  <a:gd name="connsiteY140" fmla="*/ 1243013 h 1533525"/>
                  <a:gd name="connsiteX141" fmla="*/ 1216818 w 1624012"/>
                  <a:gd name="connsiteY141" fmla="*/ 1264444 h 1533525"/>
                  <a:gd name="connsiteX142" fmla="*/ 1190625 w 1624012"/>
                  <a:gd name="connsiteY142" fmla="*/ 1238250 h 1533525"/>
                  <a:gd name="connsiteX143" fmla="*/ 1157287 w 1624012"/>
                  <a:gd name="connsiteY143" fmla="*/ 1209675 h 1533525"/>
                  <a:gd name="connsiteX144" fmla="*/ 1131093 w 1624012"/>
                  <a:gd name="connsiteY144" fmla="*/ 1185863 h 1533525"/>
                  <a:gd name="connsiteX145" fmla="*/ 1107281 w 1624012"/>
                  <a:gd name="connsiteY145" fmla="*/ 1219200 h 1533525"/>
                  <a:gd name="connsiteX146" fmla="*/ 1104900 w 1624012"/>
                  <a:gd name="connsiteY146" fmla="*/ 1264444 h 1533525"/>
                  <a:gd name="connsiteX147" fmla="*/ 1062037 w 1624012"/>
                  <a:gd name="connsiteY147" fmla="*/ 1259681 h 1533525"/>
                  <a:gd name="connsiteX148" fmla="*/ 1026318 w 1624012"/>
                  <a:gd name="connsiteY148" fmla="*/ 1288256 h 1533525"/>
                  <a:gd name="connsiteX149" fmla="*/ 1007268 w 1624012"/>
                  <a:gd name="connsiteY149" fmla="*/ 1240631 h 1533525"/>
                  <a:gd name="connsiteX150" fmla="*/ 947737 w 1624012"/>
                  <a:gd name="connsiteY150" fmla="*/ 1231106 h 1533525"/>
                  <a:gd name="connsiteX151" fmla="*/ 921543 w 1624012"/>
                  <a:gd name="connsiteY151" fmla="*/ 1297781 h 1533525"/>
                  <a:gd name="connsiteX152" fmla="*/ 885825 w 1624012"/>
                  <a:gd name="connsiteY152" fmla="*/ 1278731 h 1533525"/>
                  <a:gd name="connsiteX153" fmla="*/ 816768 w 1624012"/>
                  <a:gd name="connsiteY153" fmla="*/ 1295400 h 1533525"/>
                  <a:gd name="connsiteX154" fmla="*/ 757237 w 1624012"/>
                  <a:gd name="connsiteY154" fmla="*/ 1259681 h 1533525"/>
                  <a:gd name="connsiteX155" fmla="*/ 742950 w 1624012"/>
                  <a:gd name="connsiteY155" fmla="*/ 1312069 h 1533525"/>
                  <a:gd name="connsiteX156" fmla="*/ 704850 w 1624012"/>
                  <a:gd name="connsiteY156" fmla="*/ 1345406 h 1533525"/>
                  <a:gd name="connsiteX157" fmla="*/ 692943 w 1624012"/>
                  <a:gd name="connsiteY157" fmla="*/ 1366838 h 1533525"/>
                  <a:gd name="connsiteX158" fmla="*/ 671512 w 1624012"/>
                  <a:gd name="connsiteY158" fmla="*/ 1509713 h 1533525"/>
                  <a:gd name="connsiteX159" fmla="*/ 633412 w 1624012"/>
                  <a:gd name="connsiteY159" fmla="*/ 1490663 h 1533525"/>
                  <a:gd name="connsiteX160" fmla="*/ 614362 w 1624012"/>
                  <a:gd name="connsiteY160" fmla="*/ 1504950 h 1533525"/>
                  <a:gd name="connsiteX161" fmla="*/ 581025 w 1624012"/>
                  <a:gd name="connsiteY161" fmla="*/ 1531144 h 1533525"/>
                  <a:gd name="connsiteX162" fmla="*/ 523875 w 1624012"/>
                  <a:gd name="connsiteY162" fmla="*/ 1502569 h 1533525"/>
                  <a:gd name="connsiteX163" fmla="*/ 514350 w 1624012"/>
                  <a:gd name="connsiteY163" fmla="*/ 1490663 h 1533525"/>
                  <a:gd name="connsiteX164" fmla="*/ 483393 w 1624012"/>
                  <a:gd name="connsiteY164" fmla="*/ 1533525 h 1533525"/>
                  <a:gd name="connsiteX0" fmla="*/ 483393 w 1574006"/>
                  <a:gd name="connsiteY0" fmla="*/ 1533525 h 1533525"/>
                  <a:gd name="connsiteX1" fmla="*/ 459581 w 1574006"/>
                  <a:gd name="connsiteY1" fmla="*/ 1481138 h 1533525"/>
                  <a:gd name="connsiteX2" fmla="*/ 438150 w 1574006"/>
                  <a:gd name="connsiteY2" fmla="*/ 1471613 h 1533525"/>
                  <a:gd name="connsiteX3" fmla="*/ 400050 w 1574006"/>
                  <a:gd name="connsiteY3" fmla="*/ 1485900 h 1533525"/>
                  <a:gd name="connsiteX4" fmla="*/ 338137 w 1574006"/>
                  <a:gd name="connsiteY4" fmla="*/ 1490663 h 1533525"/>
                  <a:gd name="connsiteX5" fmla="*/ 330993 w 1574006"/>
                  <a:gd name="connsiteY5" fmla="*/ 1497806 h 1533525"/>
                  <a:gd name="connsiteX6" fmla="*/ 271462 w 1574006"/>
                  <a:gd name="connsiteY6" fmla="*/ 1471613 h 1533525"/>
                  <a:gd name="connsiteX7" fmla="*/ 219075 w 1574006"/>
                  <a:gd name="connsiteY7" fmla="*/ 1443038 h 1533525"/>
                  <a:gd name="connsiteX8" fmla="*/ 138112 w 1574006"/>
                  <a:gd name="connsiteY8" fmla="*/ 1402556 h 1533525"/>
                  <a:gd name="connsiteX9" fmla="*/ 95250 w 1574006"/>
                  <a:gd name="connsiteY9" fmla="*/ 1316831 h 1533525"/>
                  <a:gd name="connsiteX10" fmla="*/ 80962 w 1574006"/>
                  <a:gd name="connsiteY10" fmla="*/ 1288256 h 1533525"/>
                  <a:gd name="connsiteX11" fmla="*/ 104775 w 1574006"/>
                  <a:gd name="connsiteY11" fmla="*/ 1266825 h 1533525"/>
                  <a:gd name="connsiteX12" fmla="*/ 76200 w 1574006"/>
                  <a:gd name="connsiteY12" fmla="*/ 1212056 h 1533525"/>
                  <a:gd name="connsiteX13" fmla="*/ 109537 w 1574006"/>
                  <a:gd name="connsiteY13" fmla="*/ 1193006 h 1533525"/>
                  <a:gd name="connsiteX14" fmla="*/ 140493 w 1574006"/>
                  <a:gd name="connsiteY14" fmla="*/ 1143000 h 1533525"/>
                  <a:gd name="connsiteX15" fmla="*/ 123825 w 1574006"/>
                  <a:gd name="connsiteY15" fmla="*/ 1107281 h 1533525"/>
                  <a:gd name="connsiteX16" fmla="*/ 178593 w 1574006"/>
                  <a:gd name="connsiteY16" fmla="*/ 1107281 h 1533525"/>
                  <a:gd name="connsiteX17" fmla="*/ 192881 w 1574006"/>
                  <a:gd name="connsiteY17" fmla="*/ 1109663 h 1533525"/>
                  <a:gd name="connsiteX18" fmla="*/ 159543 w 1574006"/>
                  <a:gd name="connsiteY18" fmla="*/ 1064419 h 1533525"/>
                  <a:gd name="connsiteX19" fmla="*/ 169068 w 1574006"/>
                  <a:gd name="connsiteY19" fmla="*/ 1014413 h 1533525"/>
                  <a:gd name="connsiteX20" fmla="*/ 123825 w 1574006"/>
                  <a:gd name="connsiteY20" fmla="*/ 997744 h 1533525"/>
                  <a:gd name="connsiteX21" fmla="*/ 61912 w 1574006"/>
                  <a:gd name="connsiteY21" fmla="*/ 954881 h 1533525"/>
                  <a:gd name="connsiteX22" fmla="*/ 45243 w 1574006"/>
                  <a:gd name="connsiteY22" fmla="*/ 938213 h 1533525"/>
                  <a:gd name="connsiteX23" fmla="*/ 64293 w 1574006"/>
                  <a:gd name="connsiteY23" fmla="*/ 909638 h 1533525"/>
                  <a:gd name="connsiteX24" fmla="*/ 47625 w 1574006"/>
                  <a:gd name="connsiteY24" fmla="*/ 897731 h 1533525"/>
                  <a:gd name="connsiteX25" fmla="*/ 47625 w 1574006"/>
                  <a:gd name="connsiteY25" fmla="*/ 881063 h 1533525"/>
                  <a:gd name="connsiteX26" fmla="*/ 26193 w 1574006"/>
                  <a:gd name="connsiteY26" fmla="*/ 881063 h 1533525"/>
                  <a:gd name="connsiteX27" fmla="*/ 7143 w 1574006"/>
                  <a:gd name="connsiteY27" fmla="*/ 847725 h 1533525"/>
                  <a:gd name="connsiteX28" fmla="*/ 0 w 1574006"/>
                  <a:gd name="connsiteY28" fmla="*/ 816769 h 1533525"/>
                  <a:gd name="connsiteX29" fmla="*/ 54768 w 1574006"/>
                  <a:gd name="connsiteY29" fmla="*/ 800100 h 1533525"/>
                  <a:gd name="connsiteX30" fmla="*/ 76200 w 1574006"/>
                  <a:gd name="connsiteY30" fmla="*/ 788194 h 1533525"/>
                  <a:gd name="connsiteX31" fmla="*/ 128587 w 1574006"/>
                  <a:gd name="connsiteY31" fmla="*/ 821531 h 1533525"/>
                  <a:gd name="connsiteX32" fmla="*/ 126206 w 1574006"/>
                  <a:gd name="connsiteY32" fmla="*/ 800100 h 1533525"/>
                  <a:gd name="connsiteX33" fmla="*/ 164306 w 1574006"/>
                  <a:gd name="connsiteY33" fmla="*/ 795338 h 1533525"/>
                  <a:gd name="connsiteX34" fmla="*/ 173831 w 1574006"/>
                  <a:gd name="connsiteY34" fmla="*/ 759619 h 1533525"/>
                  <a:gd name="connsiteX35" fmla="*/ 235743 w 1574006"/>
                  <a:gd name="connsiteY35" fmla="*/ 764381 h 1533525"/>
                  <a:gd name="connsiteX36" fmla="*/ 235743 w 1574006"/>
                  <a:gd name="connsiteY36" fmla="*/ 764381 h 1533525"/>
                  <a:gd name="connsiteX37" fmla="*/ 245268 w 1574006"/>
                  <a:gd name="connsiteY37" fmla="*/ 704850 h 1533525"/>
                  <a:gd name="connsiteX38" fmla="*/ 276225 w 1574006"/>
                  <a:gd name="connsiteY38" fmla="*/ 666750 h 1533525"/>
                  <a:gd name="connsiteX39" fmla="*/ 292893 w 1574006"/>
                  <a:gd name="connsiteY39" fmla="*/ 638175 h 1533525"/>
                  <a:gd name="connsiteX40" fmla="*/ 245268 w 1574006"/>
                  <a:gd name="connsiteY40" fmla="*/ 602456 h 1533525"/>
                  <a:gd name="connsiteX41" fmla="*/ 264318 w 1574006"/>
                  <a:gd name="connsiteY41" fmla="*/ 585788 h 1533525"/>
                  <a:gd name="connsiteX42" fmla="*/ 311943 w 1574006"/>
                  <a:gd name="connsiteY42" fmla="*/ 602456 h 1533525"/>
                  <a:gd name="connsiteX43" fmla="*/ 369093 w 1574006"/>
                  <a:gd name="connsiteY43" fmla="*/ 573881 h 1533525"/>
                  <a:gd name="connsiteX44" fmla="*/ 457200 w 1574006"/>
                  <a:gd name="connsiteY44" fmla="*/ 545306 h 1533525"/>
                  <a:gd name="connsiteX45" fmla="*/ 538162 w 1574006"/>
                  <a:gd name="connsiteY45" fmla="*/ 578644 h 1533525"/>
                  <a:gd name="connsiteX46" fmla="*/ 614362 w 1574006"/>
                  <a:gd name="connsiteY46" fmla="*/ 550069 h 1533525"/>
                  <a:gd name="connsiteX47" fmla="*/ 650081 w 1574006"/>
                  <a:gd name="connsiteY47" fmla="*/ 552450 h 1533525"/>
                  <a:gd name="connsiteX48" fmla="*/ 654843 w 1574006"/>
                  <a:gd name="connsiteY48" fmla="*/ 523875 h 1533525"/>
                  <a:gd name="connsiteX49" fmla="*/ 654843 w 1574006"/>
                  <a:gd name="connsiteY49" fmla="*/ 490538 h 1533525"/>
                  <a:gd name="connsiteX50" fmla="*/ 669131 w 1574006"/>
                  <a:gd name="connsiteY50" fmla="*/ 469106 h 1533525"/>
                  <a:gd name="connsiteX51" fmla="*/ 652462 w 1574006"/>
                  <a:gd name="connsiteY51" fmla="*/ 450056 h 1533525"/>
                  <a:gd name="connsiteX52" fmla="*/ 642937 w 1574006"/>
                  <a:gd name="connsiteY52" fmla="*/ 411956 h 1533525"/>
                  <a:gd name="connsiteX53" fmla="*/ 642937 w 1574006"/>
                  <a:gd name="connsiteY53" fmla="*/ 330994 h 1533525"/>
                  <a:gd name="connsiteX54" fmla="*/ 633412 w 1574006"/>
                  <a:gd name="connsiteY54" fmla="*/ 319088 h 1533525"/>
                  <a:gd name="connsiteX55" fmla="*/ 664368 w 1574006"/>
                  <a:gd name="connsiteY55" fmla="*/ 285750 h 1533525"/>
                  <a:gd name="connsiteX56" fmla="*/ 721518 w 1574006"/>
                  <a:gd name="connsiteY56" fmla="*/ 292894 h 1533525"/>
                  <a:gd name="connsiteX57" fmla="*/ 733425 w 1574006"/>
                  <a:gd name="connsiteY57" fmla="*/ 264319 h 1533525"/>
                  <a:gd name="connsiteX58" fmla="*/ 731043 w 1574006"/>
                  <a:gd name="connsiteY58" fmla="*/ 228600 h 1533525"/>
                  <a:gd name="connsiteX59" fmla="*/ 790575 w 1574006"/>
                  <a:gd name="connsiteY59" fmla="*/ 192881 h 1533525"/>
                  <a:gd name="connsiteX60" fmla="*/ 804862 w 1574006"/>
                  <a:gd name="connsiteY60" fmla="*/ 166688 h 1533525"/>
                  <a:gd name="connsiteX61" fmla="*/ 778668 w 1574006"/>
                  <a:gd name="connsiteY61" fmla="*/ 128588 h 1533525"/>
                  <a:gd name="connsiteX62" fmla="*/ 771525 w 1574006"/>
                  <a:gd name="connsiteY62" fmla="*/ 104775 h 1533525"/>
                  <a:gd name="connsiteX63" fmla="*/ 823912 w 1574006"/>
                  <a:gd name="connsiteY63" fmla="*/ 97631 h 1533525"/>
                  <a:gd name="connsiteX64" fmla="*/ 869156 w 1574006"/>
                  <a:gd name="connsiteY64" fmla="*/ 52388 h 1533525"/>
                  <a:gd name="connsiteX65" fmla="*/ 890587 w 1574006"/>
                  <a:gd name="connsiteY65" fmla="*/ 23813 h 1533525"/>
                  <a:gd name="connsiteX66" fmla="*/ 923925 w 1574006"/>
                  <a:gd name="connsiteY66" fmla="*/ 9525 h 1533525"/>
                  <a:gd name="connsiteX67" fmla="*/ 971550 w 1574006"/>
                  <a:gd name="connsiteY67" fmla="*/ 0 h 1533525"/>
                  <a:gd name="connsiteX68" fmla="*/ 971550 w 1574006"/>
                  <a:gd name="connsiteY68" fmla="*/ 40481 h 1533525"/>
                  <a:gd name="connsiteX69" fmla="*/ 950118 w 1574006"/>
                  <a:gd name="connsiteY69" fmla="*/ 80963 h 1533525"/>
                  <a:gd name="connsiteX70" fmla="*/ 950118 w 1574006"/>
                  <a:gd name="connsiteY70" fmla="*/ 140494 h 1533525"/>
                  <a:gd name="connsiteX71" fmla="*/ 969168 w 1574006"/>
                  <a:gd name="connsiteY71" fmla="*/ 161925 h 1533525"/>
                  <a:gd name="connsiteX72" fmla="*/ 1007268 w 1574006"/>
                  <a:gd name="connsiteY72" fmla="*/ 188119 h 1533525"/>
                  <a:gd name="connsiteX73" fmla="*/ 1019175 w 1574006"/>
                  <a:gd name="connsiteY73" fmla="*/ 216694 h 1533525"/>
                  <a:gd name="connsiteX74" fmla="*/ 1004887 w 1574006"/>
                  <a:gd name="connsiteY74" fmla="*/ 226219 h 1533525"/>
                  <a:gd name="connsiteX75" fmla="*/ 1057275 w 1574006"/>
                  <a:gd name="connsiteY75" fmla="*/ 250031 h 1533525"/>
                  <a:gd name="connsiteX76" fmla="*/ 1073943 w 1574006"/>
                  <a:gd name="connsiteY76" fmla="*/ 228600 h 1533525"/>
                  <a:gd name="connsiteX77" fmla="*/ 1083468 w 1574006"/>
                  <a:gd name="connsiteY77" fmla="*/ 252413 h 1533525"/>
                  <a:gd name="connsiteX78" fmla="*/ 1116806 w 1574006"/>
                  <a:gd name="connsiteY78" fmla="*/ 252413 h 1533525"/>
                  <a:gd name="connsiteX79" fmla="*/ 1123950 w 1574006"/>
                  <a:gd name="connsiteY79" fmla="*/ 257175 h 1533525"/>
                  <a:gd name="connsiteX80" fmla="*/ 1116806 w 1574006"/>
                  <a:gd name="connsiteY80" fmla="*/ 276225 h 1533525"/>
                  <a:gd name="connsiteX81" fmla="*/ 1088231 w 1574006"/>
                  <a:gd name="connsiteY81" fmla="*/ 309563 h 1533525"/>
                  <a:gd name="connsiteX82" fmla="*/ 1123950 w 1574006"/>
                  <a:gd name="connsiteY82" fmla="*/ 333375 h 1533525"/>
                  <a:gd name="connsiteX83" fmla="*/ 1135856 w 1574006"/>
                  <a:gd name="connsiteY83" fmla="*/ 347663 h 1533525"/>
                  <a:gd name="connsiteX84" fmla="*/ 1135856 w 1574006"/>
                  <a:gd name="connsiteY84" fmla="*/ 376238 h 1533525"/>
                  <a:gd name="connsiteX85" fmla="*/ 1119187 w 1574006"/>
                  <a:gd name="connsiteY85" fmla="*/ 411956 h 1533525"/>
                  <a:gd name="connsiteX86" fmla="*/ 1162050 w 1574006"/>
                  <a:gd name="connsiteY86" fmla="*/ 423863 h 1533525"/>
                  <a:gd name="connsiteX87" fmla="*/ 1233487 w 1574006"/>
                  <a:gd name="connsiteY87" fmla="*/ 416719 h 1533525"/>
                  <a:gd name="connsiteX88" fmla="*/ 1223962 w 1574006"/>
                  <a:gd name="connsiteY88" fmla="*/ 385763 h 1533525"/>
                  <a:gd name="connsiteX89" fmla="*/ 1188243 w 1574006"/>
                  <a:gd name="connsiteY89" fmla="*/ 347663 h 1533525"/>
                  <a:gd name="connsiteX90" fmla="*/ 1181100 w 1574006"/>
                  <a:gd name="connsiteY90" fmla="*/ 333375 h 1533525"/>
                  <a:gd name="connsiteX91" fmla="*/ 1207293 w 1574006"/>
                  <a:gd name="connsiteY91" fmla="*/ 326231 h 1533525"/>
                  <a:gd name="connsiteX92" fmla="*/ 1200150 w 1574006"/>
                  <a:gd name="connsiteY92" fmla="*/ 302419 h 1533525"/>
                  <a:gd name="connsiteX93" fmla="*/ 1223962 w 1574006"/>
                  <a:gd name="connsiteY93" fmla="*/ 283369 h 1533525"/>
                  <a:gd name="connsiteX94" fmla="*/ 1250156 w 1574006"/>
                  <a:gd name="connsiteY94" fmla="*/ 242888 h 1533525"/>
                  <a:gd name="connsiteX95" fmla="*/ 1302543 w 1574006"/>
                  <a:gd name="connsiteY95" fmla="*/ 211931 h 1533525"/>
                  <a:gd name="connsiteX96" fmla="*/ 1350168 w 1574006"/>
                  <a:gd name="connsiteY96" fmla="*/ 123825 h 1533525"/>
                  <a:gd name="connsiteX97" fmla="*/ 1543050 w 1574006"/>
                  <a:gd name="connsiteY97" fmla="*/ 147638 h 1533525"/>
                  <a:gd name="connsiteX98" fmla="*/ 1547812 w 1574006"/>
                  <a:gd name="connsiteY98" fmla="*/ 121444 h 1533525"/>
                  <a:gd name="connsiteX99" fmla="*/ 1574006 w 1574006"/>
                  <a:gd name="connsiteY99" fmla="*/ 121444 h 1533525"/>
                  <a:gd name="connsiteX100" fmla="*/ 1057275 w 1574006"/>
                  <a:gd name="connsiteY100" fmla="*/ 264319 h 1533525"/>
                  <a:gd name="connsiteX101" fmla="*/ 1062037 w 1574006"/>
                  <a:gd name="connsiteY101" fmla="*/ 304800 h 1533525"/>
                  <a:gd name="connsiteX102" fmla="*/ 995362 w 1574006"/>
                  <a:gd name="connsiteY102" fmla="*/ 352425 h 1533525"/>
                  <a:gd name="connsiteX103" fmla="*/ 973931 w 1574006"/>
                  <a:gd name="connsiteY103" fmla="*/ 383381 h 1533525"/>
                  <a:gd name="connsiteX104" fmla="*/ 1000125 w 1574006"/>
                  <a:gd name="connsiteY104" fmla="*/ 428625 h 1533525"/>
                  <a:gd name="connsiteX105" fmla="*/ 983456 w 1574006"/>
                  <a:gd name="connsiteY105" fmla="*/ 466725 h 1533525"/>
                  <a:gd name="connsiteX106" fmla="*/ 1000125 w 1574006"/>
                  <a:gd name="connsiteY106" fmla="*/ 519113 h 1533525"/>
                  <a:gd name="connsiteX107" fmla="*/ 1033462 w 1574006"/>
                  <a:gd name="connsiteY107" fmla="*/ 519113 h 1533525"/>
                  <a:gd name="connsiteX108" fmla="*/ 1019175 w 1574006"/>
                  <a:gd name="connsiteY108" fmla="*/ 552450 h 1533525"/>
                  <a:gd name="connsiteX109" fmla="*/ 1035843 w 1574006"/>
                  <a:gd name="connsiteY109" fmla="*/ 590550 h 1533525"/>
                  <a:gd name="connsiteX110" fmla="*/ 1035843 w 1574006"/>
                  <a:gd name="connsiteY110" fmla="*/ 607219 h 1533525"/>
                  <a:gd name="connsiteX111" fmla="*/ 1045368 w 1574006"/>
                  <a:gd name="connsiteY111" fmla="*/ 645319 h 1533525"/>
                  <a:gd name="connsiteX112" fmla="*/ 1064418 w 1574006"/>
                  <a:gd name="connsiteY112" fmla="*/ 645319 h 1533525"/>
                  <a:gd name="connsiteX113" fmla="*/ 1078706 w 1574006"/>
                  <a:gd name="connsiteY113" fmla="*/ 666750 h 1533525"/>
                  <a:gd name="connsiteX114" fmla="*/ 1085850 w 1574006"/>
                  <a:gd name="connsiteY114" fmla="*/ 688181 h 1533525"/>
                  <a:gd name="connsiteX115" fmla="*/ 1076325 w 1574006"/>
                  <a:gd name="connsiteY115" fmla="*/ 719138 h 1533525"/>
                  <a:gd name="connsiteX116" fmla="*/ 1021556 w 1574006"/>
                  <a:gd name="connsiteY116" fmla="*/ 714375 h 1533525"/>
                  <a:gd name="connsiteX117" fmla="*/ 1002506 w 1574006"/>
                  <a:gd name="connsiteY117" fmla="*/ 721519 h 1533525"/>
                  <a:gd name="connsiteX118" fmla="*/ 995362 w 1574006"/>
                  <a:gd name="connsiteY118" fmla="*/ 726281 h 1533525"/>
                  <a:gd name="connsiteX119" fmla="*/ 995362 w 1574006"/>
                  <a:gd name="connsiteY119" fmla="*/ 726281 h 1533525"/>
                  <a:gd name="connsiteX120" fmla="*/ 923925 w 1574006"/>
                  <a:gd name="connsiteY120" fmla="*/ 721519 h 1533525"/>
                  <a:gd name="connsiteX121" fmla="*/ 940593 w 1574006"/>
                  <a:gd name="connsiteY121" fmla="*/ 778669 h 1533525"/>
                  <a:gd name="connsiteX122" fmla="*/ 938212 w 1574006"/>
                  <a:gd name="connsiteY122" fmla="*/ 847725 h 1533525"/>
                  <a:gd name="connsiteX123" fmla="*/ 954881 w 1574006"/>
                  <a:gd name="connsiteY123" fmla="*/ 871538 h 1533525"/>
                  <a:gd name="connsiteX124" fmla="*/ 997743 w 1574006"/>
                  <a:gd name="connsiteY124" fmla="*/ 919163 h 1533525"/>
                  <a:gd name="connsiteX125" fmla="*/ 1012031 w 1574006"/>
                  <a:gd name="connsiteY125" fmla="*/ 954881 h 1533525"/>
                  <a:gd name="connsiteX126" fmla="*/ 1031081 w 1574006"/>
                  <a:gd name="connsiteY126" fmla="*/ 954881 h 1533525"/>
                  <a:gd name="connsiteX127" fmla="*/ 1071562 w 1574006"/>
                  <a:gd name="connsiteY127" fmla="*/ 940594 h 1533525"/>
                  <a:gd name="connsiteX128" fmla="*/ 1102518 w 1574006"/>
                  <a:gd name="connsiteY128" fmla="*/ 933450 h 1533525"/>
                  <a:gd name="connsiteX129" fmla="*/ 1159668 w 1574006"/>
                  <a:gd name="connsiteY129" fmla="*/ 997744 h 1533525"/>
                  <a:gd name="connsiteX130" fmla="*/ 1178718 w 1574006"/>
                  <a:gd name="connsiteY130" fmla="*/ 1052513 h 1533525"/>
                  <a:gd name="connsiteX131" fmla="*/ 1190625 w 1574006"/>
                  <a:gd name="connsiteY131" fmla="*/ 1081088 h 1533525"/>
                  <a:gd name="connsiteX132" fmla="*/ 1212056 w 1574006"/>
                  <a:gd name="connsiteY132" fmla="*/ 1109663 h 1533525"/>
                  <a:gd name="connsiteX133" fmla="*/ 1231106 w 1574006"/>
                  <a:gd name="connsiteY133" fmla="*/ 1102519 h 1533525"/>
                  <a:gd name="connsiteX134" fmla="*/ 1231106 w 1574006"/>
                  <a:gd name="connsiteY134" fmla="*/ 1131094 h 1533525"/>
                  <a:gd name="connsiteX135" fmla="*/ 1233487 w 1574006"/>
                  <a:gd name="connsiteY135" fmla="*/ 1145381 h 1533525"/>
                  <a:gd name="connsiteX136" fmla="*/ 1266825 w 1574006"/>
                  <a:gd name="connsiteY136" fmla="*/ 1181100 h 1533525"/>
                  <a:gd name="connsiteX137" fmla="*/ 1233487 w 1574006"/>
                  <a:gd name="connsiteY137" fmla="*/ 1181100 h 1533525"/>
                  <a:gd name="connsiteX138" fmla="*/ 1228725 w 1574006"/>
                  <a:gd name="connsiteY138" fmla="*/ 1223963 h 1533525"/>
                  <a:gd name="connsiteX139" fmla="*/ 1226343 w 1574006"/>
                  <a:gd name="connsiteY139" fmla="*/ 1243013 h 1533525"/>
                  <a:gd name="connsiteX140" fmla="*/ 1216818 w 1574006"/>
                  <a:gd name="connsiteY140" fmla="*/ 1264444 h 1533525"/>
                  <a:gd name="connsiteX141" fmla="*/ 1190625 w 1574006"/>
                  <a:gd name="connsiteY141" fmla="*/ 1238250 h 1533525"/>
                  <a:gd name="connsiteX142" fmla="*/ 1157287 w 1574006"/>
                  <a:gd name="connsiteY142" fmla="*/ 1209675 h 1533525"/>
                  <a:gd name="connsiteX143" fmla="*/ 1131093 w 1574006"/>
                  <a:gd name="connsiteY143" fmla="*/ 1185863 h 1533525"/>
                  <a:gd name="connsiteX144" fmla="*/ 1107281 w 1574006"/>
                  <a:gd name="connsiteY144" fmla="*/ 1219200 h 1533525"/>
                  <a:gd name="connsiteX145" fmla="*/ 1104900 w 1574006"/>
                  <a:gd name="connsiteY145" fmla="*/ 1264444 h 1533525"/>
                  <a:gd name="connsiteX146" fmla="*/ 1062037 w 1574006"/>
                  <a:gd name="connsiteY146" fmla="*/ 1259681 h 1533525"/>
                  <a:gd name="connsiteX147" fmla="*/ 1026318 w 1574006"/>
                  <a:gd name="connsiteY147" fmla="*/ 1288256 h 1533525"/>
                  <a:gd name="connsiteX148" fmla="*/ 1007268 w 1574006"/>
                  <a:gd name="connsiteY148" fmla="*/ 1240631 h 1533525"/>
                  <a:gd name="connsiteX149" fmla="*/ 947737 w 1574006"/>
                  <a:gd name="connsiteY149" fmla="*/ 1231106 h 1533525"/>
                  <a:gd name="connsiteX150" fmla="*/ 921543 w 1574006"/>
                  <a:gd name="connsiteY150" fmla="*/ 1297781 h 1533525"/>
                  <a:gd name="connsiteX151" fmla="*/ 885825 w 1574006"/>
                  <a:gd name="connsiteY151" fmla="*/ 1278731 h 1533525"/>
                  <a:gd name="connsiteX152" fmla="*/ 816768 w 1574006"/>
                  <a:gd name="connsiteY152" fmla="*/ 1295400 h 1533525"/>
                  <a:gd name="connsiteX153" fmla="*/ 757237 w 1574006"/>
                  <a:gd name="connsiteY153" fmla="*/ 1259681 h 1533525"/>
                  <a:gd name="connsiteX154" fmla="*/ 742950 w 1574006"/>
                  <a:gd name="connsiteY154" fmla="*/ 1312069 h 1533525"/>
                  <a:gd name="connsiteX155" fmla="*/ 704850 w 1574006"/>
                  <a:gd name="connsiteY155" fmla="*/ 1345406 h 1533525"/>
                  <a:gd name="connsiteX156" fmla="*/ 692943 w 1574006"/>
                  <a:gd name="connsiteY156" fmla="*/ 1366838 h 1533525"/>
                  <a:gd name="connsiteX157" fmla="*/ 671512 w 1574006"/>
                  <a:gd name="connsiteY157" fmla="*/ 1509713 h 1533525"/>
                  <a:gd name="connsiteX158" fmla="*/ 633412 w 1574006"/>
                  <a:gd name="connsiteY158" fmla="*/ 1490663 h 1533525"/>
                  <a:gd name="connsiteX159" fmla="*/ 614362 w 1574006"/>
                  <a:gd name="connsiteY159" fmla="*/ 1504950 h 1533525"/>
                  <a:gd name="connsiteX160" fmla="*/ 581025 w 1574006"/>
                  <a:gd name="connsiteY160" fmla="*/ 1531144 h 1533525"/>
                  <a:gd name="connsiteX161" fmla="*/ 523875 w 1574006"/>
                  <a:gd name="connsiteY161" fmla="*/ 1502569 h 1533525"/>
                  <a:gd name="connsiteX162" fmla="*/ 514350 w 1574006"/>
                  <a:gd name="connsiteY162" fmla="*/ 1490663 h 1533525"/>
                  <a:gd name="connsiteX163" fmla="*/ 483393 w 1574006"/>
                  <a:gd name="connsiteY163" fmla="*/ 1533525 h 1533525"/>
                  <a:gd name="connsiteX0" fmla="*/ 483393 w 1547812"/>
                  <a:gd name="connsiteY0" fmla="*/ 1533525 h 1533525"/>
                  <a:gd name="connsiteX1" fmla="*/ 459581 w 1547812"/>
                  <a:gd name="connsiteY1" fmla="*/ 1481138 h 1533525"/>
                  <a:gd name="connsiteX2" fmla="*/ 438150 w 1547812"/>
                  <a:gd name="connsiteY2" fmla="*/ 1471613 h 1533525"/>
                  <a:gd name="connsiteX3" fmla="*/ 400050 w 1547812"/>
                  <a:gd name="connsiteY3" fmla="*/ 1485900 h 1533525"/>
                  <a:gd name="connsiteX4" fmla="*/ 338137 w 1547812"/>
                  <a:gd name="connsiteY4" fmla="*/ 1490663 h 1533525"/>
                  <a:gd name="connsiteX5" fmla="*/ 330993 w 1547812"/>
                  <a:gd name="connsiteY5" fmla="*/ 1497806 h 1533525"/>
                  <a:gd name="connsiteX6" fmla="*/ 271462 w 1547812"/>
                  <a:gd name="connsiteY6" fmla="*/ 1471613 h 1533525"/>
                  <a:gd name="connsiteX7" fmla="*/ 219075 w 1547812"/>
                  <a:gd name="connsiteY7" fmla="*/ 1443038 h 1533525"/>
                  <a:gd name="connsiteX8" fmla="*/ 138112 w 1547812"/>
                  <a:gd name="connsiteY8" fmla="*/ 1402556 h 1533525"/>
                  <a:gd name="connsiteX9" fmla="*/ 95250 w 1547812"/>
                  <a:gd name="connsiteY9" fmla="*/ 1316831 h 1533525"/>
                  <a:gd name="connsiteX10" fmla="*/ 80962 w 1547812"/>
                  <a:gd name="connsiteY10" fmla="*/ 1288256 h 1533525"/>
                  <a:gd name="connsiteX11" fmla="*/ 104775 w 1547812"/>
                  <a:gd name="connsiteY11" fmla="*/ 1266825 h 1533525"/>
                  <a:gd name="connsiteX12" fmla="*/ 76200 w 1547812"/>
                  <a:gd name="connsiteY12" fmla="*/ 1212056 h 1533525"/>
                  <a:gd name="connsiteX13" fmla="*/ 109537 w 1547812"/>
                  <a:gd name="connsiteY13" fmla="*/ 1193006 h 1533525"/>
                  <a:gd name="connsiteX14" fmla="*/ 140493 w 1547812"/>
                  <a:gd name="connsiteY14" fmla="*/ 1143000 h 1533525"/>
                  <a:gd name="connsiteX15" fmla="*/ 123825 w 1547812"/>
                  <a:gd name="connsiteY15" fmla="*/ 1107281 h 1533525"/>
                  <a:gd name="connsiteX16" fmla="*/ 178593 w 1547812"/>
                  <a:gd name="connsiteY16" fmla="*/ 1107281 h 1533525"/>
                  <a:gd name="connsiteX17" fmla="*/ 192881 w 1547812"/>
                  <a:gd name="connsiteY17" fmla="*/ 1109663 h 1533525"/>
                  <a:gd name="connsiteX18" fmla="*/ 159543 w 1547812"/>
                  <a:gd name="connsiteY18" fmla="*/ 1064419 h 1533525"/>
                  <a:gd name="connsiteX19" fmla="*/ 169068 w 1547812"/>
                  <a:gd name="connsiteY19" fmla="*/ 1014413 h 1533525"/>
                  <a:gd name="connsiteX20" fmla="*/ 123825 w 1547812"/>
                  <a:gd name="connsiteY20" fmla="*/ 997744 h 1533525"/>
                  <a:gd name="connsiteX21" fmla="*/ 61912 w 1547812"/>
                  <a:gd name="connsiteY21" fmla="*/ 954881 h 1533525"/>
                  <a:gd name="connsiteX22" fmla="*/ 45243 w 1547812"/>
                  <a:gd name="connsiteY22" fmla="*/ 938213 h 1533525"/>
                  <a:gd name="connsiteX23" fmla="*/ 64293 w 1547812"/>
                  <a:gd name="connsiteY23" fmla="*/ 909638 h 1533525"/>
                  <a:gd name="connsiteX24" fmla="*/ 47625 w 1547812"/>
                  <a:gd name="connsiteY24" fmla="*/ 897731 h 1533525"/>
                  <a:gd name="connsiteX25" fmla="*/ 47625 w 1547812"/>
                  <a:gd name="connsiteY25" fmla="*/ 881063 h 1533525"/>
                  <a:gd name="connsiteX26" fmla="*/ 26193 w 1547812"/>
                  <a:gd name="connsiteY26" fmla="*/ 881063 h 1533525"/>
                  <a:gd name="connsiteX27" fmla="*/ 7143 w 1547812"/>
                  <a:gd name="connsiteY27" fmla="*/ 847725 h 1533525"/>
                  <a:gd name="connsiteX28" fmla="*/ 0 w 1547812"/>
                  <a:gd name="connsiteY28" fmla="*/ 816769 h 1533525"/>
                  <a:gd name="connsiteX29" fmla="*/ 54768 w 1547812"/>
                  <a:gd name="connsiteY29" fmla="*/ 800100 h 1533525"/>
                  <a:gd name="connsiteX30" fmla="*/ 76200 w 1547812"/>
                  <a:gd name="connsiteY30" fmla="*/ 788194 h 1533525"/>
                  <a:gd name="connsiteX31" fmla="*/ 128587 w 1547812"/>
                  <a:gd name="connsiteY31" fmla="*/ 821531 h 1533525"/>
                  <a:gd name="connsiteX32" fmla="*/ 126206 w 1547812"/>
                  <a:gd name="connsiteY32" fmla="*/ 800100 h 1533525"/>
                  <a:gd name="connsiteX33" fmla="*/ 164306 w 1547812"/>
                  <a:gd name="connsiteY33" fmla="*/ 795338 h 1533525"/>
                  <a:gd name="connsiteX34" fmla="*/ 173831 w 1547812"/>
                  <a:gd name="connsiteY34" fmla="*/ 759619 h 1533525"/>
                  <a:gd name="connsiteX35" fmla="*/ 235743 w 1547812"/>
                  <a:gd name="connsiteY35" fmla="*/ 764381 h 1533525"/>
                  <a:gd name="connsiteX36" fmla="*/ 235743 w 1547812"/>
                  <a:gd name="connsiteY36" fmla="*/ 764381 h 1533525"/>
                  <a:gd name="connsiteX37" fmla="*/ 245268 w 1547812"/>
                  <a:gd name="connsiteY37" fmla="*/ 704850 h 1533525"/>
                  <a:gd name="connsiteX38" fmla="*/ 276225 w 1547812"/>
                  <a:gd name="connsiteY38" fmla="*/ 666750 h 1533525"/>
                  <a:gd name="connsiteX39" fmla="*/ 292893 w 1547812"/>
                  <a:gd name="connsiteY39" fmla="*/ 638175 h 1533525"/>
                  <a:gd name="connsiteX40" fmla="*/ 245268 w 1547812"/>
                  <a:gd name="connsiteY40" fmla="*/ 602456 h 1533525"/>
                  <a:gd name="connsiteX41" fmla="*/ 264318 w 1547812"/>
                  <a:gd name="connsiteY41" fmla="*/ 585788 h 1533525"/>
                  <a:gd name="connsiteX42" fmla="*/ 311943 w 1547812"/>
                  <a:gd name="connsiteY42" fmla="*/ 602456 h 1533525"/>
                  <a:gd name="connsiteX43" fmla="*/ 369093 w 1547812"/>
                  <a:gd name="connsiteY43" fmla="*/ 573881 h 1533525"/>
                  <a:gd name="connsiteX44" fmla="*/ 457200 w 1547812"/>
                  <a:gd name="connsiteY44" fmla="*/ 545306 h 1533525"/>
                  <a:gd name="connsiteX45" fmla="*/ 538162 w 1547812"/>
                  <a:gd name="connsiteY45" fmla="*/ 578644 h 1533525"/>
                  <a:gd name="connsiteX46" fmla="*/ 614362 w 1547812"/>
                  <a:gd name="connsiteY46" fmla="*/ 550069 h 1533525"/>
                  <a:gd name="connsiteX47" fmla="*/ 650081 w 1547812"/>
                  <a:gd name="connsiteY47" fmla="*/ 552450 h 1533525"/>
                  <a:gd name="connsiteX48" fmla="*/ 654843 w 1547812"/>
                  <a:gd name="connsiteY48" fmla="*/ 523875 h 1533525"/>
                  <a:gd name="connsiteX49" fmla="*/ 654843 w 1547812"/>
                  <a:gd name="connsiteY49" fmla="*/ 490538 h 1533525"/>
                  <a:gd name="connsiteX50" fmla="*/ 669131 w 1547812"/>
                  <a:gd name="connsiteY50" fmla="*/ 469106 h 1533525"/>
                  <a:gd name="connsiteX51" fmla="*/ 652462 w 1547812"/>
                  <a:gd name="connsiteY51" fmla="*/ 450056 h 1533525"/>
                  <a:gd name="connsiteX52" fmla="*/ 642937 w 1547812"/>
                  <a:gd name="connsiteY52" fmla="*/ 411956 h 1533525"/>
                  <a:gd name="connsiteX53" fmla="*/ 642937 w 1547812"/>
                  <a:gd name="connsiteY53" fmla="*/ 330994 h 1533525"/>
                  <a:gd name="connsiteX54" fmla="*/ 633412 w 1547812"/>
                  <a:gd name="connsiteY54" fmla="*/ 319088 h 1533525"/>
                  <a:gd name="connsiteX55" fmla="*/ 664368 w 1547812"/>
                  <a:gd name="connsiteY55" fmla="*/ 285750 h 1533525"/>
                  <a:gd name="connsiteX56" fmla="*/ 721518 w 1547812"/>
                  <a:gd name="connsiteY56" fmla="*/ 292894 h 1533525"/>
                  <a:gd name="connsiteX57" fmla="*/ 733425 w 1547812"/>
                  <a:gd name="connsiteY57" fmla="*/ 264319 h 1533525"/>
                  <a:gd name="connsiteX58" fmla="*/ 731043 w 1547812"/>
                  <a:gd name="connsiteY58" fmla="*/ 228600 h 1533525"/>
                  <a:gd name="connsiteX59" fmla="*/ 790575 w 1547812"/>
                  <a:gd name="connsiteY59" fmla="*/ 192881 h 1533525"/>
                  <a:gd name="connsiteX60" fmla="*/ 804862 w 1547812"/>
                  <a:gd name="connsiteY60" fmla="*/ 166688 h 1533525"/>
                  <a:gd name="connsiteX61" fmla="*/ 778668 w 1547812"/>
                  <a:gd name="connsiteY61" fmla="*/ 128588 h 1533525"/>
                  <a:gd name="connsiteX62" fmla="*/ 771525 w 1547812"/>
                  <a:gd name="connsiteY62" fmla="*/ 104775 h 1533525"/>
                  <a:gd name="connsiteX63" fmla="*/ 823912 w 1547812"/>
                  <a:gd name="connsiteY63" fmla="*/ 97631 h 1533525"/>
                  <a:gd name="connsiteX64" fmla="*/ 869156 w 1547812"/>
                  <a:gd name="connsiteY64" fmla="*/ 52388 h 1533525"/>
                  <a:gd name="connsiteX65" fmla="*/ 890587 w 1547812"/>
                  <a:gd name="connsiteY65" fmla="*/ 23813 h 1533525"/>
                  <a:gd name="connsiteX66" fmla="*/ 923925 w 1547812"/>
                  <a:gd name="connsiteY66" fmla="*/ 9525 h 1533525"/>
                  <a:gd name="connsiteX67" fmla="*/ 971550 w 1547812"/>
                  <a:gd name="connsiteY67" fmla="*/ 0 h 1533525"/>
                  <a:gd name="connsiteX68" fmla="*/ 971550 w 1547812"/>
                  <a:gd name="connsiteY68" fmla="*/ 40481 h 1533525"/>
                  <a:gd name="connsiteX69" fmla="*/ 950118 w 1547812"/>
                  <a:gd name="connsiteY69" fmla="*/ 80963 h 1533525"/>
                  <a:gd name="connsiteX70" fmla="*/ 950118 w 1547812"/>
                  <a:gd name="connsiteY70" fmla="*/ 140494 h 1533525"/>
                  <a:gd name="connsiteX71" fmla="*/ 969168 w 1547812"/>
                  <a:gd name="connsiteY71" fmla="*/ 161925 h 1533525"/>
                  <a:gd name="connsiteX72" fmla="*/ 1007268 w 1547812"/>
                  <a:gd name="connsiteY72" fmla="*/ 188119 h 1533525"/>
                  <a:gd name="connsiteX73" fmla="*/ 1019175 w 1547812"/>
                  <a:gd name="connsiteY73" fmla="*/ 216694 h 1533525"/>
                  <a:gd name="connsiteX74" fmla="*/ 1004887 w 1547812"/>
                  <a:gd name="connsiteY74" fmla="*/ 226219 h 1533525"/>
                  <a:gd name="connsiteX75" fmla="*/ 1057275 w 1547812"/>
                  <a:gd name="connsiteY75" fmla="*/ 250031 h 1533525"/>
                  <a:gd name="connsiteX76" fmla="*/ 1073943 w 1547812"/>
                  <a:gd name="connsiteY76" fmla="*/ 228600 h 1533525"/>
                  <a:gd name="connsiteX77" fmla="*/ 1083468 w 1547812"/>
                  <a:gd name="connsiteY77" fmla="*/ 252413 h 1533525"/>
                  <a:gd name="connsiteX78" fmla="*/ 1116806 w 1547812"/>
                  <a:gd name="connsiteY78" fmla="*/ 252413 h 1533525"/>
                  <a:gd name="connsiteX79" fmla="*/ 1123950 w 1547812"/>
                  <a:gd name="connsiteY79" fmla="*/ 257175 h 1533525"/>
                  <a:gd name="connsiteX80" fmla="*/ 1116806 w 1547812"/>
                  <a:gd name="connsiteY80" fmla="*/ 276225 h 1533525"/>
                  <a:gd name="connsiteX81" fmla="*/ 1088231 w 1547812"/>
                  <a:gd name="connsiteY81" fmla="*/ 309563 h 1533525"/>
                  <a:gd name="connsiteX82" fmla="*/ 1123950 w 1547812"/>
                  <a:gd name="connsiteY82" fmla="*/ 333375 h 1533525"/>
                  <a:gd name="connsiteX83" fmla="*/ 1135856 w 1547812"/>
                  <a:gd name="connsiteY83" fmla="*/ 347663 h 1533525"/>
                  <a:gd name="connsiteX84" fmla="*/ 1135856 w 1547812"/>
                  <a:gd name="connsiteY84" fmla="*/ 376238 h 1533525"/>
                  <a:gd name="connsiteX85" fmla="*/ 1119187 w 1547812"/>
                  <a:gd name="connsiteY85" fmla="*/ 411956 h 1533525"/>
                  <a:gd name="connsiteX86" fmla="*/ 1162050 w 1547812"/>
                  <a:gd name="connsiteY86" fmla="*/ 423863 h 1533525"/>
                  <a:gd name="connsiteX87" fmla="*/ 1233487 w 1547812"/>
                  <a:gd name="connsiteY87" fmla="*/ 416719 h 1533525"/>
                  <a:gd name="connsiteX88" fmla="*/ 1223962 w 1547812"/>
                  <a:gd name="connsiteY88" fmla="*/ 385763 h 1533525"/>
                  <a:gd name="connsiteX89" fmla="*/ 1188243 w 1547812"/>
                  <a:gd name="connsiteY89" fmla="*/ 347663 h 1533525"/>
                  <a:gd name="connsiteX90" fmla="*/ 1181100 w 1547812"/>
                  <a:gd name="connsiteY90" fmla="*/ 333375 h 1533525"/>
                  <a:gd name="connsiteX91" fmla="*/ 1207293 w 1547812"/>
                  <a:gd name="connsiteY91" fmla="*/ 326231 h 1533525"/>
                  <a:gd name="connsiteX92" fmla="*/ 1200150 w 1547812"/>
                  <a:gd name="connsiteY92" fmla="*/ 302419 h 1533525"/>
                  <a:gd name="connsiteX93" fmla="*/ 1223962 w 1547812"/>
                  <a:gd name="connsiteY93" fmla="*/ 283369 h 1533525"/>
                  <a:gd name="connsiteX94" fmla="*/ 1250156 w 1547812"/>
                  <a:gd name="connsiteY94" fmla="*/ 242888 h 1533525"/>
                  <a:gd name="connsiteX95" fmla="*/ 1302543 w 1547812"/>
                  <a:gd name="connsiteY95" fmla="*/ 211931 h 1533525"/>
                  <a:gd name="connsiteX96" fmla="*/ 1350168 w 1547812"/>
                  <a:gd name="connsiteY96" fmla="*/ 123825 h 1533525"/>
                  <a:gd name="connsiteX97" fmla="*/ 1543050 w 1547812"/>
                  <a:gd name="connsiteY97" fmla="*/ 147638 h 1533525"/>
                  <a:gd name="connsiteX98" fmla="*/ 1547812 w 1547812"/>
                  <a:gd name="connsiteY98" fmla="*/ 121444 h 1533525"/>
                  <a:gd name="connsiteX99" fmla="*/ 1057275 w 1547812"/>
                  <a:gd name="connsiteY99" fmla="*/ 264319 h 1533525"/>
                  <a:gd name="connsiteX100" fmla="*/ 1062037 w 1547812"/>
                  <a:gd name="connsiteY100" fmla="*/ 304800 h 1533525"/>
                  <a:gd name="connsiteX101" fmla="*/ 995362 w 1547812"/>
                  <a:gd name="connsiteY101" fmla="*/ 352425 h 1533525"/>
                  <a:gd name="connsiteX102" fmla="*/ 973931 w 1547812"/>
                  <a:gd name="connsiteY102" fmla="*/ 383381 h 1533525"/>
                  <a:gd name="connsiteX103" fmla="*/ 1000125 w 1547812"/>
                  <a:gd name="connsiteY103" fmla="*/ 428625 h 1533525"/>
                  <a:gd name="connsiteX104" fmla="*/ 983456 w 1547812"/>
                  <a:gd name="connsiteY104" fmla="*/ 466725 h 1533525"/>
                  <a:gd name="connsiteX105" fmla="*/ 1000125 w 1547812"/>
                  <a:gd name="connsiteY105" fmla="*/ 519113 h 1533525"/>
                  <a:gd name="connsiteX106" fmla="*/ 1033462 w 1547812"/>
                  <a:gd name="connsiteY106" fmla="*/ 519113 h 1533525"/>
                  <a:gd name="connsiteX107" fmla="*/ 1019175 w 1547812"/>
                  <a:gd name="connsiteY107" fmla="*/ 552450 h 1533525"/>
                  <a:gd name="connsiteX108" fmla="*/ 1035843 w 1547812"/>
                  <a:gd name="connsiteY108" fmla="*/ 590550 h 1533525"/>
                  <a:gd name="connsiteX109" fmla="*/ 1035843 w 1547812"/>
                  <a:gd name="connsiteY109" fmla="*/ 607219 h 1533525"/>
                  <a:gd name="connsiteX110" fmla="*/ 1045368 w 1547812"/>
                  <a:gd name="connsiteY110" fmla="*/ 645319 h 1533525"/>
                  <a:gd name="connsiteX111" fmla="*/ 1064418 w 1547812"/>
                  <a:gd name="connsiteY111" fmla="*/ 645319 h 1533525"/>
                  <a:gd name="connsiteX112" fmla="*/ 1078706 w 1547812"/>
                  <a:gd name="connsiteY112" fmla="*/ 666750 h 1533525"/>
                  <a:gd name="connsiteX113" fmla="*/ 1085850 w 1547812"/>
                  <a:gd name="connsiteY113" fmla="*/ 688181 h 1533525"/>
                  <a:gd name="connsiteX114" fmla="*/ 1076325 w 1547812"/>
                  <a:gd name="connsiteY114" fmla="*/ 719138 h 1533525"/>
                  <a:gd name="connsiteX115" fmla="*/ 1021556 w 1547812"/>
                  <a:gd name="connsiteY115" fmla="*/ 714375 h 1533525"/>
                  <a:gd name="connsiteX116" fmla="*/ 1002506 w 1547812"/>
                  <a:gd name="connsiteY116" fmla="*/ 721519 h 1533525"/>
                  <a:gd name="connsiteX117" fmla="*/ 995362 w 1547812"/>
                  <a:gd name="connsiteY117" fmla="*/ 726281 h 1533525"/>
                  <a:gd name="connsiteX118" fmla="*/ 995362 w 1547812"/>
                  <a:gd name="connsiteY118" fmla="*/ 726281 h 1533525"/>
                  <a:gd name="connsiteX119" fmla="*/ 923925 w 1547812"/>
                  <a:gd name="connsiteY119" fmla="*/ 721519 h 1533525"/>
                  <a:gd name="connsiteX120" fmla="*/ 940593 w 1547812"/>
                  <a:gd name="connsiteY120" fmla="*/ 778669 h 1533525"/>
                  <a:gd name="connsiteX121" fmla="*/ 938212 w 1547812"/>
                  <a:gd name="connsiteY121" fmla="*/ 847725 h 1533525"/>
                  <a:gd name="connsiteX122" fmla="*/ 954881 w 1547812"/>
                  <a:gd name="connsiteY122" fmla="*/ 871538 h 1533525"/>
                  <a:gd name="connsiteX123" fmla="*/ 997743 w 1547812"/>
                  <a:gd name="connsiteY123" fmla="*/ 919163 h 1533525"/>
                  <a:gd name="connsiteX124" fmla="*/ 1012031 w 1547812"/>
                  <a:gd name="connsiteY124" fmla="*/ 954881 h 1533525"/>
                  <a:gd name="connsiteX125" fmla="*/ 1031081 w 1547812"/>
                  <a:gd name="connsiteY125" fmla="*/ 954881 h 1533525"/>
                  <a:gd name="connsiteX126" fmla="*/ 1071562 w 1547812"/>
                  <a:gd name="connsiteY126" fmla="*/ 940594 h 1533525"/>
                  <a:gd name="connsiteX127" fmla="*/ 1102518 w 1547812"/>
                  <a:gd name="connsiteY127" fmla="*/ 933450 h 1533525"/>
                  <a:gd name="connsiteX128" fmla="*/ 1159668 w 1547812"/>
                  <a:gd name="connsiteY128" fmla="*/ 997744 h 1533525"/>
                  <a:gd name="connsiteX129" fmla="*/ 1178718 w 1547812"/>
                  <a:gd name="connsiteY129" fmla="*/ 1052513 h 1533525"/>
                  <a:gd name="connsiteX130" fmla="*/ 1190625 w 1547812"/>
                  <a:gd name="connsiteY130" fmla="*/ 1081088 h 1533525"/>
                  <a:gd name="connsiteX131" fmla="*/ 1212056 w 1547812"/>
                  <a:gd name="connsiteY131" fmla="*/ 1109663 h 1533525"/>
                  <a:gd name="connsiteX132" fmla="*/ 1231106 w 1547812"/>
                  <a:gd name="connsiteY132" fmla="*/ 1102519 h 1533525"/>
                  <a:gd name="connsiteX133" fmla="*/ 1231106 w 1547812"/>
                  <a:gd name="connsiteY133" fmla="*/ 1131094 h 1533525"/>
                  <a:gd name="connsiteX134" fmla="*/ 1233487 w 1547812"/>
                  <a:gd name="connsiteY134" fmla="*/ 1145381 h 1533525"/>
                  <a:gd name="connsiteX135" fmla="*/ 1266825 w 1547812"/>
                  <a:gd name="connsiteY135" fmla="*/ 1181100 h 1533525"/>
                  <a:gd name="connsiteX136" fmla="*/ 1233487 w 1547812"/>
                  <a:gd name="connsiteY136" fmla="*/ 1181100 h 1533525"/>
                  <a:gd name="connsiteX137" fmla="*/ 1228725 w 1547812"/>
                  <a:gd name="connsiteY137" fmla="*/ 1223963 h 1533525"/>
                  <a:gd name="connsiteX138" fmla="*/ 1226343 w 1547812"/>
                  <a:gd name="connsiteY138" fmla="*/ 1243013 h 1533525"/>
                  <a:gd name="connsiteX139" fmla="*/ 1216818 w 1547812"/>
                  <a:gd name="connsiteY139" fmla="*/ 1264444 h 1533525"/>
                  <a:gd name="connsiteX140" fmla="*/ 1190625 w 1547812"/>
                  <a:gd name="connsiteY140" fmla="*/ 1238250 h 1533525"/>
                  <a:gd name="connsiteX141" fmla="*/ 1157287 w 1547812"/>
                  <a:gd name="connsiteY141" fmla="*/ 1209675 h 1533525"/>
                  <a:gd name="connsiteX142" fmla="*/ 1131093 w 1547812"/>
                  <a:gd name="connsiteY142" fmla="*/ 1185863 h 1533525"/>
                  <a:gd name="connsiteX143" fmla="*/ 1107281 w 1547812"/>
                  <a:gd name="connsiteY143" fmla="*/ 1219200 h 1533525"/>
                  <a:gd name="connsiteX144" fmla="*/ 1104900 w 1547812"/>
                  <a:gd name="connsiteY144" fmla="*/ 1264444 h 1533525"/>
                  <a:gd name="connsiteX145" fmla="*/ 1062037 w 1547812"/>
                  <a:gd name="connsiteY145" fmla="*/ 1259681 h 1533525"/>
                  <a:gd name="connsiteX146" fmla="*/ 1026318 w 1547812"/>
                  <a:gd name="connsiteY146" fmla="*/ 1288256 h 1533525"/>
                  <a:gd name="connsiteX147" fmla="*/ 1007268 w 1547812"/>
                  <a:gd name="connsiteY147" fmla="*/ 1240631 h 1533525"/>
                  <a:gd name="connsiteX148" fmla="*/ 947737 w 1547812"/>
                  <a:gd name="connsiteY148" fmla="*/ 1231106 h 1533525"/>
                  <a:gd name="connsiteX149" fmla="*/ 921543 w 1547812"/>
                  <a:gd name="connsiteY149" fmla="*/ 1297781 h 1533525"/>
                  <a:gd name="connsiteX150" fmla="*/ 885825 w 1547812"/>
                  <a:gd name="connsiteY150" fmla="*/ 1278731 h 1533525"/>
                  <a:gd name="connsiteX151" fmla="*/ 816768 w 1547812"/>
                  <a:gd name="connsiteY151" fmla="*/ 1295400 h 1533525"/>
                  <a:gd name="connsiteX152" fmla="*/ 757237 w 1547812"/>
                  <a:gd name="connsiteY152" fmla="*/ 1259681 h 1533525"/>
                  <a:gd name="connsiteX153" fmla="*/ 742950 w 1547812"/>
                  <a:gd name="connsiteY153" fmla="*/ 1312069 h 1533525"/>
                  <a:gd name="connsiteX154" fmla="*/ 704850 w 1547812"/>
                  <a:gd name="connsiteY154" fmla="*/ 1345406 h 1533525"/>
                  <a:gd name="connsiteX155" fmla="*/ 692943 w 1547812"/>
                  <a:gd name="connsiteY155" fmla="*/ 1366838 h 1533525"/>
                  <a:gd name="connsiteX156" fmla="*/ 671512 w 1547812"/>
                  <a:gd name="connsiteY156" fmla="*/ 1509713 h 1533525"/>
                  <a:gd name="connsiteX157" fmla="*/ 633412 w 1547812"/>
                  <a:gd name="connsiteY157" fmla="*/ 1490663 h 1533525"/>
                  <a:gd name="connsiteX158" fmla="*/ 614362 w 1547812"/>
                  <a:gd name="connsiteY158" fmla="*/ 1504950 h 1533525"/>
                  <a:gd name="connsiteX159" fmla="*/ 581025 w 1547812"/>
                  <a:gd name="connsiteY159" fmla="*/ 1531144 h 1533525"/>
                  <a:gd name="connsiteX160" fmla="*/ 523875 w 1547812"/>
                  <a:gd name="connsiteY160" fmla="*/ 1502569 h 1533525"/>
                  <a:gd name="connsiteX161" fmla="*/ 514350 w 1547812"/>
                  <a:gd name="connsiteY161" fmla="*/ 1490663 h 1533525"/>
                  <a:gd name="connsiteX162" fmla="*/ 483393 w 1547812"/>
                  <a:gd name="connsiteY162" fmla="*/ 1533525 h 1533525"/>
                  <a:gd name="connsiteX0" fmla="*/ 483393 w 1543050"/>
                  <a:gd name="connsiteY0" fmla="*/ 1533525 h 1533525"/>
                  <a:gd name="connsiteX1" fmla="*/ 459581 w 1543050"/>
                  <a:gd name="connsiteY1" fmla="*/ 1481138 h 1533525"/>
                  <a:gd name="connsiteX2" fmla="*/ 438150 w 1543050"/>
                  <a:gd name="connsiteY2" fmla="*/ 1471613 h 1533525"/>
                  <a:gd name="connsiteX3" fmla="*/ 400050 w 1543050"/>
                  <a:gd name="connsiteY3" fmla="*/ 1485900 h 1533525"/>
                  <a:gd name="connsiteX4" fmla="*/ 338137 w 1543050"/>
                  <a:gd name="connsiteY4" fmla="*/ 1490663 h 1533525"/>
                  <a:gd name="connsiteX5" fmla="*/ 330993 w 1543050"/>
                  <a:gd name="connsiteY5" fmla="*/ 1497806 h 1533525"/>
                  <a:gd name="connsiteX6" fmla="*/ 271462 w 1543050"/>
                  <a:gd name="connsiteY6" fmla="*/ 1471613 h 1533525"/>
                  <a:gd name="connsiteX7" fmla="*/ 219075 w 1543050"/>
                  <a:gd name="connsiteY7" fmla="*/ 1443038 h 1533525"/>
                  <a:gd name="connsiteX8" fmla="*/ 138112 w 1543050"/>
                  <a:gd name="connsiteY8" fmla="*/ 1402556 h 1533525"/>
                  <a:gd name="connsiteX9" fmla="*/ 95250 w 1543050"/>
                  <a:gd name="connsiteY9" fmla="*/ 1316831 h 1533525"/>
                  <a:gd name="connsiteX10" fmla="*/ 80962 w 1543050"/>
                  <a:gd name="connsiteY10" fmla="*/ 1288256 h 1533525"/>
                  <a:gd name="connsiteX11" fmla="*/ 104775 w 1543050"/>
                  <a:gd name="connsiteY11" fmla="*/ 1266825 h 1533525"/>
                  <a:gd name="connsiteX12" fmla="*/ 76200 w 1543050"/>
                  <a:gd name="connsiteY12" fmla="*/ 1212056 h 1533525"/>
                  <a:gd name="connsiteX13" fmla="*/ 109537 w 1543050"/>
                  <a:gd name="connsiteY13" fmla="*/ 1193006 h 1533525"/>
                  <a:gd name="connsiteX14" fmla="*/ 140493 w 1543050"/>
                  <a:gd name="connsiteY14" fmla="*/ 1143000 h 1533525"/>
                  <a:gd name="connsiteX15" fmla="*/ 123825 w 1543050"/>
                  <a:gd name="connsiteY15" fmla="*/ 1107281 h 1533525"/>
                  <a:gd name="connsiteX16" fmla="*/ 178593 w 1543050"/>
                  <a:gd name="connsiteY16" fmla="*/ 1107281 h 1533525"/>
                  <a:gd name="connsiteX17" fmla="*/ 192881 w 1543050"/>
                  <a:gd name="connsiteY17" fmla="*/ 1109663 h 1533525"/>
                  <a:gd name="connsiteX18" fmla="*/ 159543 w 1543050"/>
                  <a:gd name="connsiteY18" fmla="*/ 1064419 h 1533525"/>
                  <a:gd name="connsiteX19" fmla="*/ 169068 w 1543050"/>
                  <a:gd name="connsiteY19" fmla="*/ 1014413 h 1533525"/>
                  <a:gd name="connsiteX20" fmla="*/ 123825 w 1543050"/>
                  <a:gd name="connsiteY20" fmla="*/ 997744 h 1533525"/>
                  <a:gd name="connsiteX21" fmla="*/ 61912 w 1543050"/>
                  <a:gd name="connsiteY21" fmla="*/ 954881 h 1533525"/>
                  <a:gd name="connsiteX22" fmla="*/ 45243 w 1543050"/>
                  <a:gd name="connsiteY22" fmla="*/ 938213 h 1533525"/>
                  <a:gd name="connsiteX23" fmla="*/ 64293 w 1543050"/>
                  <a:gd name="connsiteY23" fmla="*/ 909638 h 1533525"/>
                  <a:gd name="connsiteX24" fmla="*/ 47625 w 1543050"/>
                  <a:gd name="connsiteY24" fmla="*/ 897731 h 1533525"/>
                  <a:gd name="connsiteX25" fmla="*/ 47625 w 1543050"/>
                  <a:gd name="connsiteY25" fmla="*/ 881063 h 1533525"/>
                  <a:gd name="connsiteX26" fmla="*/ 26193 w 1543050"/>
                  <a:gd name="connsiteY26" fmla="*/ 881063 h 1533525"/>
                  <a:gd name="connsiteX27" fmla="*/ 7143 w 1543050"/>
                  <a:gd name="connsiteY27" fmla="*/ 847725 h 1533525"/>
                  <a:gd name="connsiteX28" fmla="*/ 0 w 1543050"/>
                  <a:gd name="connsiteY28" fmla="*/ 816769 h 1533525"/>
                  <a:gd name="connsiteX29" fmla="*/ 54768 w 1543050"/>
                  <a:gd name="connsiteY29" fmla="*/ 800100 h 1533525"/>
                  <a:gd name="connsiteX30" fmla="*/ 76200 w 1543050"/>
                  <a:gd name="connsiteY30" fmla="*/ 788194 h 1533525"/>
                  <a:gd name="connsiteX31" fmla="*/ 128587 w 1543050"/>
                  <a:gd name="connsiteY31" fmla="*/ 821531 h 1533525"/>
                  <a:gd name="connsiteX32" fmla="*/ 126206 w 1543050"/>
                  <a:gd name="connsiteY32" fmla="*/ 800100 h 1533525"/>
                  <a:gd name="connsiteX33" fmla="*/ 164306 w 1543050"/>
                  <a:gd name="connsiteY33" fmla="*/ 795338 h 1533525"/>
                  <a:gd name="connsiteX34" fmla="*/ 173831 w 1543050"/>
                  <a:gd name="connsiteY34" fmla="*/ 759619 h 1533525"/>
                  <a:gd name="connsiteX35" fmla="*/ 235743 w 1543050"/>
                  <a:gd name="connsiteY35" fmla="*/ 764381 h 1533525"/>
                  <a:gd name="connsiteX36" fmla="*/ 235743 w 1543050"/>
                  <a:gd name="connsiteY36" fmla="*/ 764381 h 1533525"/>
                  <a:gd name="connsiteX37" fmla="*/ 245268 w 1543050"/>
                  <a:gd name="connsiteY37" fmla="*/ 704850 h 1533525"/>
                  <a:gd name="connsiteX38" fmla="*/ 276225 w 1543050"/>
                  <a:gd name="connsiteY38" fmla="*/ 666750 h 1533525"/>
                  <a:gd name="connsiteX39" fmla="*/ 292893 w 1543050"/>
                  <a:gd name="connsiteY39" fmla="*/ 638175 h 1533525"/>
                  <a:gd name="connsiteX40" fmla="*/ 245268 w 1543050"/>
                  <a:gd name="connsiteY40" fmla="*/ 602456 h 1533525"/>
                  <a:gd name="connsiteX41" fmla="*/ 264318 w 1543050"/>
                  <a:gd name="connsiteY41" fmla="*/ 585788 h 1533525"/>
                  <a:gd name="connsiteX42" fmla="*/ 311943 w 1543050"/>
                  <a:gd name="connsiteY42" fmla="*/ 602456 h 1533525"/>
                  <a:gd name="connsiteX43" fmla="*/ 369093 w 1543050"/>
                  <a:gd name="connsiteY43" fmla="*/ 573881 h 1533525"/>
                  <a:gd name="connsiteX44" fmla="*/ 457200 w 1543050"/>
                  <a:gd name="connsiteY44" fmla="*/ 545306 h 1533525"/>
                  <a:gd name="connsiteX45" fmla="*/ 538162 w 1543050"/>
                  <a:gd name="connsiteY45" fmla="*/ 578644 h 1533525"/>
                  <a:gd name="connsiteX46" fmla="*/ 614362 w 1543050"/>
                  <a:gd name="connsiteY46" fmla="*/ 550069 h 1533525"/>
                  <a:gd name="connsiteX47" fmla="*/ 650081 w 1543050"/>
                  <a:gd name="connsiteY47" fmla="*/ 552450 h 1533525"/>
                  <a:gd name="connsiteX48" fmla="*/ 654843 w 1543050"/>
                  <a:gd name="connsiteY48" fmla="*/ 523875 h 1533525"/>
                  <a:gd name="connsiteX49" fmla="*/ 654843 w 1543050"/>
                  <a:gd name="connsiteY49" fmla="*/ 490538 h 1533525"/>
                  <a:gd name="connsiteX50" fmla="*/ 669131 w 1543050"/>
                  <a:gd name="connsiteY50" fmla="*/ 469106 h 1533525"/>
                  <a:gd name="connsiteX51" fmla="*/ 652462 w 1543050"/>
                  <a:gd name="connsiteY51" fmla="*/ 450056 h 1533525"/>
                  <a:gd name="connsiteX52" fmla="*/ 642937 w 1543050"/>
                  <a:gd name="connsiteY52" fmla="*/ 411956 h 1533525"/>
                  <a:gd name="connsiteX53" fmla="*/ 642937 w 1543050"/>
                  <a:gd name="connsiteY53" fmla="*/ 330994 h 1533525"/>
                  <a:gd name="connsiteX54" fmla="*/ 633412 w 1543050"/>
                  <a:gd name="connsiteY54" fmla="*/ 319088 h 1533525"/>
                  <a:gd name="connsiteX55" fmla="*/ 664368 w 1543050"/>
                  <a:gd name="connsiteY55" fmla="*/ 285750 h 1533525"/>
                  <a:gd name="connsiteX56" fmla="*/ 721518 w 1543050"/>
                  <a:gd name="connsiteY56" fmla="*/ 292894 h 1533525"/>
                  <a:gd name="connsiteX57" fmla="*/ 733425 w 1543050"/>
                  <a:gd name="connsiteY57" fmla="*/ 264319 h 1533525"/>
                  <a:gd name="connsiteX58" fmla="*/ 731043 w 1543050"/>
                  <a:gd name="connsiteY58" fmla="*/ 228600 h 1533525"/>
                  <a:gd name="connsiteX59" fmla="*/ 790575 w 1543050"/>
                  <a:gd name="connsiteY59" fmla="*/ 192881 h 1533525"/>
                  <a:gd name="connsiteX60" fmla="*/ 804862 w 1543050"/>
                  <a:gd name="connsiteY60" fmla="*/ 166688 h 1533525"/>
                  <a:gd name="connsiteX61" fmla="*/ 778668 w 1543050"/>
                  <a:gd name="connsiteY61" fmla="*/ 128588 h 1533525"/>
                  <a:gd name="connsiteX62" fmla="*/ 771525 w 1543050"/>
                  <a:gd name="connsiteY62" fmla="*/ 104775 h 1533525"/>
                  <a:gd name="connsiteX63" fmla="*/ 823912 w 1543050"/>
                  <a:gd name="connsiteY63" fmla="*/ 97631 h 1533525"/>
                  <a:gd name="connsiteX64" fmla="*/ 869156 w 1543050"/>
                  <a:gd name="connsiteY64" fmla="*/ 52388 h 1533525"/>
                  <a:gd name="connsiteX65" fmla="*/ 890587 w 1543050"/>
                  <a:gd name="connsiteY65" fmla="*/ 23813 h 1533525"/>
                  <a:gd name="connsiteX66" fmla="*/ 923925 w 1543050"/>
                  <a:gd name="connsiteY66" fmla="*/ 9525 h 1533525"/>
                  <a:gd name="connsiteX67" fmla="*/ 971550 w 1543050"/>
                  <a:gd name="connsiteY67" fmla="*/ 0 h 1533525"/>
                  <a:gd name="connsiteX68" fmla="*/ 971550 w 1543050"/>
                  <a:gd name="connsiteY68" fmla="*/ 40481 h 1533525"/>
                  <a:gd name="connsiteX69" fmla="*/ 950118 w 1543050"/>
                  <a:gd name="connsiteY69" fmla="*/ 80963 h 1533525"/>
                  <a:gd name="connsiteX70" fmla="*/ 950118 w 1543050"/>
                  <a:gd name="connsiteY70" fmla="*/ 140494 h 1533525"/>
                  <a:gd name="connsiteX71" fmla="*/ 969168 w 1543050"/>
                  <a:gd name="connsiteY71" fmla="*/ 161925 h 1533525"/>
                  <a:gd name="connsiteX72" fmla="*/ 1007268 w 1543050"/>
                  <a:gd name="connsiteY72" fmla="*/ 188119 h 1533525"/>
                  <a:gd name="connsiteX73" fmla="*/ 1019175 w 1543050"/>
                  <a:gd name="connsiteY73" fmla="*/ 216694 h 1533525"/>
                  <a:gd name="connsiteX74" fmla="*/ 1004887 w 1543050"/>
                  <a:gd name="connsiteY74" fmla="*/ 226219 h 1533525"/>
                  <a:gd name="connsiteX75" fmla="*/ 1057275 w 1543050"/>
                  <a:gd name="connsiteY75" fmla="*/ 250031 h 1533525"/>
                  <a:gd name="connsiteX76" fmla="*/ 1073943 w 1543050"/>
                  <a:gd name="connsiteY76" fmla="*/ 228600 h 1533525"/>
                  <a:gd name="connsiteX77" fmla="*/ 1083468 w 1543050"/>
                  <a:gd name="connsiteY77" fmla="*/ 252413 h 1533525"/>
                  <a:gd name="connsiteX78" fmla="*/ 1116806 w 1543050"/>
                  <a:gd name="connsiteY78" fmla="*/ 252413 h 1533525"/>
                  <a:gd name="connsiteX79" fmla="*/ 1123950 w 1543050"/>
                  <a:gd name="connsiteY79" fmla="*/ 257175 h 1533525"/>
                  <a:gd name="connsiteX80" fmla="*/ 1116806 w 1543050"/>
                  <a:gd name="connsiteY80" fmla="*/ 276225 h 1533525"/>
                  <a:gd name="connsiteX81" fmla="*/ 1088231 w 1543050"/>
                  <a:gd name="connsiteY81" fmla="*/ 309563 h 1533525"/>
                  <a:gd name="connsiteX82" fmla="*/ 1123950 w 1543050"/>
                  <a:gd name="connsiteY82" fmla="*/ 333375 h 1533525"/>
                  <a:gd name="connsiteX83" fmla="*/ 1135856 w 1543050"/>
                  <a:gd name="connsiteY83" fmla="*/ 347663 h 1533525"/>
                  <a:gd name="connsiteX84" fmla="*/ 1135856 w 1543050"/>
                  <a:gd name="connsiteY84" fmla="*/ 376238 h 1533525"/>
                  <a:gd name="connsiteX85" fmla="*/ 1119187 w 1543050"/>
                  <a:gd name="connsiteY85" fmla="*/ 411956 h 1533525"/>
                  <a:gd name="connsiteX86" fmla="*/ 1162050 w 1543050"/>
                  <a:gd name="connsiteY86" fmla="*/ 423863 h 1533525"/>
                  <a:gd name="connsiteX87" fmla="*/ 1233487 w 1543050"/>
                  <a:gd name="connsiteY87" fmla="*/ 416719 h 1533525"/>
                  <a:gd name="connsiteX88" fmla="*/ 1223962 w 1543050"/>
                  <a:gd name="connsiteY88" fmla="*/ 385763 h 1533525"/>
                  <a:gd name="connsiteX89" fmla="*/ 1188243 w 1543050"/>
                  <a:gd name="connsiteY89" fmla="*/ 347663 h 1533525"/>
                  <a:gd name="connsiteX90" fmla="*/ 1181100 w 1543050"/>
                  <a:gd name="connsiteY90" fmla="*/ 333375 h 1533525"/>
                  <a:gd name="connsiteX91" fmla="*/ 1207293 w 1543050"/>
                  <a:gd name="connsiteY91" fmla="*/ 326231 h 1533525"/>
                  <a:gd name="connsiteX92" fmla="*/ 1200150 w 1543050"/>
                  <a:gd name="connsiteY92" fmla="*/ 302419 h 1533525"/>
                  <a:gd name="connsiteX93" fmla="*/ 1223962 w 1543050"/>
                  <a:gd name="connsiteY93" fmla="*/ 283369 h 1533525"/>
                  <a:gd name="connsiteX94" fmla="*/ 1250156 w 1543050"/>
                  <a:gd name="connsiteY94" fmla="*/ 242888 h 1533525"/>
                  <a:gd name="connsiteX95" fmla="*/ 1302543 w 1543050"/>
                  <a:gd name="connsiteY95" fmla="*/ 211931 h 1533525"/>
                  <a:gd name="connsiteX96" fmla="*/ 1350168 w 1543050"/>
                  <a:gd name="connsiteY96" fmla="*/ 123825 h 1533525"/>
                  <a:gd name="connsiteX97" fmla="*/ 1543050 w 1543050"/>
                  <a:gd name="connsiteY97" fmla="*/ 147638 h 1533525"/>
                  <a:gd name="connsiteX98" fmla="*/ 1057275 w 1543050"/>
                  <a:gd name="connsiteY98" fmla="*/ 264319 h 1533525"/>
                  <a:gd name="connsiteX99" fmla="*/ 1062037 w 1543050"/>
                  <a:gd name="connsiteY99" fmla="*/ 304800 h 1533525"/>
                  <a:gd name="connsiteX100" fmla="*/ 995362 w 1543050"/>
                  <a:gd name="connsiteY100" fmla="*/ 352425 h 1533525"/>
                  <a:gd name="connsiteX101" fmla="*/ 973931 w 1543050"/>
                  <a:gd name="connsiteY101" fmla="*/ 383381 h 1533525"/>
                  <a:gd name="connsiteX102" fmla="*/ 1000125 w 1543050"/>
                  <a:gd name="connsiteY102" fmla="*/ 428625 h 1533525"/>
                  <a:gd name="connsiteX103" fmla="*/ 983456 w 1543050"/>
                  <a:gd name="connsiteY103" fmla="*/ 466725 h 1533525"/>
                  <a:gd name="connsiteX104" fmla="*/ 1000125 w 1543050"/>
                  <a:gd name="connsiteY104" fmla="*/ 519113 h 1533525"/>
                  <a:gd name="connsiteX105" fmla="*/ 1033462 w 1543050"/>
                  <a:gd name="connsiteY105" fmla="*/ 519113 h 1533525"/>
                  <a:gd name="connsiteX106" fmla="*/ 1019175 w 1543050"/>
                  <a:gd name="connsiteY106" fmla="*/ 552450 h 1533525"/>
                  <a:gd name="connsiteX107" fmla="*/ 1035843 w 1543050"/>
                  <a:gd name="connsiteY107" fmla="*/ 590550 h 1533525"/>
                  <a:gd name="connsiteX108" fmla="*/ 1035843 w 1543050"/>
                  <a:gd name="connsiteY108" fmla="*/ 607219 h 1533525"/>
                  <a:gd name="connsiteX109" fmla="*/ 1045368 w 1543050"/>
                  <a:gd name="connsiteY109" fmla="*/ 645319 h 1533525"/>
                  <a:gd name="connsiteX110" fmla="*/ 1064418 w 1543050"/>
                  <a:gd name="connsiteY110" fmla="*/ 645319 h 1533525"/>
                  <a:gd name="connsiteX111" fmla="*/ 1078706 w 1543050"/>
                  <a:gd name="connsiteY111" fmla="*/ 666750 h 1533525"/>
                  <a:gd name="connsiteX112" fmla="*/ 1085850 w 1543050"/>
                  <a:gd name="connsiteY112" fmla="*/ 688181 h 1533525"/>
                  <a:gd name="connsiteX113" fmla="*/ 1076325 w 1543050"/>
                  <a:gd name="connsiteY113" fmla="*/ 719138 h 1533525"/>
                  <a:gd name="connsiteX114" fmla="*/ 1021556 w 1543050"/>
                  <a:gd name="connsiteY114" fmla="*/ 714375 h 1533525"/>
                  <a:gd name="connsiteX115" fmla="*/ 1002506 w 1543050"/>
                  <a:gd name="connsiteY115" fmla="*/ 721519 h 1533525"/>
                  <a:gd name="connsiteX116" fmla="*/ 995362 w 1543050"/>
                  <a:gd name="connsiteY116" fmla="*/ 726281 h 1533525"/>
                  <a:gd name="connsiteX117" fmla="*/ 995362 w 1543050"/>
                  <a:gd name="connsiteY117" fmla="*/ 726281 h 1533525"/>
                  <a:gd name="connsiteX118" fmla="*/ 923925 w 1543050"/>
                  <a:gd name="connsiteY118" fmla="*/ 721519 h 1533525"/>
                  <a:gd name="connsiteX119" fmla="*/ 940593 w 1543050"/>
                  <a:gd name="connsiteY119" fmla="*/ 778669 h 1533525"/>
                  <a:gd name="connsiteX120" fmla="*/ 938212 w 1543050"/>
                  <a:gd name="connsiteY120" fmla="*/ 847725 h 1533525"/>
                  <a:gd name="connsiteX121" fmla="*/ 954881 w 1543050"/>
                  <a:gd name="connsiteY121" fmla="*/ 871538 h 1533525"/>
                  <a:gd name="connsiteX122" fmla="*/ 997743 w 1543050"/>
                  <a:gd name="connsiteY122" fmla="*/ 919163 h 1533525"/>
                  <a:gd name="connsiteX123" fmla="*/ 1012031 w 1543050"/>
                  <a:gd name="connsiteY123" fmla="*/ 954881 h 1533525"/>
                  <a:gd name="connsiteX124" fmla="*/ 1031081 w 1543050"/>
                  <a:gd name="connsiteY124" fmla="*/ 954881 h 1533525"/>
                  <a:gd name="connsiteX125" fmla="*/ 1071562 w 1543050"/>
                  <a:gd name="connsiteY125" fmla="*/ 940594 h 1533525"/>
                  <a:gd name="connsiteX126" fmla="*/ 1102518 w 1543050"/>
                  <a:gd name="connsiteY126" fmla="*/ 933450 h 1533525"/>
                  <a:gd name="connsiteX127" fmla="*/ 1159668 w 1543050"/>
                  <a:gd name="connsiteY127" fmla="*/ 997744 h 1533525"/>
                  <a:gd name="connsiteX128" fmla="*/ 1178718 w 1543050"/>
                  <a:gd name="connsiteY128" fmla="*/ 1052513 h 1533525"/>
                  <a:gd name="connsiteX129" fmla="*/ 1190625 w 1543050"/>
                  <a:gd name="connsiteY129" fmla="*/ 1081088 h 1533525"/>
                  <a:gd name="connsiteX130" fmla="*/ 1212056 w 1543050"/>
                  <a:gd name="connsiteY130" fmla="*/ 1109663 h 1533525"/>
                  <a:gd name="connsiteX131" fmla="*/ 1231106 w 1543050"/>
                  <a:gd name="connsiteY131" fmla="*/ 1102519 h 1533525"/>
                  <a:gd name="connsiteX132" fmla="*/ 1231106 w 1543050"/>
                  <a:gd name="connsiteY132" fmla="*/ 1131094 h 1533525"/>
                  <a:gd name="connsiteX133" fmla="*/ 1233487 w 1543050"/>
                  <a:gd name="connsiteY133" fmla="*/ 1145381 h 1533525"/>
                  <a:gd name="connsiteX134" fmla="*/ 1266825 w 1543050"/>
                  <a:gd name="connsiteY134" fmla="*/ 1181100 h 1533525"/>
                  <a:gd name="connsiteX135" fmla="*/ 1233487 w 1543050"/>
                  <a:gd name="connsiteY135" fmla="*/ 1181100 h 1533525"/>
                  <a:gd name="connsiteX136" fmla="*/ 1228725 w 1543050"/>
                  <a:gd name="connsiteY136" fmla="*/ 1223963 h 1533525"/>
                  <a:gd name="connsiteX137" fmla="*/ 1226343 w 1543050"/>
                  <a:gd name="connsiteY137" fmla="*/ 1243013 h 1533525"/>
                  <a:gd name="connsiteX138" fmla="*/ 1216818 w 1543050"/>
                  <a:gd name="connsiteY138" fmla="*/ 1264444 h 1533525"/>
                  <a:gd name="connsiteX139" fmla="*/ 1190625 w 1543050"/>
                  <a:gd name="connsiteY139" fmla="*/ 1238250 h 1533525"/>
                  <a:gd name="connsiteX140" fmla="*/ 1157287 w 1543050"/>
                  <a:gd name="connsiteY140" fmla="*/ 1209675 h 1533525"/>
                  <a:gd name="connsiteX141" fmla="*/ 1131093 w 1543050"/>
                  <a:gd name="connsiteY141" fmla="*/ 1185863 h 1533525"/>
                  <a:gd name="connsiteX142" fmla="*/ 1107281 w 1543050"/>
                  <a:gd name="connsiteY142" fmla="*/ 1219200 h 1533525"/>
                  <a:gd name="connsiteX143" fmla="*/ 1104900 w 1543050"/>
                  <a:gd name="connsiteY143" fmla="*/ 1264444 h 1533525"/>
                  <a:gd name="connsiteX144" fmla="*/ 1062037 w 1543050"/>
                  <a:gd name="connsiteY144" fmla="*/ 1259681 h 1533525"/>
                  <a:gd name="connsiteX145" fmla="*/ 1026318 w 1543050"/>
                  <a:gd name="connsiteY145" fmla="*/ 1288256 h 1533525"/>
                  <a:gd name="connsiteX146" fmla="*/ 1007268 w 1543050"/>
                  <a:gd name="connsiteY146" fmla="*/ 1240631 h 1533525"/>
                  <a:gd name="connsiteX147" fmla="*/ 947737 w 1543050"/>
                  <a:gd name="connsiteY147" fmla="*/ 1231106 h 1533525"/>
                  <a:gd name="connsiteX148" fmla="*/ 921543 w 1543050"/>
                  <a:gd name="connsiteY148" fmla="*/ 1297781 h 1533525"/>
                  <a:gd name="connsiteX149" fmla="*/ 885825 w 1543050"/>
                  <a:gd name="connsiteY149" fmla="*/ 1278731 h 1533525"/>
                  <a:gd name="connsiteX150" fmla="*/ 816768 w 1543050"/>
                  <a:gd name="connsiteY150" fmla="*/ 1295400 h 1533525"/>
                  <a:gd name="connsiteX151" fmla="*/ 757237 w 1543050"/>
                  <a:gd name="connsiteY151" fmla="*/ 1259681 h 1533525"/>
                  <a:gd name="connsiteX152" fmla="*/ 742950 w 1543050"/>
                  <a:gd name="connsiteY152" fmla="*/ 1312069 h 1533525"/>
                  <a:gd name="connsiteX153" fmla="*/ 704850 w 1543050"/>
                  <a:gd name="connsiteY153" fmla="*/ 1345406 h 1533525"/>
                  <a:gd name="connsiteX154" fmla="*/ 692943 w 1543050"/>
                  <a:gd name="connsiteY154" fmla="*/ 1366838 h 1533525"/>
                  <a:gd name="connsiteX155" fmla="*/ 671512 w 1543050"/>
                  <a:gd name="connsiteY155" fmla="*/ 1509713 h 1533525"/>
                  <a:gd name="connsiteX156" fmla="*/ 633412 w 1543050"/>
                  <a:gd name="connsiteY156" fmla="*/ 1490663 h 1533525"/>
                  <a:gd name="connsiteX157" fmla="*/ 614362 w 1543050"/>
                  <a:gd name="connsiteY157" fmla="*/ 1504950 h 1533525"/>
                  <a:gd name="connsiteX158" fmla="*/ 581025 w 1543050"/>
                  <a:gd name="connsiteY158" fmla="*/ 1531144 h 1533525"/>
                  <a:gd name="connsiteX159" fmla="*/ 523875 w 1543050"/>
                  <a:gd name="connsiteY159" fmla="*/ 1502569 h 1533525"/>
                  <a:gd name="connsiteX160" fmla="*/ 514350 w 1543050"/>
                  <a:gd name="connsiteY160" fmla="*/ 1490663 h 1533525"/>
                  <a:gd name="connsiteX161" fmla="*/ 483393 w 1543050"/>
                  <a:gd name="connsiteY161" fmla="*/ 1533525 h 1533525"/>
                  <a:gd name="connsiteX0" fmla="*/ 483393 w 1350168"/>
                  <a:gd name="connsiteY0" fmla="*/ 1533525 h 1533525"/>
                  <a:gd name="connsiteX1" fmla="*/ 459581 w 1350168"/>
                  <a:gd name="connsiteY1" fmla="*/ 1481138 h 1533525"/>
                  <a:gd name="connsiteX2" fmla="*/ 438150 w 1350168"/>
                  <a:gd name="connsiteY2" fmla="*/ 1471613 h 1533525"/>
                  <a:gd name="connsiteX3" fmla="*/ 400050 w 1350168"/>
                  <a:gd name="connsiteY3" fmla="*/ 1485900 h 1533525"/>
                  <a:gd name="connsiteX4" fmla="*/ 338137 w 1350168"/>
                  <a:gd name="connsiteY4" fmla="*/ 1490663 h 1533525"/>
                  <a:gd name="connsiteX5" fmla="*/ 330993 w 1350168"/>
                  <a:gd name="connsiteY5" fmla="*/ 1497806 h 1533525"/>
                  <a:gd name="connsiteX6" fmla="*/ 271462 w 1350168"/>
                  <a:gd name="connsiteY6" fmla="*/ 1471613 h 1533525"/>
                  <a:gd name="connsiteX7" fmla="*/ 219075 w 1350168"/>
                  <a:gd name="connsiteY7" fmla="*/ 1443038 h 1533525"/>
                  <a:gd name="connsiteX8" fmla="*/ 138112 w 1350168"/>
                  <a:gd name="connsiteY8" fmla="*/ 1402556 h 1533525"/>
                  <a:gd name="connsiteX9" fmla="*/ 95250 w 1350168"/>
                  <a:gd name="connsiteY9" fmla="*/ 1316831 h 1533525"/>
                  <a:gd name="connsiteX10" fmla="*/ 80962 w 1350168"/>
                  <a:gd name="connsiteY10" fmla="*/ 1288256 h 1533525"/>
                  <a:gd name="connsiteX11" fmla="*/ 104775 w 1350168"/>
                  <a:gd name="connsiteY11" fmla="*/ 1266825 h 1533525"/>
                  <a:gd name="connsiteX12" fmla="*/ 76200 w 1350168"/>
                  <a:gd name="connsiteY12" fmla="*/ 1212056 h 1533525"/>
                  <a:gd name="connsiteX13" fmla="*/ 109537 w 1350168"/>
                  <a:gd name="connsiteY13" fmla="*/ 1193006 h 1533525"/>
                  <a:gd name="connsiteX14" fmla="*/ 140493 w 1350168"/>
                  <a:gd name="connsiteY14" fmla="*/ 1143000 h 1533525"/>
                  <a:gd name="connsiteX15" fmla="*/ 123825 w 1350168"/>
                  <a:gd name="connsiteY15" fmla="*/ 1107281 h 1533525"/>
                  <a:gd name="connsiteX16" fmla="*/ 178593 w 1350168"/>
                  <a:gd name="connsiteY16" fmla="*/ 1107281 h 1533525"/>
                  <a:gd name="connsiteX17" fmla="*/ 192881 w 1350168"/>
                  <a:gd name="connsiteY17" fmla="*/ 1109663 h 1533525"/>
                  <a:gd name="connsiteX18" fmla="*/ 159543 w 1350168"/>
                  <a:gd name="connsiteY18" fmla="*/ 1064419 h 1533525"/>
                  <a:gd name="connsiteX19" fmla="*/ 169068 w 1350168"/>
                  <a:gd name="connsiteY19" fmla="*/ 1014413 h 1533525"/>
                  <a:gd name="connsiteX20" fmla="*/ 123825 w 1350168"/>
                  <a:gd name="connsiteY20" fmla="*/ 997744 h 1533525"/>
                  <a:gd name="connsiteX21" fmla="*/ 61912 w 1350168"/>
                  <a:gd name="connsiteY21" fmla="*/ 954881 h 1533525"/>
                  <a:gd name="connsiteX22" fmla="*/ 45243 w 1350168"/>
                  <a:gd name="connsiteY22" fmla="*/ 938213 h 1533525"/>
                  <a:gd name="connsiteX23" fmla="*/ 64293 w 1350168"/>
                  <a:gd name="connsiteY23" fmla="*/ 909638 h 1533525"/>
                  <a:gd name="connsiteX24" fmla="*/ 47625 w 1350168"/>
                  <a:gd name="connsiteY24" fmla="*/ 897731 h 1533525"/>
                  <a:gd name="connsiteX25" fmla="*/ 47625 w 1350168"/>
                  <a:gd name="connsiteY25" fmla="*/ 881063 h 1533525"/>
                  <a:gd name="connsiteX26" fmla="*/ 26193 w 1350168"/>
                  <a:gd name="connsiteY26" fmla="*/ 881063 h 1533525"/>
                  <a:gd name="connsiteX27" fmla="*/ 7143 w 1350168"/>
                  <a:gd name="connsiteY27" fmla="*/ 847725 h 1533525"/>
                  <a:gd name="connsiteX28" fmla="*/ 0 w 1350168"/>
                  <a:gd name="connsiteY28" fmla="*/ 816769 h 1533525"/>
                  <a:gd name="connsiteX29" fmla="*/ 54768 w 1350168"/>
                  <a:gd name="connsiteY29" fmla="*/ 800100 h 1533525"/>
                  <a:gd name="connsiteX30" fmla="*/ 76200 w 1350168"/>
                  <a:gd name="connsiteY30" fmla="*/ 788194 h 1533525"/>
                  <a:gd name="connsiteX31" fmla="*/ 128587 w 1350168"/>
                  <a:gd name="connsiteY31" fmla="*/ 821531 h 1533525"/>
                  <a:gd name="connsiteX32" fmla="*/ 126206 w 1350168"/>
                  <a:gd name="connsiteY32" fmla="*/ 800100 h 1533525"/>
                  <a:gd name="connsiteX33" fmla="*/ 164306 w 1350168"/>
                  <a:gd name="connsiteY33" fmla="*/ 795338 h 1533525"/>
                  <a:gd name="connsiteX34" fmla="*/ 173831 w 1350168"/>
                  <a:gd name="connsiteY34" fmla="*/ 759619 h 1533525"/>
                  <a:gd name="connsiteX35" fmla="*/ 235743 w 1350168"/>
                  <a:gd name="connsiteY35" fmla="*/ 764381 h 1533525"/>
                  <a:gd name="connsiteX36" fmla="*/ 235743 w 1350168"/>
                  <a:gd name="connsiteY36" fmla="*/ 764381 h 1533525"/>
                  <a:gd name="connsiteX37" fmla="*/ 245268 w 1350168"/>
                  <a:gd name="connsiteY37" fmla="*/ 704850 h 1533525"/>
                  <a:gd name="connsiteX38" fmla="*/ 276225 w 1350168"/>
                  <a:gd name="connsiteY38" fmla="*/ 666750 h 1533525"/>
                  <a:gd name="connsiteX39" fmla="*/ 292893 w 1350168"/>
                  <a:gd name="connsiteY39" fmla="*/ 638175 h 1533525"/>
                  <a:gd name="connsiteX40" fmla="*/ 245268 w 1350168"/>
                  <a:gd name="connsiteY40" fmla="*/ 602456 h 1533525"/>
                  <a:gd name="connsiteX41" fmla="*/ 264318 w 1350168"/>
                  <a:gd name="connsiteY41" fmla="*/ 585788 h 1533525"/>
                  <a:gd name="connsiteX42" fmla="*/ 311943 w 1350168"/>
                  <a:gd name="connsiteY42" fmla="*/ 602456 h 1533525"/>
                  <a:gd name="connsiteX43" fmla="*/ 369093 w 1350168"/>
                  <a:gd name="connsiteY43" fmla="*/ 573881 h 1533525"/>
                  <a:gd name="connsiteX44" fmla="*/ 457200 w 1350168"/>
                  <a:gd name="connsiteY44" fmla="*/ 545306 h 1533525"/>
                  <a:gd name="connsiteX45" fmla="*/ 538162 w 1350168"/>
                  <a:gd name="connsiteY45" fmla="*/ 578644 h 1533525"/>
                  <a:gd name="connsiteX46" fmla="*/ 614362 w 1350168"/>
                  <a:gd name="connsiteY46" fmla="*/ 550069 h 1533525"/>
                  <a:gd name="connsiteX47" fmla="*/ 650081 w 1350168"/>
                  <a:gd name="connsiteY47" fmla="*/ 552450 h 1533525"/>
                  <a:gd name="connsiteX48" fmla="*/ 654843 w 1350168"/>
                  <a:gd name="connsiteY48" fmla="*/ 523875 h 1533525"/>
                  <a:gd name="connsiteX49" fmla="*/ 654843 w 1350168"/>
                  <a:gd name="connsiteY49" fmla="*/ 490538 h 1533525"/>
                  <a:gd name="connsiteX50" fmla="*/ 669131 w 1350168"/>
                  <a:gd name="connsiteY50" fmla="*/ 469106 h 1533525"/>
                  <a:gd name="connsiteX51" fmla="*/ 652462 w 1350168"/>
                  <a:gd name="connsiteY51" fmla="*/ 450056 h 1533525"/>
                  <a:gd name="connsiteX52" fmla="*/ 642937 w 1350168"/>
                  <a:gd name="connsiteY52" fmla="*/ 411956 h 1533525"/>
                  <a:gd name="connsiteX53" fmla="*/ 642937 w 1350168"/>
                  <a:gd name="connsiteY53" fmla="*/ 330994 h 1533525"/>
                  <a:gd name="connsiteX54" fmla="*/ 633412 w 1350168"/>
                  <a:gd name="connsiteY54" fmla="*/ 319088 h 1533525"/>
                  <a:gd name="connsiteX55" fmla="*/ 664368 w 1350168"/>
                  <a:gd name="connsiteY55" fmla="*/ 285750 h 1533525"/>
                  <a:gd name="connsiteX56" fmla="*/ 721518 w 1350168"/>
                  <a:gd name="connsiteY56" fmla="*/ 292894 h 1533525"/>
                  <a:gd name="connsiteX57" fmla="*/ 733425 w 1350168"/>
                  <a:gd name="connsiteY57" fmla="*/ 264319 h 1533525"/>
                  <a:gd name="connsiteX58" fmla="*/ 731043 w 1350168"/>
                  <a:gd name="connsiteY58" fmla="*/ 228600 h 1533525"/>
                  <a:gd name="connsiteX59" fmla="*/ 790575 w 1350168"/>
                  <a:gd name="connsiteY59" fmla="*/ 192881 h 1533525"/>
                  <a:gd name="connsiteX60" fmla="*/ 804862 w 1350168"/>
                  <a:gd name="connsiteY60" fmla="*/ 166688 h 1533525"/>
                  <a:gd name="connsiteX61" fmla="*/ 778668 w 1350168"/>
                  <a:gd name="connsiteY61" fmla="*/ 128588 h 1533525"/>
                  <a:gd name="connsiteX62" fmla="*/ 771525 w 1350168"/>
                  <a:gd name="connsiteY62" fmla="*/ 104775 h 1533525"/>
                  <a:gd name="connsiteX63" fmla="*/ 823912 w 1350168"/>
                  <a:gd name="connsiteY63" fmla="*/ 97631 h 1533525"/>
                  <a:gd name="connsiteX64" fmla="*/ 869156 w 1350168"/>
                  <a:gd name="connsiteY64" fmla="*/ 52388 h 1533525"/>
                  <a:gd name="connsiteX65" fmla="*/ 890587 w 1350168"/>
                  <a:gd name="connsiteY65" fmla="*/ 23813 h 1533525"/>
                  <a:gd name="connsiteX66" fmla="*/ 923925 w 1350168"/>
                  <a:gd name="connsiteY66" fmla="*/ 9525 h 1533525"/>
                  <a:gd name="connsiteX67" fmla="*/ 971550 w 1350168"/>
                  <a:gd name="connsiteY67" fmla="*/ 0 h 1533525"/>
                  <a:gd name="connsiteX68" fmla="*/ 971550 w 1350168"/>
                  <a:gd name="connsiteY68" fmla="*/ 40481 h 1533525"/>
                  <a:gd name="connsiteX69" fmla="*/ 950118 w 1350168"/>
                  <a:gd name="connsiteY69" fmla="*/ 80963 h 1533525"/>
                  <a:gd name="connsiteX70" fmla="*/ 950118 w 1350168"/>
                  <a:gd name="connsiteY70" fmla="*/ 140494 h 1533525"/>
                  <a:gd name="connsiteX71" fmla="*/ 969168 w 1350168"/>
                  <a:gd name="connsiteY71" fmla="*/ 161925 h 1533525"/>
                  <a:gd name="connsiteX72" fmla="*/ 1007268 w 1350168"/>
                  <a:gd name="connsiteY72" fmla="*/ 188119 h 1533525"/>
                  <a:gd name="connsiteX73" fmla="*/ 1019175 w 1350168"/>
                  <a:gd name="connsiteY73" fmla="*/ 216694 h 1533525"/>
                  <a:gd name="connsiteX74" fmla="*/ 1004887 w 1350168"/>
                  <a:gd name="connsiteY74" fmla="*/ 226219 h 1533525"/>
                  <a:gd name="connsiteX75" fmla="*/ 1057275 w 1350168"/>
                  <a:gd name="connsiteY75" fmla="*/ 250031 h 1533525"/>
                  <a:gd name="connsiteX76" fmla="*/ 1073943 w 1350168"/>
                  <a:gd name="connsiteY76" fmla="*/ 228600 h 1533525"/>
                  <a:gd name="connsiteX77" fmla="*/ 1083468 w 1350168"/>
                  <a:gd name="connsiteY77" fmla="*/ 252413 h 1533525"/>
                  <a:gd name="connsiteX78" fmla="*/ 1116806 w 1350168"/>
                  <a:gd name="connsiteY78" fmla="*/ 252413 h 1533525"/>
                  <a:gd name="connsiteX79" fmla="*/ 1123950 w 1350168"/>
                  <a:gd name="connsiteY79" fmla="*/ 257175 h 1533525"/>
                  <a:gd name="connsiteX80" fmla="*/ 1116806 w 1350168"/>
                  <a:gd name="connsiteY80" fmla="*/ 276225 h 1533525"/>
                  <a:gd name="connsiteX81" fmla="*/ 1088231 w 1350168"/>
                  <a:gd name="connsiteY81" fmla="*/ 309563 h 1533525"/>
                  <a:gd name="connsiteX82" fmla="*/ 1123950 w 1350168"/>
                  <a:gd name="connsiteY82" fmla="*/ 333375 h 1533525"/>
                  <a:gd name="connsiteX83" fmla="*/ 1135856 w 1350168"/>
                  <a:gd name="connsiteY83" fmla="*/ 347663 h 1533525"/>
                  <a:gd name="connsiteX84" fmla="*/ 1135856 w 1350168"/>
                  <a:gd name="connsiteY84" fmla="*/ 376238 h 1533525"/>
                  <a:gd name="connsiteX85" fmla="*/ 1119187 w 1350168"/>
                  <a:gd name="connsiteY85" fmla="*/ 411956 h 1533525"/>
                  <a:gd name="connsiteX86" fmla="*/ 1162050 w 1350168"/>
                  <a:gd name="connsiteY86" fmla="*/ 423863 h 1533525"/>
                  <a:gd name="connsiteX87" fmla="*/ 1233487 w 1350168"/>
                  <a:gd name="connsiteY87" fmla="*/ 416719 h 1533525"/>
                  <a:gd name="connsiteX88" fmla="*/ 1223962 w 1350168"/>
                  <a:gd name="connsiteY88" fmla="*/ 385763 h 1533525"/>
                  <a:gd name="connsiteX89" fmla="*/ 1188243 w 1350168"/>
                  <a:gd name="connsiteY89" fmla="*/ 347663 h 1533525"/>
                  <a:gd name="connsiteX90" fmla="*/ 1181100 w 1350168"/>
                  <a:gd name="connsiteY90" fmla="*/ 333375 h 1533525"/>
                  <a:gd name="connsiteX91" fmla="*/ 1207293 w 1350168"/>
                  <a:gd name="connsiteY91" fmla="*/ 326231 h 1533525"/>
                  <a:gd name="connsiteX92" fmla="*/ 1200150 w 1350168"/>
                  <a:gd name="connsiteY92" fmla="*/ 302419 h 1533525"/>
                  <a:gd name="connsiteX93" fmla="*/ 1223962 w 1350168"/>
                  <a:gd name="connsiteY93" fmla="*/ 283369 h 1533525"/>
                  <a:gd name="connsiteX94" fmla="*/ 1250156 w 1350168"/>
                  <a:gd name="connsiteY94" fmla="*/ 242888 h 1533525"/>
                  <a:gd name="connsiteX95" fmla="*/ 1302543 w 1350168"/>
                  <a:gd name="connsiteY95" fmla="*/ 211931 h 1533525"/>
                  <a:gd name="connsiteX96" fmla="*/ 1350168 w 1350168"/>
                  <a:gd name="connsiteY96" fmla="*/ 123825 h 1533525"/>
                  <a:gd name="connsiteX97" fmla="*/ 1057275 w 1350168"/>
                  <a:gd name="connsiteY97" fmla="*/ 264319 h 1533525"/>
                  <a:gd name="connsiteX98" fmla="*/ 1062037 w 1350168"/>
                  <a:gd name="connsiteY98" fmla="*/ 304800 h 1533525"/>
                  <a:gd name="connsiteX99" fmla="*/ 995362 w 1350168"/>
                  <a:gd name="connsiteY99" fmla="*/ 352425 h 1533525"/>
                  <a:gd name="connsiteX100" fmla="*/ 973931 w 1350168"/>
                  <a:gd name="connsiteY100" fmla="*/ 383381 h 1533525"/>
                  <a:gd name="connsiteX101" fmla="*/ 1000125 w 1350168"/>
                  <a:gd name="connsiteY101" fmla="*/ 428625 h 1533525"/>
                  <a:gd name="connsiteX102" fmla="*/ 983456 w 1350168"/>
                  <a:gd name="connsiteY102" fmla="*/ 466725 h 1533525"/>
                  <a:gd name="connsiteX103" fmla="*/ 1000125 w 1350168"/>
                  <a:gd name="connsiteY103" fmla="*/ 519113 h 1533525"/>
                  <a:gd name="connsiteX104" fmla="*/ 1033462 w 1350168"/>
                  <a:gd name="connsiteY104" fmla="*/ 519113 h 1533525"/>
                  <a:gd name="connsiteX105" fmla="*/ 1019175 w 1350168"/>
                  <a:gd name="connsiteY105" fmla="*/ 552450 h 1533525"/>
                  <a:gd name="connsiteX106" fmla="*/ 1035843 w 1350168"/>
                  <a:gd name="connsiteY106" fmla="*/ 590550 h 1533525"/>
                  <a:gd name="connsiteX107" fmla="*/ 1035843 w 1350168"/>
                  <a:gd name="connsiteY107" fmla="*/ 607219 h 1533525"/>
                  <a:gd name="connsiteX108" fmla="*/ 1045368 w 1350168"/>
                  <a:gd name="connsiteY108" fmla="*/ 645319 h 1533525"/>
                  <a:gd name="connsiteX109" fmla="*/ 1064418 w 1350168"/>
                  <a:gd name="connsiteY109" fmla="*/ 645319 h 1533525"/>
                  <a:gd name="connsiteX110" fmla="*/ 1078706 w 1350168"/>
                  <a:gd name="connsiteY110" fmla="*/ 666750 h 1533525"/>
                  <a:gd name="connsiteX111" fmla="*/ 1085850 w 1350168"/>
                  <a:gd name="connsiteY111" fmla="*/ 688181 h 1533525"/>
                  <a:gd name="connsiteX112" fmla="*/ 1076325 w 1350168"/>
                  <a:gd name="connsiteY112" fmla="*/ 719138 h 1533525"/>
                  <a:gd name="connsiteX113" fmla="*/ 1021556 w 1350168"/>
                  <a:gd name="connsiteY113" fmla="*/ 714375 h 1533525"/>
                  <a:gd name="connsiteX114" fmla="*/ 1002506 w 1350168"/>
                  <a:gd name="connsiteY114" fmla="*/ 721519 h 1533525"/>
                  <a:gd name="connsiteX115" fmla="*/ 995362 w 1350168"/>
                  <a:gd name="connsiteY115" fmla="*/ 726281 h 1533525"/>
                  <a:gd name="connsiteX116" fmla="*/ 995362 w 1350168"/>
                  <a:gd name="connsiteY116" fmla="*/ 726281 h 1533525"/>
                  <a:gd name="connsiteX117" fmla="*/ 923925 w 1350168"/>
                  <a:gd name="connsiteY117" fmla="*/ 721519 h 1533525"/>
                  <a:gd name="connsiteX118" fmla="*/ 940593 w 1350168"/>
                  <a:gd name="connsiteY118" fmla="*/ 778669 h 1533525"/>
                  <a:gd name="connsiteX119" fmla="*/ 938212 w 1350168"/>
                  <a:gd name="connsiteY119" fmla="*/ 847725 h 1533525"/>
                  <a:gd name="connsiteX120" fmla="*/ 954881 w 1350168"/>
                  <a:gd name="connsiteY120" fmla="*/ 871538 h 1533525"/>
                  <a:gd name="connsiteX121" fmla="*/ 997743 w 1350168"/>
                  <a:gd name="connsiteY121" fmla="*/ 919163 h 1533525"/>
                  <a:gd name="connsiteX122" fmla="*/ 1012031 w 1350168"/>
                  <a:gd name="connsiteY122" fmla="*/ 954881 h 1533525"/>
                  <a:gd name="connsiteX123" fmla="*/ 1031081 w 1350168"/>
                  <a:gd name="connsiteY123" fmla="*/ 954881 h 1533525"/>
                  <a:gd name="connsiteX124" fmla="*/ 1071562 w 1350168"/>
                  <a:gd name="connsiteY124" fmla="*/ 940594 h 1533525"/>
                  <a:gd name="connsiteX125" fmla="*/ 1102518 w 1350168"/>
                  <a:gd name="connsiteY125" fmla="*/ 933450 h 1533525"/>
                  <a:gd name="connsiteX126" fmla="*/ 1159668 w 1350168"/>
                  <a:gd name="connsiteY126" fmla="*/ 997744 h 1533525"/>
                  <a:gd name="connsiteX127" fmla="*/ 1178718 w 1350168"/>
                  <a:gd name="connsiteY127" fmla="*/ 1052513 h 1533525"/>
                  <a:gd name="connsiteX128" fmla="*/ 1190625 w 1350168"/>
                  <a:gd name="connsiteY128" fmla="*/ 1081088 h 1533525"/>
                  <a:gd name="connsiteX129" fmla="*/ 1212056 w 1350168"/>
                  <a:gd name="connsiteY129" fmla="*/ 1109663 h 1533525"/>
                  <a:gd name="connsiteX130" fmla="*/ 1231106 w 1350168"/>
                  <a:gd name="connsiteY130" fmla="*/ 1102519 h 1533525"/>
                  <a:gd name="connsiteX131" fmla="*/ 1231106 w 1350168"/>
                  <a:gd name="connsiteY131" fmla="*/ 1131094 h 1533525"/>
                  <a:gd name="connsiteX132" fmla="*/ 1233487 w 1350168"/>
                  <a:gd name="connsiteY132" fmla="*/ 1145381 h 1533525"/>
                  <a:gd name="connsiteX133" fmla="*/ 1266825 w 1350168"/>
                  <a:gd name="connsiteY133" fmla="*/ 1181100 h 1533525"/>
                  <a:gd name="connsiteX134" fmla="*/ 1233487 w 1350168"/>
                  <a:gd name="connsiteY134" fmla="*/ 1181100 h 1533525"/>
                  <a:gd name="connsiteX135" fmla="*/ 1228725 w 1350168"/>
                  <a:gd name="connsiteY135" fmla="*/ 1223963 h 1533525"/>
                  <a:gd name="connsiteX136" fmla="*/ 1226343 w 1350168"/>
                  <a:gd name="connsiteY136" fmla="*/ 1243013 h 1533525"/>
                  <a:gd name="connsiteX137" fmla="*/ 1216818 w 1350168"/>
                  <a:gd name="connsiteY137" fmla="*/ 1264444 h 1533525"/>
                  <a:gd name="connsiteX138" fmla="*/ 1190625 w 1350168"/>
                  <a:gd name="connsiteY138" fmla="*/ 1238250 h 1533525"/>
                  <a:gd name="connsiteX139" fmla="*/ 1157287 w 1350168"/>
                  <a:gd name="connsiteY139" fmla="*/ 1209675 h 1533525"/>
                  <a:gd name="connsiteX140" fmla="*/ 1131093 w 1350168"/>
                  <a:gd name="connsiteY140" fmla="*/ 1185863 h 1533525"/>
                  <a:gd name="connsiteX141" fmla="*/ 1107281 w 1350168"/>
                  <a:gd name="connsiteY141" fmla="*/ 1219200 h 1533525"/>
                  <a:gd name="connsiteX142" fmla="*/ 1104900 w 1350168"/>
                  <a:gd name="connsiteY142" fmla="*/ 1264444 h 1533525"/>
                  <a:gd name="connsiteX143" fmla="*/ 1062037 w 1350168"/>
                  <a:gd name="connsiteY143" fmla="*/ 1259681 h 1533525"/>
                  <a:gd name="connsiteX144" fmla="*/ 1026318 w 1350168"/>
                  <a:gd name="connsiteY144" fmla="*/ 1288256 h 1533525"/>
                  <a:gd name="connsiteX145" fmla="*/ 1007268 w 1350168"/>
                  <a:gd name="connsiteY145" fmla="*/ 1240631 h 1533525"/>
                  <a:gd name="connsiteX146" fmla="*/ 947737 w 1350168"/>
                  <a:gd name="connsiteY146" fmla="*/ 1231106 h 1533525"/>
                  <a:gd name="connsiteX147" fmla="*/ 921543 w 1350168"/>
                  <a:gd name="connsiteY147" fmla="*/ 1297781 h 1533525"/>
                  <a:gd name="connsiteX148" fmla="*/ 885825 w 1350168"/>
                  <a:gd name="connsiteY148" fmla="*/ 1278731 h 1533525"/>
                  <a:gd name="connsiteX149" fmla="*/ 816768 w 1350168"/>
                  <a:gd name="connsiteY149" fmla="*/ 1295400 h 1533525"/>
                  <a:gd name="connsiteX150" fmla="*/ 757237 w 1350168"/>
                  <a:gd name="connsiteY150" fmla="*/ 1259681 h 1533525"/>
                  <a:gd name="connsiteX151" fmla="*/ 742950 w 1350168"/>
                  <a:gd name="connsiteY151" fmla="*/ 1312069 h 1533525"/>
                  <a:gd name="connsiteX152" fmla="*/ 704850 w 1350168"/>
                  <a:gd name="connsiteY152" fmla="*/ 1345406 h 1533525"/>
                  <a:gd name="connsiteX153" fmla="*/ 692943 w 1350168"/>
                  <a:gd name="connsiteY153" fmla="*/ 1366838 h 1533525"/>
                  <a:gd name="connsiteX154" fmla="*/ 671512 w 1350168"/>
                  <a:gd name="connsiteY154" fmla="*/ 1509713 h 1533525"/>
                  <a:gd name="connsiteX155" fmla="*/ 633412 w 1350168"/>
                  <a:gd name="connsiteY155" fmla="*/ 1490663 h 1533525"/>
                  <a:gd name="connsiteX156" fmla="*/ 614362 w 1350168"/>
                  <a:gd name="connsiteY156" fmla="*/ 1504950 h 1533525"/>
                  <a:gd name="connsiteX157" fmla="*/ 581025 w 1350168"/>
                  <a:gd name="connsiteY157" fmla="*/ 1531144 h 1533525"/>
                  <a:gd name="connsiteX158" fmla="*/ 523875 w 1350168"/>
                  <a:gd name="connsiteY158" fmla="*/ 1502569 h 1533525"/>
                  <a:gd name="connsiteX159" fmla="*/ 514350 w 1350168"/>
                  <a:gd name="connsiteY159" fmla="*/ 1490663 h 1533525"/>
                  <a:gd name="connsiteX160" fmla="*/ 483393 w 1350168"/>
                  <a:gd name="connsiteY160" fmla="*/ 1533525 h 1533525"/>
                  <a:gd name="connsiteX0" fmla="*/ 483393 w 1302543"/>
                  <a:gd name="connsiteY0" fmla="*/ 1533525 h 1533525"/>
                  <a:gd name="connsiteX1" fmla="*/ 459581 w 1302543"/>
                  <a:gd name="connsiteY1" fmla="*/ 1481138 h 1533525"/>
                  <a:gd name="connsiteX2" fmla="*/ 438150 w 1302543"/>
                  <a:gd name="connsiteY2" fmla="*/ 1471613 h 1533525"/>
                  <a:gd name="connsiteX3" fmla="*/ 400050 w 1302543"/>
                  <a:gd name="connsiteY3" fmla="*/ 1485900 h 1533525"/>
                  <a:gd name="connsiteX4" fmla="*/ 338137 w 1302543"/>
                  <a:gd name="connsiteY4" fmla="*/ 1490663 h 1533525"/>
                  <a:gd name="connsiteX5" fmla="*/ 330993 w 1302543"/>
                  <a:gd name="connsiteY5" fmla="*/ 1497806 h 1533525"/>
                  <a:gd name="connsiteX6" fmla="*/ 271462 w 1302543"/>
                  <a:gd name="connsiteY6" fmla="*/ 1471613 h 1533525"/>
                  <a:gd name="connsiteX7" fmla="*/ 219075 w 1302543"/>
                  <a:gd name="connsiteY7" fmla="*/ 1443038 h 1533525"/>
                  <a:gd name="connsiteX8" fmla="*/ 138112 w 1302543"/>
                  <a:gd name="connsiteY8" fmla="*/ 1402556 h 1533525"/>
                  <a:gd name="connsiteX9" fmla="*/ 95250 w 1302543"/>
                  <a:gd name="connsiteY9" fmla="*/ 1316831 h 1533525"/>
                  <a:gd name="connsiteX10" fmla="*/ 80962 w 1302543"/>
                  <a:gd name="connsiteY10" fmla="*/ 1288256 h 1533525"/>
                  <a:gd name="connsiteX11" fmla="*/ 104775 w 1302543"/>
                  <a:gd name="connsiteY11" fmla="*/ 1266825 h 1533525"/>
                  <a:gd name="connsiteX12" fmla="*/ 76200 w 1302543"/>
                  <a:gd name="connsiteY12" fmla="*/ 1212056 h 1533525"/>
                  <a:gd name="connsiteX13" fmla="*/ 109537 w 1302543"/>
                  <a:gd name="connsiteY13" fmla="*/ 1193006 h 1533525"/>
                  <a:gd name="connsiteX14" fmla="*/ 140493 w 1302543"/>
                  <a:gd name="connsiteY14" fmla="*/ 1143000 h 1533525"/>
                  <a:gd name="connsiteX15" fmla="*/ 123825 w 1302543"/>
                  <a:gd name="connsiteY15" fmla="*/ 1107281 h 1533525"/>
                  <a:gd name="connsiteX16" fmla="*/ 178593 w 1302543"/>
                  <a:gd name="connsiteY16" fmla="*/ 1107281 h 1533525"/>
                  <a:gd name="connsiteX17" fmla="*/ 192881 w 1302543"/>
                  <a:gd name="connsiteY17" fmla="*/ 1109663 h 1533525"/>
                  <a:gd name="connsiteX18" fmla="*/ 159543 w 1302543"/>
                  <a:gd name="connsiteY18" fmla="*/ 1064419 h 1533525"/>
                  <a:gd name="connsiteX19" fmla="*/ 169068 w 1302543"/>
                  <a:gd name="connsiteY19" fmla="*/ 1014413 h 1533525"/>
                  <a:gd name="connsiteX20" fmla="*/ 123825 w 1302543"/>
                  <a:gd name="connsiteY20" fmla="*/ 997744 h 1533525"/>
                  <a:gd name="connsiteX21" fmla="*/ 61912 w 1302543"/>
                  <a:gd name="connsiteY21" fmla="*/ 954881 h 1533525"/>
                  <a:gd name="connsiteX22" fmla="*/ 45243 w 1302543"/>
                  <a:gd name="connsiteY22" fmla="*/ 938213 h 1533525"/>
                  <a:gd name="connsiteX23" fmla="*/ 64293 w 1302543"/>
                  <a:gd name="connsiteY23" fmla="*/ 909638 h 1533525"/>
                  <a:gd name="connsiteX24" fmla="*/ 47625 w 1302543"/>
                  <a:gd name="connsiteY24" fmla="*/ 897731 h 1533525"/>
                  <a:gd name="connsiteX25" fmla="*/ 47625 w 1302543"/>
                  <a:gd name="connsiteY25" fmla="*/ 881063 h 1533525"/>
                  <a:gd name="connsiteX26" fmla="*/ 26193 w 1302543"/>
                  <a:gd name="connsiteY26" fmla="*/ 881063 h 1533525"/>
                  <a:gd name="connsiteX27" fmla="*/ 7143 w 1302543"/>
                  <a:gd name="connsiteY27" fmla="*/ 847725 h 1533525"/>
                  <a:gd name="connsiteX28" fmla="*/ 0 w 1302543"/>
                  <a:gd name="connsiteY28" fmla="*/ 816769 h 1533525"/>
                  <a:gd name="connsiteX29" fmla="*/ 54768 w 1302543"/>
                  <a:gd name="connsiteY29" fmla="*/ 800100 h 1533525"/>
                  <a:gd name="connsiteX30" fmla="*/ 76200 w 1302543"/>
                  <a:gd name="connsiteY30" fmla="*/ 788194 h 1533525"/>
                  <a:gd name="connsiteX31" fmla="*/ 128587 w 1302543"/>
                  <a:gd name="connsiteY31" fmla="*/ 821531 h 1533525"/>
                  <a:gd name="connsiteX32" fmla="*/ 126206 w 1302543"/>
                  <a:gd name="connsiteY32" fmla="*/ 800100 h 1533525"/>
                  <a:gd name="connsiteX33" fmla="*/ 164306 w 1302543"/>
                  <a:gd name="connsiteY33" fmla="*/ 795338 h 1533525"/>
                  <a:gd name="connsiteX34" fmla="*/ 173831 w 1302543"/>
                  <a:gd name="connsiteY34" fmla="*/ 759619 h 1533525"/>
                  <a:gd name="connsiteX35" fmla="*/ 235743 w 1302543"/>
                  <a:gd name="connsiteY35" fmla="*/ 764381 h 1533525"/>
                  <a:gd name="connsiteX36" fmla="*/ 235743 w 1302543"/>
                  <a:gd name="connsiteY36" fmla="*/ 764381 h 1533525"/>
                  <a:gd name="connsiteX37" fmla="*/ 245268 w 1302543"/>
                  <a:gd name="connsiteY37" fmla="*/ 704850 h 1533525"/>
                  <a:gd name="connsiteX38" fmla="*/ 276225 w 1302543"/>
                  <a:gd name="connsiteY38" fmla="*/ 666750 h 1533525"/>
                  <a:gd name="connsiteX39" fmla="*/ 292893 w 1302543"/>
                  <a:gd name="connsiteY39" fmla="*/ 638175 h 1533525"/>
                  <a:gd name="connsiteX40" fmla="*/ 245268 w 1302543"/>
                  <a:gd name="connsiteY40" fmla="*/ 602456 h 1533525"/>
                  <a:gd name="connsiteX41" fmla="*/ 264318 w 1302543"/>
                  <a:gd name="connsiteY41" fmla="*/ 585788 h 1533525"/>
                  <a:gd name="connsiteX42" fmla="*/ 311943 w 1302543"/>
                  <a:gd name="connsiteY42" fmla="*/ 602456 h 1533525"/>
                  <a:gd name="connsiteX43" fmla="*/ 369093 w 1302543"/>
                  <a:gd name="connsiteY43" fmla="*/ 573881 h 1533525"/>
                  <a:gd name="connsiteX44" fmla="*/ 457200 w 1302543"/>
                  <a:gd name="connsiteY44" fmla="*/ 545306 h 1533525"/>
                  <a:gd name="connsiteX45" fmla="*/ 538162 w 1302543"/>
                  <a:gd name="connsiteY45" fmla="*/ 578644 h 1533525"/>
                  <a:gd name="connsiteX46" fmla="*/ 614362 w 1302543"/>
                  <a:gd name="connsiteY46" fmla="*/ 550069 h 1533525"/>
                  <a:gd name="connsiteX47" fmla="*/ 650081 w 1302543"/>
                  <a:gd name="connsiteY47" fmla="*/ 552450 h 1533525"/>
                  <a:gd name="connsiteX48" fmla="*/ 654843 w 1302543"/>
                  <a:gd name="connsiteY48" fmla="*/ 523875 h 1533525"/>
                  <a:gd name="connsiteX49" fmla="*/ 654843 w 1302543"/>
                  <a:gd name="connsiteY49" fmla="*/ 490538 h 1533525"/>
                  <a:gd name="connsiteX50" fmla="*/ 669131 w 1302543"/>
                  <a:gd name="connsiteY50" fmla="*/ 469106 h 1533525"/>
                  <a:gd name="connsiteX51" fmla="*/ 652462 w 1302543"/>
                  <a:gd name="connsiteY51" fmla="*/ 450056 h 1533525"/>
                  <a:gd name="connsiteX52" fmla="*/ 642937 w 1302543"/>
                  <a:gd name="connsiteY52" fmla="*/ 411956 h 1533525"/>
                  <a:gd name="connsiteX53" fmla="*/ 642937 w 1302543"/>
                  <a:gd name="connsiteY53" fmla="*/ 330994 h 1533525"/>
                  <a:gd name="connsiteX54" fmla="*/ 633412 w 1302543"/>
                  <a:gd name="connsiteY54" fmla="*/ 319088 h 1533525"/>
                  <a:gd name="connsiteX55" fmla="*/ 664368 w 1302543"/>
                  <a:gd name="connsiteY55" fmla="*/ 285750 h 1533525"/>
                  <a:gd name="connsiteX56" fmla="*/ 721518 w 1302543"/>
                  <a:gd name="connsiteY56" fmla="*/ 292894 h 1533525"/>
                  <a:gd name="connsiteX57" fmla="*/ 733425 w 1302543"/>
                  <a:gd name="connsiteY57" fmla="*/ 264319 h 1533525"/>
                  <a:gd name="connsiteX58" fmla="*/ 731043 w 1302543"/>
                  <a:gd name="connsiteY58" fmla="*/ 228600 h 1533525"/>
                  <a:gd name="connsiteX59" fmla="*/ 790575 w 1302543"/>
                  <a:gd name="connsiteY59" fmla="*/ 192881 h 1533525"/>
                  <a:gd name="connsiteX60" fmla="*/ 804862 w 1302543"/>
                  <a:gd name="connsiteY60" fmla="*/ 166688 h 1533525"/>
                  <a:gd name="connsiteX61" fmla="*/ 778668 w 1302543"/>
                  <a:gd name="connsiteY61" fmla="*/ 128588 h 1533525"/>
                  <a:gd name="connsiteX62" fmla="*/ 771525 w 1302543"/>
                  <a:gd name="connsiteY62" fmla="*/ 104775 h 1533525"/>
                  <a:gd name="connsiteX63" fmla="*/ 823912 w 1302543"/>
                  <a:gd name="connsiteY63" fmla="*/ 97631 h 1533525"/>
                  <a:gd name="connsiteX64" fmla="*/ 869156 w 1302543"/>
                  <a:gd name="connsiteY64" fmla="*/ 52388 h 1533525"/>
                  <a:gd name="connsiteX65" fmla="*/ 890587 w 1302543"/>
                  <a:gd name="connsiteY65" fmla="*/ 23813 h 1533525"/>
                  <a:gd name="connsiteX66" fmla="*/ 923925 w 1302543"/>
                  <a:gd name="connsiteY66" fmla="*/ 9525 h 1533525"/>
                  <a:gd name="connsiteX67" fmla="*/ 971550 w 1302543"/>
                  <a:gd name="connsiteY67" fmla="*/ 0 h 1533525"/>
                  <a:gd name="connsiteX68" fmla="*/ 971550 w 1302543"/>
                  <a:gd name="connsiteY68" fmla="*/ 40481 h 1533525"/>
                  <a:gd name="connsiteX69" fmla="*/ 950118 w 1302543"/>
                  <a:gd name="connsiteY69" fmla="*/ 80963 h 1533525"/>
                  <a:gd name="connsiteX70" fmla="*/ 950118 w 1302543"/>
                  <a:gd name="connsiteY70" fmla="*/ 140494 h 1533525"/>
                  <a:gd name="connsiteX71" fmla="*/ 969168 w 1302543"/>
                  <a:gd name="connsiteY71" fmla="*/ 161925 h 1533525"/>
                  <a:gd name="connsiteX72" fmla="*/ 1007268 w 1302543"/>
                  <a:gd name="connsiteY72" fmla="*/ 188119 h 1533525"/>
                  <a:gd name="connsiteX73" fmla="*/ 1019175 w 1302543"/>
                  <a:gd name="connsiteY73" fmla="*/ 216694 h 1533525"/>
                  <a:gd name="connsiteX74" fmla="*/ 1004887 w 1302543"/>
                  <a:gd name="connsiteY74" fmla="*/ 226219 h 1533525"/>
                  <a:gd name="connsiteX75" fmla="*/ 1057275 w 1302543"/>
                  <a:gd name="connsiteY75" fmla="*/ 250031 h 1533525"/>
                  <a:gd name="connsiteX76" fmla="*/ 1073943 w 1302543"/>
                  <a:gd name="connsiteY76" fmla="*/ 228600 h 1533525"/>
                  <a:gd name="connsiteX77" fmla="*/ 1083468 w 1302543"/>
                  <a:gd name="connsiteY77" fmla="*/ 252413 h 1533525"/>
                  <a:gd name="connsiteX78" fmla="*/ 1116806 w 1302543"/>
                  <a:gd name="connsiteY78" fmla="*/ 252413 h 1533525"/>
                  <a:gd name="connsiteX79" fmla="*/ 1123950 w 1302543"/>
                  <a:gd name="connsiteY79" fmla="*/ 257175 h 1533525"/>
                  <a:gd name="connsiteX80" fmla="*/ 1116806 w 1302543"/>
                  <a:gd name="connsiteY80" fmla="*/ 276225 h 1533525"/>
                  <a:gd name="connsiteX81" fmla="*/ 1088231 w 1302543"/>
                  <a:gd name="connsiteY81" fmla="*/ 309563 h 1533525"/>
                  <a:gd name="connsiteX82" fmla="*/ 1123950 w 1302543"/>
                  <a:gd name="connsiteY82" fmla="*/ 333375 h 1533525"/>
                  <a:gd name="connsiteX83" fmla="*/ 1135856 w 1302543"/>
                  <a:gd name="connsiteY83" fmla="*/ 347663 h 1533525"/>
                  <a:gd name="connsiteX84" fmla="*/ 1135856 w 1302543"/>
                  <a:gd name="connsiteY84" fmla="*/ 376238 h 1533525"/>
                  <a:gd name="connsiteX85" fmla="*/ 1119187 w 1302543"/>
                  <a:gd name="connsiteY85" fmla="*/ 411956 h 1533525"/>
                  <a:gd name="connsiteX86" fmla="*/ 1162050 w 1302543"/>
                  <a:gd name="connsiteY86" fmla="*/ 423863 h 1533525"/>
                  <a:gd name="connsiteX87" fmla="*/ 1233487 w 1302543"/>
                  <a:gd name="connsiteY87" fmla="*/ 416719 h 1533525"/>
                  <a:gd name="connsiteX88" fmla="*/ 1223962 w 1302543"/>
                  <a:gd name="connsiteY88" fmla="*/ 385763 h 1533525"/>
                  <a:gd name="connsiteX89" fmla="*/ 1188243 w 1302543"/>
                  <a:gd name="connsiteY89" fmla="*/ 347663 h 1533525"/>
                  <a:gd name="connsiteX90" fmla="*/ 1181100 w 1302543"/>
                  <a:gd name="connsiteY90" fmla="*/ 333375 h 1533525"/>
                  <a:gd name="connsiteX91" fmla="*/ 1207293 w 1302543"/>
                  <a:gd name="connsiteY91" fmla="*/ 326231 h 1533525"/>
                  <a:gd name="connsiteX92" fmla="*/ 1200150 w 1302543"/>
                  <a:gd name="connsiteY92" fmla="*/ 302419 h 1533525"/>
                  <a:gd name="connsiteX93" fmla="*/ 1223962 w 1302543"/>
                  <a:gd name="connsiteY93" fmla="*/ 283369 h 1533525"/>
                  <a:gd name="connsiteX94" fmla="*/ 1250156 w 1302543"/>
                  <a:gd name="connsiteY94" fmla="*/ 242888 h 1533525"/>
                  <a:gd name="connsiteX95" fmla="*/ 1302543 w 1302543"/>
                  <a:gd name="connsiteY95" fmla="*/ 211931 h 1533525"/>
                  <a:gd name="connsiteX96" fmla="*/ 1057275 w 1302543"/>
                  <a:gd name="connsiteY96" fmla="*/ 264319 h 1533525"/>
                  <a:gd name="connsiteX97" fmla="*/ 1062037 w 1302543"/>
                  <a:gd name="connsiteY97" fmla="*/ 304800 h 1533525"/>
                  <a:gd name="connsiteX98" fmla="*/ 995362 w 1302543"/>
                  <a:gd name="connsiteY98" fmla="*/ 352425 h 1533525"/>
                  <a:gd name="connsiteX99" fmla="*/ 973931 w 1302543"/>
                  <a:gd name="connsiteY99" fmla="*/ 383381 h 1533525"/>
                  <a:gd name="connsiteX100" fmla="*/ 1000125 w 1302543"/>
                  <a:gd name="connsiteY100" fmla="*/ 428625 h 1533525"/>
                  <a:gd name="connsiteX101" fmla="*/ 983456 w 1302543"/>
                  <a:gd name="connsiteY101" fmla="*/ 466725 h 1533525"/>
                  <a:gd name="connsiteX102" fmla="*/ 1000125 w 1302543"/>
                  <a:gd name="connsiteY102" fmla="*/ 519113 h 1533525"/>
                  <a:gd name="connsiteX103" fmla="*/ 1033462 w 1302543"/>
                  <a:gd name="connsiteY103" fmla="*/ 519113 h 1533525"/>
                  <a:gd name="connsiteX104" fmla="*/ 1019175 w 1302543"/>
                  <a:gd name="connsiteY104" fmla="*/ 552450 h 1533525"/>
                  <a:gd name="connsiteX105" fmla="*/ 1035843 w 1302543"/>
                  <a:gd name="connsiteY105" fmla="*/ 590550 h 1533525"/>
                  <a:gd name="connsiteX106" fmla="*/ 1035843 w 1302543"/>
                  <a:gd name="connsiteY106" fmla="*/ 607219 h 1533525"/>
                  <a:gd name="connsiteX107" fmla="*/ 1045368 w 1302543"/>
                  <a:gd name="connsiteY107" fmla="*/ 645319 h 1533525"/>
                  <a:gd name="connsiteX108" fmla="*/ 1064418 w 1302543"/>
                  <a:gd name="connsiteY108" fmla="*/ 645319 h 1533525"/>
                  <a:gd name="connsiteX109" fmla="*/ 1078706 w 1302543"/>
                  <a:gd name="connsiteY109" fmla="*/ 666750 h 1533525"/>
                  <a:gd name="connsiteX110" fmla="*/ 1085850 w 1302543"/>
                  <a:gd name="connsiteY110" fmla="*/ 688181 h 1533525"/>
                  <a:gd name="connsiteX111" fmla="*/ 1076325 w 1302543"/>
                  <a:gd name="connsiteY111" fmla="*/ 719138 h 1533525"/>
                  <a:gd name="connsiteX112" fmla="*/ 1021556 w 1302543"/>
                  <a:gd name="connsiteY112" fmla="*/ 714375 h 1533525"/>
                  <a:gd name="connsiteX113" fmla="*/ 1002506 w 1302543"/>
                  <a:gd name="connsiteY113" fmla="*/ 721519 h 1533525"/>
                  <a:gd name="connsiteX114" fmla="*/ 995362 w 1302543"/>
                  <a:gd name="connsiteY114" fmla="*/ 726281 h 1533525"/>
                  <a:gd name="connsiteX115" fmla="*/ 995362 w 1302543"/>
                  <a:gd name="connsiteY115" fmla="*/ 726281 h 1533525"/>
                  <a:gd name="connsiteX116" fmla="*/ 923925 w 1302543"/>
                  <a:gd name="connsiteY116" fmla="*/ 721519 h 1533525"/>
                  <a:gd name="connsiteX117" fmla="*/ 940593 w 1302543"/>
                  <a:gd name="connsiteY117" fmla="*/ 778669 h 1533525"/>
                  <a:gd name="connsiteX118" fmla="*/ 938212 w 1302543"/>
                  <a:gd name="connsiteY118" fmla="*/ 847725 h 1533525"/>
                  <a:gd name="connsiteX119" fmla="*/ 954881 w 1302543"/>
                  <a:gd name="connsiteY119" fmla="*/ 871538 h 1533525"/>
                  <a:gd name="connsiteX120" fmla="*/ 997743 w 1302543"/>
                  <a:gd name="connsiteY120" fmla="*/ 919163 h 1533525"/>
                  <a:gd name="connsiteX121" fmla="*/ 1012031 w 1302543"/>
                  <a:gd name="connsiteY121" fmla="*/ 954881 h 1533525"/>
                  <a:gd name="connsiteX122" fmla="*/ 1031081 w 1302543"/>
                  <a:gd name="connsiteY122" fmla="*/ 954881 h 1533525"/>
                  <a:gd name="connsiteX123" fmla="*/ 1071562 w 1302543"/>
                  <a:gd name="connsiteY123" fmla="*/ 940594 h 1533525"/>
                  <a:gd name="connsiteX124" fmla="*/ 1102518 w 1302543"/>
                  <a:gd name="connsiteY124" fmla="*/ 933450 h 1533525"/>
                  <a:gd name="connsiteX125" fmla="*/ 1159668 w 1302543"/>
                  <a:gd name="connsiteY125" fmla="*/ 997744 h 1533525"/>
                  <a:gd name="connsiteX126" fmla="*/ 1178718 w 1302543"/>
                  <a:gd name="connsiteY126" fmla="*/ 1052513 h 1533525"/>
                  <a:gd name="connsiteX127" fmla="*/ 1190625 w 1302543"/>
                  <a:gd name="connsiteY127" fmla="*/ 1081088 h 1533525"/>
                  <a:gd name="connsiteX128" fmla="*/ 1212056 w 1302543"/>
                  <a:gd name="connsiteY128" fmla="*/ 1109663 h 1533525"/>
                  <a:gd name="connsiteX129" fmla="*/ 1231106 w 1302543"/>
                  <a:gd name="connsiteY129" fmla="*/ 1102519 h 1533525"/>
                  <a:gd name="connsiteX130" fmla="*/ 1231106 w 1302543"/>
                  <a:gd name="connsiteY130" fmla="*/ 1131094 h 1533525"/>
                  <a:gd name="connsiteX131" fmla="*/ 1233487 w 1302543"/>
                  <a:gd name="connsiteY131" fmla="*/ 1145381 h 1533525"/>
                  <a:gd name="connsiteX132" fmla="*/ 1266825 w 1302543"/>
                  <a:gd name="connsiteY132" fmla="*/ 1181100 h 1533525"/>
                  <a:gd name="connsiteX133" fmla="*/ 1233487 w 1302543"/>
                  <a:gd name="connsiteY133" fmla="*/ 1181100 h 1533525"/>
                  <a:gd name="connsiteX134" fmla="*/ 1228725 w 1302543"/>
                  <a:gd name="connsiteY134" fmla="*/ 1223963 h 1533525"/>
                  <a:gd name="connsiteX135" fmla="*/ 1226343 w 1302543"/>
                  <a:gd name="connsiteY135" fmla="*/ 1243013 h 1533525"/>
                  <a:gd name="connsiteX136" fmla="*/ 1216818 w 1302543"/>
                  <a:gd name="connsiteY136" fmla="*/ 1264444 h 1533525"/>
                  <a:gd name="connsiteX137" fmla="*/ 1190625 w 1302543"/>
                  <a:gd name="connsiteY137" fmla="*/ 1238250 h 1533525"/>
                  <a:gd name="connsiteX138" fmla="*/ 1157287 w 1302543"/>
                  <a:gd name="connsiteY138" fmla="*/ 1209675 h 1533525"/>
                  <a:gd name="connsiteX139" fmla="*/ 1131093 w 1302543"/>
                  <a:gd name="connsiteY139" fmla="*/ 1185863 h 1533525"/>
                  <a:gd name="connsiteX140" fmla="*/ 1107281 w 1302543"/>
                  <a:gd name="connsiteY140" fmla="*/ 1219200 h 1533525"/>
                  <a:gd name="connsiteX141" fmla="*/ 1104900 w 1302543"/>
                  <a:gd name="connsiteY141" fmla="*/ 1264444 h 1533525"/>
                  <a:gd name="connsiteX142" fmla="*/ 1062037 w 1302543"/>
                  <a:gd name="connsiteY142" fmla="*/ 1259681 h 1533525"/>
                  <a:gd name="connsiteX143" fmla="*/ 1026318 w 1302543"/>
                  <a:gd name="connsiteY143" fmla="*/ 1288256 h 1533525"/>
                  <a:gd name="connsiteX144" fmla="*/ 1007268 w 1302543"/>
                  <a:gd name="connsiteY144" fmla="*/ 1240631 h 1533525"/>
                  <a:gd name="connsiteX145" fmla="*/ 947737 w 1302543"/>
                  <a:gd name="connsiteY145" fmla="*/ 1231106 h 1533525"/>
                  <a:gd name="connsiteX146" fmla="*/ 921543 w 1302543"/>
                  <a:gd name="connsiteY146" fmla="*/ 1297781 h 1533525"/>
                  <a:gd name="connsiteX147" fmla="*/ 885825 w 1302543"/>
                  <a:gd name="connsiteY147" fmla="*/ 1278731 h 1533525"/>
                  <a:gd name="connsiteX148" fmla="*/ 816768 w 1302543"/>
                  <a:gd name="connsiteY148" fmla="*/ 1295400 h 1533525"/>
                  <a:gd name="connsiteX149" fmla="*/ 757237 w 1302543"/>
                  <a:gd name="connsiteY149" fmla="*/ 1259681 h 1533525"/>
                  <a:gd name="connsiteX150" fmla="*/ 742950 w 1302543"/>
                  <a:gd name="connsiteY150" fmla="*/ 1312069 h 1533525"/>
                  <a:gd name="connsiteX151" fmla="*/ 704850 w 1302543"/>
                  <a:gd name="connsiteY151" fmla="*/ 1345406 h 1533525"/>
                  <a:gd name="connsiteX152" fmla="*/ 692943 w 1302543"/>
                  <a:gd name="connsiteY152" fmla="*/ 1366838 h 1533525"/>
                  <a:gd name="connsiteX153" fmla="*/ 671512 w 1302543"/>
                  <a:gd name="connsiteY153" fmla="*/ 1509713 h 1533525"/>
                  <a:gd name="connsiteX154" fmla="*/ 633412 w 1302543"/>
                  <a:gd name="connsiteY154" fmla="*/ 1490663 h 1533525"/>
                  <a:gd name="connsiteX155" fmla="*/ 614362 w 1302543"/>
                  <a:gd name="connsiteY155" fmla="*/ 1504950 h 1533525"/>
                  <a:gd name="connsiteX156" fmla="*/ 581025 w 1302543"/>
                  <a:gd name="connsiteY156" fmla="*/ 1531144 h 1533525"/>
                  <a:gd name="connsiteX157" fmla="*/ 523875 w 1302543"/>
                  <a:gd name="connsiteY157" fmla="*/ 1502569 h 1533525"/>
                  <a:gd name="connsiteX158" fmla="*/ 514350 w 1302543"/>
                  <a:gd name="connsiteY158" fmla="*/ 1490663 h 1533525"/>
                  <a:gd name="connsiteX159" fmla="*/ 483393 w 1302543"/>
                  <a:gd name="connsiteY159" fmla="*/ 1533525 h 1533525"/>
                  <a:gd name="connsiteX0" fmla="*/ 1057275 w 1393983"/>
                  <a:gd name="connsiteY0" fmla="*/ 264319 h 1533525"/>
                  <a:gd name="connsiteX1" fmla="*/ 1062037 w 1393983"/>
                  <a:gd name="connsiteY1" fmla="*/ 304800 h 1533525"/>
                  <a:gd name="connsiteX2" fmla="*/ 995362 w 1393983"/>
                  <a:gd name="connsiteY2" fmla="*/ 352425 h 1533525"/>
                  <a:gd name="connsiteX3" fmla="*/ 973931 w 1393983"/>
                  <a:gd name="connsiteY3" fmla="*/ 383381 h 1533525"/>
                  <a:gd name="connsiteX4" fmla="*/ 1000125 w 1393983"/>
                  <a:gd name="connsiteY4" fmla="*/ 428625 h 1533525"/>
                  <a:gd name="connsiteX5" fmla="*/ 983456 w 1393983"/>
                  <a:gd name="connsiteY5" fmla="*/ 466725 h 1533525"/>
                  <a:gd name="connsiteX6" fmla="*/ 1000125 w 1393983"/>
                  <a:gd name="connsiteY6" fmla="*/ 519113 h 1533525"/>
                  <a:gd name="connsiteX7" fmla="*/ 1033462 w 1393983"/>
                  <a:gd name="connsiteY7" fmla="*/ 519113 h 1533525"/>
                  <a:gd name="connsiteX8" fmla="*/ 1019175 w 1393983"/>
                  <a:gd name="connsiteY8" fmla="*/ 552450 h 1533525"/>
                  <a:gd name="connsiteX9" fmla="*/ 1035843 w 1393983"/>
                  <a:gd name="connsiteY9" fmla="*/ 590550 h 1533525"/>
                  <a:gd name="connsiteX10" fmla="*/ 1035843 w 1393983"/>
                  <a:gd name="connsiteY10" fmla="*/ 607219 h 1533525"/>
                  <a:gd name="connsiteX11" fmla="*/ 1045368 w 1393983"/>
                  <a:gd name="connsiteY11" fmla="*/ 645319 h 1533525"/>
                  <a:gd name="connsiteX12" fmla="*/ 1064418 w 1393983"/>
                  <a:gd name="connsiteY12" fmla="*/ 645319 h 1533525"/>
                  <a:gd name="connsiteX13" fmla="*/ 1078706 w 1393983"/>
                  <a:gd name="connsiteY13" fmla="*/ 666750 h 1533525"/>
                  <a:gd name="connsiteX14" fmla="*/ 1085850 w 1393983"/>
                  <a:gd name="connsiteY14" fmla="*/ 688181 h 1533525"/>
                  <a:gd name="connsiteX15" fmla="*/ 1076325 w 1393983"/>
                  <a:gd name="connsiteY15" fmla="*/ 719138 h 1533525"/>
                  <a:gd name="connsiteX16" fmla="*/ 1021556 w 1393983"/>
                  <a:gd name="connsiteY16" fmla="*/ 714375 h 1533525"/>
                  <a:gd name="connsiteX17" fmla="*/ 1002506 w 1393983"/>
                  <a:gd name="connsiteY17" fmla="*/ 721519 h 1533525"/>
                  <a:gd name="connsiteX18" fmla="*/ 995362 w 1393983"/>
                  <a:gd name="connsiteY18" fmla="*/ 726281 h 1533525"/>
                  <a:gd name="connsiteX19" fmla="*/ 995362 w 1393983"/>
                  <a:gd name="connsiteY19" fmla="*/ 726281 h 1533525"/>
                  <a:gd name="connsiteX20" fmla="*/ 923925 w 1393983"/>
                  <a:gd name="connsiteY20" fmla="*/ 721519 h 1533525"/>
                  <a:gd name="connsiteX21" fmla="*/ 940593 w 1393983"/>
                  <a:gd name="connsiteY21" fmla="*/ 778669 h 1533525"/>
                  <a:gd name="connsiteX22" fmla="*/ 938212 w 1393983"/>
                  <a:gd name="connsiteY22" fmla="*/ 847725 h 1533525"/>
                  <a:gd name="connsiteX23" fmla="*/ 954881 w 1393983"/>
                  <a:gd name="connsiteY23" fmla="*/ 871538 h 1533525"/>
                  <a:gd name="connsiteX24" fmla="*/ 997743 w 1393983"/>
                  <a:gd name="connsiteY24" fmla="*/ 919163 h 1533525"/>
                  <a:gd name="connsiteX25" fmla="*/ 1012031 w 1393983"/>
                  <a:gd name="connsiteY25" fmla="*/ 954881 h 1533525"/>
                  <a:gd name="connsiteX26" fmla="*/ 1031081 w 1393983"/>
                  <a:gd name="connsiteY26" fmla="*/ 954881 h 1533525"/>
                  <a:gd name="connsiteX27" fmla="*/ 1071562 w 1393983"/>
                  <a:gd name="connsiteY27" fmla="*/ 940594 h 1533525"/>
                  <a:gd name="connsiteX28" fmla="*/ 1102518 w 1393983"/>
                  <a:gd name="connsiteY28" fmla="*/ 933450 h 1533525"/>
                  <a:gd name="connsiteX29" fmla="*/ 1159668 w 1393983"/>
                  <a:gd name="connsiteY29" fmla="*/ 997744 h 1533525"/>
                  <a:gd name="connsiteX30" fmla="*/ 1178718 w 1393983"/>
                  <a:gd name="connsiteY30" fmla="*/ 1052513 h 1533525"/>
                  <a:gd name="connsiteX31" fmla="*/ 1190625 w 1393983"/>
                  <a:gd name="connsiteY31" fmla="*/ 1081088 h 1533525"/>
                  <a:gd name="connsiteX32" fmla="*/ 1212056 w 1393983"/>
                  <a:gd name="connsiteY32" fmla="*/ 1109663 h 1533525"/>
                  <a:gd name="connsiteX33" fmla="*/ 1231106 w 1393983"/>
                  <a:gd name="connsiteY33" fmla="*/ 1102519 h 1533525"/>
                  <a:gd name="connsiteX34" fmla="*/ 1231106 w 1393983"/>
                  <a:gd name="connsiteY34" fmla="*/ 1131094 h 1533525"/>
                  <a:gd name="connsiteX35" fmla="*/ 1233487 w 1393983"/>
                  <a:gd name="connsiteY35" fmla="*/ 1145381 h 1533525"/>
                  <a:gd name="connsiteX36" fmla="*/ 1266825 w 1393983"/>
                  <a:gd name="connsiteY36" fmla="*/ 1181100 h 1533525"/>
                  <a:gd name="connsiteX37" fmla="*/ 1233487 w 1393983"/>
                  <a:gd name="connsiteY37" fmla="*/ 1181100 h 1533525"/>
                  <a:gd name="connsiteX38" fmla="*/ 1228725 w 1393983"/>
                  <a:gd name="connsiteY38" fmla="*/ 1223963 h 1533525"/>
                  <a:gd name="connsiteX39" fmla="*/ 1226343 w 1393983"/>
                  <a:gd name="connsiteY39" fmla="*/ 1243013 h 1533525"/>
                  <a:gd name="connsiteX40" fmla="*/ 1216818 w 1393983"/>
                  <a:gd name="connsiteY40" fmla="*/ 1264444 h 1533525"/>
                  <a:gd name="connsiteX41" fmla="*/ 1190625 w 1393983"/>
                  <a:gd name="connsiteY41" fmla="*/ 1238250 h 1533525"/>
                  <a:gd name="connsiteX42" fmla="*/ 1157287 w 1393983"/>
                  <a:gd name="connsiteY42" fmla="*/ 1209675 h 1533525"/>
                  <a:gd name="connsiteX43" fmla="*/ 1131093 w 1393983"/>
                  <a:gd name="connsiteY43" fmla="*/ 1185863 h 1533525"/>
                  <a:gd name="connsiteX44" fmla="*/ 1107281 w 1393983"/>
                  <a:gd name="connsiteY44" fmla="*/ 1219200 h 1533525"/>
                  <a:gd name="connsiteX45" fmla="*/ 1104900 w 1393983"/>
                  <a:gd name="connsiteY45" fmla="*/ 1264444 h 1533525"/>
                  <a:gd name="connsiteX46" fmla="*/ 1062037 w 1393983"/>
                  <a:gd name="connsiteY46" fmla="*/ 1259681 h 1533525"/>
                  <a:gd name="connsiteX47" fmla="*/ 1026318 w 1393983"/>
                  <a:gd name="connsiteY47" fmla="*/ 1288256 h 1533525"/>
                  <a:gd name="connsiteX48" fmla="*/ 1007268 w 1393983"/>
                  <a:gd name="connsiteY48" fmla="*/ 1240631 h 1533525"/>
                  <a:gd name="connsiteX49" fmla="*/ 947737 w 1393983"/>
                  <a:gd name="connsiteY49" fmla="*/ 1231106 h 1533525"/>
                  <a:gd name="connsiteX50" fmla="*/ 921543 w 1393983"/>
                  <a:gd name="connsiteY50" fmla="*/ 1297781 h 1533525"/>
                  <a:gd name="connsiteX51" fmla="*/ 885825 w 1393983"/>
                  <a:gd name="connsiteY51" fmla="*/ 1278731 h 1533525"/>
                  <a:gd name="connsiteX52" fmla="*/ 816768 w 1393983"/>
                  <a:gd name="connsiteY52" fmla="*/ 1295400 h 1533525"/>
                  <a:gd name="connsiteX53" fmla="*/ 757237 w 1393983"/>
                  <a:gd name="connsiteY53" fmla="*/ 1259681 h 1533525"/>
                  <a:gd name="connsiteX54" fmla="*/ 742950 w 1393983"/>
                  <a:gd name="connsiteY54" fmla="*/ 1312069 h 1533525"/>
                  <a:gd name="connsiteX55" fmla="*/ 704850 w 1393983"/>
                  <a:gd name="connsiteY55" fmla="*/ 1345406 h 1533525"/>
                  <a:gd name="connsiteX56" fmla="*/ 692943 w 1393983"/>
                  <a:gd name="connsiteY56" fmla="*/ 1366838 h 1533525"/>
                  <a:gd name="connsiteX57" fmla="*/ 671512 w 1393983"/>
                  <a:gd name="connsiteY57" fmla="*/ 1509713 h 1533525"/>
                  <a:gd name="connsiteX58" fmla="*/ 633412 w 1393983"/>
                  <a:gd name="connsiteY58" fmla="*/ 1490663 h 1533525"/>
                  <a:gd name="connsiteX59" fmla="*/ 614362 w 1393983"/>
                  <a:gd name="connsiteY59" fmla="*/ 1504950 h 1533525"/>
                  <a:gd name="connsiteX60" fmla="*/ 581025 w 1393983"/>
                  <a:gd name="connsiteY60" fmla="*/ 1531144 h 1533525"/>
                  <a:gd name="connsiteX61" fmla="*/ 523875 w 1393983"/>
                  <a:gd name="connsiteY61" fmla="*/ 1502569 h 1533525"/>
                  <a:gd name="connsiteX62" fmla="*/ 514350 w 1393983"/>
                  <a:gd name="connsiteY62" fmla="*/ 1490663 h 1533525"/>
                  <a:gd name="connsiteX63" fmla="*/ 483393 w 1393983"/>
                  <a:gd name="connsiteY63" fmla="*/ 1533525 h 1533525"/>
                  <a:gd name="connsiteX64" fmla="*/ 459581 w 1393983"/>
                  <a:gd name="connsiteY64" fmla="*/ 1481138 h 1533525"/>
                  <a:gd name="connsiteX65" fmla="*/ 438150 w 1393983"/>
                  <a:gd name="connsiteY65" fmla="*/ 1471613 h 1533525"/>
                  <a:gd name="connsiteX66" fmla="*/ 400050 w 1393983"/>
                  <a:gd name="connsiteY66" fmla="*/ 1485900 h 1533525"/>
                  <a:gd name="connsiteX67" fmla="*/ 338137 w 1393983"/>
                  <a:gd name="connsiteY67" fmla="*/ 1490663 h 1533525"/>
                  <a:gd name="connsiteX68" fmla="*/ 330993 w 1393983"/>
                  <a:gd name="connsiteY68" fmla="*/ 1497806 h 1533525"/>
                  <a:gd name="connsiteX69" fmla="*/ 271462 w 1393983"/>
                  <a:gd name="connsiteY69" fmla="*/ 1471613 h 1533525"/>
                  <a:gd name="connsiteX70" fmla="*/ 219075 w 1393983"/>
                  <a:gd name="connsiteY70" fmla="*/ 1443038 h 1533525"/>
                  <a:gd name="connsiteX71" fmla="*/ 138112 w 1393983"/>
                  <a:gd name="connsiteY71" fmla="*/ 1402556 h 1533525"/>
                  <a:gd name="connsiteX72" fmla="*/ 95250 w 1393983"/>
                  <a:gd name="connsiteY72" fmla="*/ 1316831 h 1533525"/>
                  <a:gd name="connsiteX73" fmla="*/ 80962 w 1393983"/>
                  <a:gd name="connsiteY73" fmla="*/ 1288256 h 1533525"/>
                  <a:gd name="connsiteX74" fmla="*/ 104775 w 1393983"/>
                  <a:gd name="connsiteY74" fmla="*/ 1266825 h 1533525"/>
                  <a:gd name="connsiteX75" fmla="*/ 76200 w 1393983"/>
                  <a:gd name="connsiteY75" fmla="*/ 1212056 h 1533525"/>
                  <a:gd name="connsiteX76" fmla="*/ 109537 w 1393983"/>
                  <a:gd name="connsiteY76" fmla="*/ 1193006 h 1533525"/>
                  <a:gd name="connsiteX77" fmla="*/ 140493 w 1393983"/>
                  <a:gd name="connsiteY77" fmla="*/ 1143000 h 1533525"/>
                  <a:gd name="connsiteX78" fmla="*/ 123825 w 1393983"/>
                  <a:gd name="connsiteY78" fmla="*/ 1107281 h 1533525"/>
                  <a:gd name="connsiteX79" fmla="*/ 178593 w 1393983"/>
                  <a:gd name="connsiteY79" fmla="*/ 1107281 h 1533525"/>
                  <a:gd name="connsiteX80" fmla="*/ 192881 w 1393983"/>
                  <a:gd name="connsiteY80" fmla="*/ 1109663 h 1533525"/>
                  <a:gd name="connsiteX81" fmla="*/ 159543 w 1393983"/>
                  <a:gd name="connsiteY81" fmla="*/ 1064419 h 1533525"/>
                  <a:gd name="connsiteX82" fmla="*/ 169068 w 1393983"/>
                  <a:gd name="connsiteY82" fmla="*/ 1014413 h 1533525"/>
                  <a:gd name="connsiteX83" fmla="*/ 123825 w 1393983"/>
                  <a:gd name="connsiteY83" fmla="*/ 997744 h 1533525"/>
                  <a:gd name="connsiteX84" fmla="*/ 61912 w 1393983"/>
                  <a:gd name="connsiteY84" fmla="*/ 954881 h 1533525"/>
                  <a:gd name="connsiteX85" fmla="*/ 45243 w 1393983"/>
                  <a:gd name="connsiteY85" fmla="*/ 938213 h 1533525"/>
                  <a:gd name="connsiteX86" fmla="*/ 64293 w 1393983"/>
                  <a:gd name="connsiteY86" fmla="*/ 909638 h 1533525"/>
                  <a:gd name="connsiteX87" fmla="*/ 47625 w 1393983"/>
                  <a:gd name="connsiteY87" fmla="*/ 897731 h 1533525"/>
                  <a:gd name="connsiteX88" fmla="*/ 47625 w 1393983"/>
                  <a:gd name="connsiteY88" fmla="*/ 881063 h 1533525"/>
                  <a:gd name="connsiteX89" fmla="*/ 26193 w 1393983"/>
                  <a:gd name="connsiteY89" fmla="*/ 881063 h 1533525"/>
                  <a:gd name="connsiteX90" fmla="*/ 7143 w 1393983"/>
                  <a:gd name="connsiteY90" fmla="*/ 847725 h 1533525"/>
                  <a:gd name="connsiteX91" fmla="*/ 0 w 1393983"/>
                  <a:gd name="connsiteY91" fmla="*/ 816769 h 1533525"/>
                  <a:gd name="connsiteX92" fmla="*/ 54768 w 1393983"/>
                  <a:gd name="connsiteY92" fmla="*/ 800100 h 1533525"/>
                  <a:gd name="connsiteX93" fmla="*/ 76200 w 1393983"/>
                  <a:gd name="connsiteY93" fmla="*/ 788194 h 1533525"/>
                  <a:gd name="connsiteX94" fmla="*/ 128587 w 1393983"/>
                  <a:gd name="connsiteY94" fmla="*/ 821531 h 1533525"/>
                  <a:gd name="connsiteX95" fmla="*/ 126206 w 1393983"/>
                  <a:gd name="connsiteY95" fmla="*/ 800100 h 1533525"/>
                  <a:gd name="connsiteX96" fmla="*/ 164306 w 1393983"/>
                  <a:gd name="connsiteY96" fmla="*/ 795338 h 1533525"/>
                  <a:gd name="connsiteX97" fmla="*/ 173831 w 1393983"/>
                  <a:gd name="connsiteY97" fmla="*/ 759619 h 1533525"/>
                  <a:gd name="connsiteX98" fmla="*/ 235743 w 1393983"/>
                  <a:gd name="connsiteY98" fmla="*/ 764381 h 1533525"/>
                  <a:gd name="connsiteX99" fmla="*/ 235743 w 1393983"/>
                  <a:gd name="connsiteY99" fmla="*/ 764381 h 1533525"/>
                  <a:gd name="connsiteX100" fmla="*/ 245268 w 1393983"/>
                  <a:gd name="connsiteY100" fmla="*/ 704850 h 1533525"/>
                  <a:gd name="connsiteX101" fmla="*/ 276225 w 1393983"/>
                  <a:gd name="connsiteY101" fmla="*/ 666750 h 1533525"/>
                  <a:gd name="connsiteX102" fmla="*/ 292893 w 1393983"/>
                  <a:gd name="connsiteY102" fmla="*/ 638175 h 1533525"/>
                  <a:gd name="connsiteX103" fmla="*/ 245268 w 1393983"/>
                  <a:gd name="connsiteY103" fmla="*/ 602456 h 1533525"/>
                  <a:gd name="connsiteX104" fmla="*/ 264318 w 1393983"/>
                  <a:gd name="connsiteY104" fmla="*/ 585788 h 1533525"/>
                  <a:gd name="connsiteX105" fmla="*/ 311943 w 1393983"/>
                  <a:gd name="connsiteY105" fmla="*/ 602456 h 1533525"/>
                  <a:gd name="connsiteX106" fmla="*/ 369093 w 1393983"/>
                  <a:gd name="connsiteY106" fmla="*/ 573881 h 1533525"/>
                  <a:gd name="connsiteX107" fmla="*/ 457200 w 1393983"/>
                  <a:gd name="connsiteY107" fmla="*/ 545306 h 1533525"/>
                  <a:gd name="connsiteX108" fmla="*/ 538162 w 1393983"/>
                  <a:gd name="connsiteY108" fmla="*/ 578644 h 1533525"/>
                  <a:gd name="connsiteX109" fmla="*/ 614362 w 1393983"/>
                  <a:gd name="connsiteY109" fmla="*/ 550069 h 1533525"/>
                  <a:gd name="connsiteX110" fmla="*/ 650081 w 1393983"/>
                  <a:gd name="connsiteY110" fmla="*/ 552450 h 1533525"/>
                  <a:gd name="connsiteX111" fmla="*/ 654843 w 1393983"/>
                  <a:gd name="connsiteY111" fmla="*/ 523875 h 1533525"/>
                  <a:gd name="connsiteX112" fmla="*/ 654843 w 1393983"/>
                  <a:gd name="connsiteY112" fmla="*/ 490538 h 1533525"/>
                  <a:gd name="connsiteX113" fmla="*/ 669131 w 1393983"/>
                  <a:gd name="connsiteY113" fmla="*/ 469106 h 1533525"/>
                  <a:gd name="connsiteX114" fmla="*/ 652462 w 1393983"/>
                  <a:gd name="connsiteY114" fmla="*/ 450056 h 1533525"/>
                  <a:gd name="connsiteX115" fmla="*/ 642937 w 1393983"/>
                  <a:gd name="connsiteY115" fmla="*/ 411956 h 1533525"/>
                  <a:gd name="connsiteX116" fmla="*/ 642937 w 1393983"/>
                  <a:gd name="connsiteY116" fmla="*/ 330994 h 1533525"/>
                  <a:gd name="connsiteX117" fmla="*/ 633412 w 1393983"/>
                  <a:gd name="connsiteY117" fmla="*/ 319088 h 1533525"/>
                  <a:gd name="connsiteX118" fmla="*/ 664368 w 1393983"/>
                  <a:gd name="connsiteY118" fmla="*/ 285750 h 1533525"/>
                  <a:gd name="connsiteX119" fmla="*/ 721518 w 1393983"/>
                  <a:gd name="connsiteY119" fmla="*/ 292894 h 1533525"/>
                  <a:gd name="connsiteX120" fmla="*/ 733425 w 1393983"/>
                  <a:gd name="connsiteY120" fmla="*/ 264319 h 1533525"/>
                  <a:gd name="connsiteX121" fmla="*/ 731043 w 1393983"/>
                  <a:gd name="connsiteY121" fmla="*/ 228600 h 1533525"/>
                  <a:gd name="connsiteX122" fmla="*/ 790575 w 1393983"/>
                  <a:gd name="connsiteY122" fmla="*/ 192881 h 1533525"/>
                  <a:gd name="connsiteX123" fmla="*/ 804862 w 1393983"/>
                  <a:gd name="connsiteY123" fmla="*/ 166688 h 1533525"/>
                  <a:gd name="connsiteX124" fmla="*/ 778668 w 1393983"/>
                  <a:gd name="connsiteY124" fmla="*/ 128588 h 1533525"/>
                  <a:gd name="connsiteX125" fmla="*/ 771525 w 1393983"/>
                  <a:gd name="connsiteY125" fmla="*/ 104775 h 1533525"/>
                  <a:gd name="connsiteX126" fmla="*/ 823912 w 1393983"/>
                  <a:gd name="connsiteY126" fmla="*/ 97631 h 1533525"/>
                  <a:gd name="connsiteX127" fmla="*/ 869156 w 1393983"/>
                  <a:gd name="connsiteY127" fmla="*/ 52388 h 1533525"/>
                  <a:gd name="connsiteX128" fmla="*/ 890587 w 1393983"/>
                  <a:gd name="connsiteY128" fmla="*/ 23813 h 1533525"/>
                  <a:gd name="connsiteX129" fmla="*/ 923925 w 1393983"/>
                  <a:gd name="connsiteY129" fmla="*/ 9525 h 1533525"/>
                  <a:gd name="connsiteX130" fmla="*/ 971550 w 1393983"/>
                  <a:gd name="connsiteY130" fmla="*/ 0 h 1533525"/>
                  <a:gd name="connsiteX131" fmla="*/ 971550 w 1393983"/>
                  <a:gd name="connsiteY131" fmla="*/ 40481 h 1533525"/>
                  <a:gd name="connsiteX132" fmla="*/ 950118 w 1393983"/>
                  <a:gd name="connsiteY132" fmla="*/ 80963 h 1533525"/>
                  <a:gd name="connsiteX133" fmla="*/ 950118 w 1393983"/>
                  <a:gd name="connsiteY133" fmla="*/ 140494 h 1533525"/>
                  <a:gd name="connsiteX134" fmla="*/ 969168 w 1393983"/>
                  <a:gd name="connsiteY134" fmla="*/ 161925 h 1533525"/>
                  <a:gd name="connsiteX135" fmla="*/ 1007268 w 1393983"/>
                  <a:gd name="connsiteY135" fmla="*/ 188119 h 1533525"/>
                  <a:gd name="connsiteX136" fmla="*/ 1019175 w 1393983"/>
                  <a:gd name="connsiteY136" fmla="*/ 216694 h 1533525"/>
                  <a:gd name="connsiteX137" fmla="*/ 1004887 w 1393983"/>
                  <a:gd name="connsiteY137" fmla="*/ 226219 h 1533525"/>
                  <a:gd name="connsiteX138" fmla="*/ 1057275 w 1393983"/>
                  <a:gd name="connsiteY138" fmla="*/ 250031 h 1533525"/>
                  <a:gd name="connsiteX139" fmla="*/ 1073943 w 1393983"/>
                  <a:gd name="connsiteY139" fmla="*/ 228600 h 1533525"/>
                  <a:gd name="connsiteX140" fmla="*/ 1083468 w 1393983"/>
                  <a:gd name="connsiteY140" fmla="*/ 252413 h 1533525"/>
                  <a:gd name="connsiteX141" fmla="*/ 1116806 w 1393983"/>
                  <a:gd name="connsiteY141" fmla="*/ 252413 h 1533525"/>
                  <a:gd name="connsiteX142" fmla="*/ 1123950 w 1393983"/>
                  <a:gd name="connsiteY142" fmla="*/ 257175 h 1533525"/>
                  <a:gd name="connsiteX143" fmla="*/ 1116806 w 1393983"/>
                  <a:gd name="connsiteY143" fmla="*/ 276225 h 1533525"/>
                  <a:gd name="connsiteX144" fmla="*/ 1088231 w 1393983"/>
                  <a:gd name="connsiteY144" fmla="*/ 309563 h 1533525"/>
                  <a:gd name="connsiteX145" fmla="*/ 1123950 w 1393983"/>
                  <a:gd name="connsiteY145" fmla="*/ 333375 h 1533525"/>
                  <a:gd name="connsiteX146" fmla="*/ 1135856 w 1393983"/>
                  <a:gd name="connsiteY146" fmla="*/ 347663 h 1533525"/>
                  <a:gd name="connsiteX147" fmla="*/ 1135856 w 1393983"/>
                  <a:gd name="connsiteY147" fmla="*/ 376238 h 1533525"/>
                  <a:gd name="connsiteX148" fmla="*/ 1119187 w 1393983"/>
                  <a:gd name="connsiteY148" fmla="*/ 411956 h 1533525"/>
                  <a:gd name="connsiteX149" fmla="*/ 1162050 w 1393983"/>
                  <a:gd name="connsiteY149" fmla="*/ 423863 h 1533525"/>
                  <a:gd name="connsiteX150" fmla="*/ 1233487 w 1393983"/>
                  <a:gd name="connsiteY150" fmla="*/ 416719 h 1533525"/>
                  <a:gd name="connsiteX151" fmla="*/ 1223962 w 1393983"/>
                  <a:gd name="connsiteY151" fmla="*/ 385763 h 1533525"/>
                  <a:gd name="connsiteX152" fmla="*/ 1188243 w 1393983"/>
                  <a:gd name="connsiteY152" fmla="*/ 347663 h 1533525"/>
                  <a:gd name="connsiteX153" fmla="*/ 1181100 w 1393983"/>
                  <a:gd name="connsiteY153" fmla="*/ 333375 h 1533525"/>
                  <a:gd name="connsiteX154" fmla="*/ 1207293 w 1393983"/>
                  <a:gd name="connsiteY154" fmla="*/ 326231 h 1533525"/>
                  <a:gd name="connsiteX155" fmla="*/ 1200150 w 1393983"/>
                  <a:gd name="connsiteY155" fmla="*/ 302419 h 1533525"/>
                  <a:gd name="connsiteX156" fmla="*/ 1223962 w 1393983"/>
                  <a:gd name="connsiteY156" fmla="*/ 283369 h 1533525"/>
                  <a:gd name="connsiteX157" fmla="*/ 1250156 w 1393983"/>
                  <a:gd name="connsiteY157" fmla="*/ 242888 h 1533525"/>
                  <a:gd name="connsiteX158" fmla="*/ 1393983 w 1393983"/>
                  <a:gd name="connsiteY158" fmla="*/ 303371 h 1533525"/>
                  <a:gd name="connsiteX0" fmla="*/ 1057275 w 1393983"/>
                  <a:gd name="connsiteY0" fmla="*/ 264319 h 1533525"/>
                  <a:gd name="connsiteX1" fmla="*/ 1062037 w 1393983"/>
                  <a:gd name="connsiteY1" fmla="*/ 304800 h 1533525"/>
                  <a:gd name="connsiteX2" fmla="*/ 995362 w 1393983"/>
                  <a:gd name="connsiteY2" fmla="*/ 352425 h 1533525"/>
                  <a:gd name="connsiteX3" fmla="*/ 973931 w 1393983"/>
                  <a:gd name="connsiteY3" fmla="*/ 383381 h 1533525"/>
                  <a:gd name="connsiteX4" fmla="*/ 1000125 w 1393983"/>
                  <a:gd name="connsiteY4" fmla="*/ 428625 h 1533525"/>
                  <a:gd name="connsiteX5" fmla="*/ 983456 w 1393983"/>
                  <a:gd name="connsiteY5" fmla="*/ 466725 h 1533525"/>
                  <a:gd name="connsiteX6" fmla="*/ 1000125 w 1393983"/>
                  <a:gd name="connsiteY6" fmla="*/ 519113 h 1533525"/>
                  <a:gd name="connsiteX7" fmla="*/ 1033462 w 1393983"/>
                  <a:gd name="connsiteY7" fmla="*/ 519113 h 1533525"/>
                  <a:gd name="connsiteX8" fmla="*/ 1019175 w 1393983"/>
                  <a:gd name="connsiteY8" fmla="*/ 552450 h 1533525"/>
                  <a:gd name="connsiteX9" fmla="*/ 1035843 w 1393983"/>
                  <a:gd name="connsiteY9" fmla="*/ 590550 h 1533525"/>
                  <a:gd name="connsiteX10" fmla="*/ 1035843 w 1393983"/>
                  <a:gd name="connsiteY10" fmla="*/ 607219 h 1533525"/>
                  <a:gd name="connsiteX11" fmla="*/ 1045368 w 1393983"/>
                  <a:gd name="connsiteY11" fmla="*/ 645319 h 1533525"/>
                  <a:gd name="connsiteX12" fmla="*/ 1064418 w 1393983"/>
                  <a:gd name="connsiteY12" fmla="*/ 645319 h 1533525"/>
                  <a:gd name="connsiteX13" fmla="*/ 1078706 w 1393983"/>
                  <a:gd name="connsiteY13" fmla="*/ 666750 h 1533525"/>
                  <a:gd name="connsiteX14" fmla="*/ 1085850 w 1393983"/>
                  <a:gd name="connsiteY14" fmla="*/ 688181 h 1533525"/>
                  <a:gd name="connsiteX15" fmla="*/ 1076325 w 1393983"/>
                  <a:gd name="connsiteY15" fmla="*/ 719138 h 1533525"/>
                  <a:gd name="connsiteX16" fmla="*/ 1021556 w 1393983"/>
                  <a:gd name="connsiteY16" fmla="*/ 714375 h 1533525"/>
                  <a:gd name="connsiteX17" fmla="*/ 1002506 w 1393983"/>
                  <a:gd name="connsiteY17" fmla="*/ 721519 h 1533525"/>
                  <a:gd name="connsiteX18" fmla="*/ 995362 w 1393983"/>
                  <a:gd name="connsiteY18" fmla="*/ 726281 h 1533525"/>
                  <a:gd name="connsiteX19" fmla="*/ 995362 w 1393983"/>
                  <a:gd name="connsiteY19" fmla="*/ 726281 h 1533525"/>
                  <a:gd name="connsiteX20" fmla="*/ 923925 w 1393983"/>
                  <a:gd name="connsiteY20" fmla="*/ 721519 h 1533525"/>
                  <a:gd name="connsiteX21" fmla="*/ 940593 w 1393983"/>
                  <a:gd name="connsiteY21" fmla="*/ 778669 h 1533525"/>
                  <a:gd name="connsiteX22" fmla="*/ 938212 w 1393983"/>
                  <a:gd name="connsiteY22" fmla="*/ 847725 h 1533525"/>
                  <a:gd name="connsiteX23" fmla="*/ 954881 w 1393983"/>
                  <a:gd name="connsiteY23" fmla="*/ 871538 h 1533525"/>
                  <a:gd name="connsiteX24" fmla="*/ 997743 w 1393983"/>
                  <a:gd name="connsiteY24" fmla="*/ 919163 h 1533525"/>
                  <a:gd name="connsiteX25" fmla="*/ 1012031 w 1393983"/>
                  <a:gd name="connsiteY25" fmla="*/ 954881 h 1533525"/>
                  <a:gd name="connsiteX26" fmla="*/ 1031081 w 1393983"/>
                  <a:gd name="connsiteY26" fmla="*/ 954881 h 1533525"/>
                  <a:gd name="connsiteX27" fmla="*/ 1071562 w 1393983"/>
                  <a:gd name="connsiteY27" fmla="*/ 940594 h 1533525"/>
                  <a:gd name="connsiteX28" fmla="*/ 1102518 w 1393983"/>
                  <a:gd name="connsiteY28" fmla="*/ 933450 h 1533525"/>
                  <a:gd name="connsiteX29" fmla="*/ 1159668 w 1393983"/>
                  <a:gd name="connsiteY29" fmla="*/ 997744 h 1533525"/>
                  <a:gd name="connsiteX30" fmla="*/ 1178718 w 1393983"/>
                  <a:gd name="connsiteY30" fmla="*/ 1052513 h 1533525"/>
                  <a:gd name="connsiteX31" fmla="*/ 1190625 w 1393983"/>
                  <a:gd name="connsiteY31" fmla="*/ 1081088 h 1533525"/>
                  <a:gd name="connsiteX32" fmla="*/ 1212056 w 1393983"/>
                  <a:gd name="connsiteY32" fmla="*/ 1109663 h 1533525"/>
                  <a:gd name="connsiteX33" fmla="*/ 1231106 w 1393983"/>
                  <a:gd name="connsiteY33" fmla="*/ 1102519 h 1533525"/>
                  <a:gd name="connsiteX34" fmla="*/ 1231106 w 1393983"/>
                  <a:gd name="connsiteY34" fmla="*/ 1131094 h 1533525"/>
                  <a:gd name="connsiteX35" fmla="*/ 1233487 w 1393983"/>
                  <a:gd name="connsiteY35" fmla="*/ 1145381 h 1533525"/>
                  <a:gd name="connsiteX36" fmla="*/ 1266825 w 1393983"/>
                  <a:gd name="connsiteY36" fmla="*/ 1181100 h 1533525"/>
                  <a:gd name="connsiteX37" fmla="*/ 1233487 w 1393983"/>
                  <a:gd name="connsiteY37" fmla="*/ 1181100 h 1533525"/>
                  <a:gd name="connsiteX38" fmla="*/ 1228725 w 1393983"/>
                  <a:gd name="connsiteY38" fmla="*/ 1223963 h 1533525"/>
                  <a:gd name="connsiteX39" fmla="*/ 1226343 w 1393983"/>
                  <a:gd name="connsiteY39" fmla="*/ 1243013 h 1533525"/>
                  <a:gd name="connsiteX40" fmla="*/ 1216818 w 1393983"/>
                  <a:gd name="connsiteY40" fmla="*/ 1264444 h 1533525"/>
                  <a:gd name="connsiteX41" fmla="*/ 1190625 w 1393983"/>
                  <a:gd name="connsiteY41" fmla="*/ 1238250 h 1533525"/>
                  <a:gd name="connsiteX42" fmla="*/ 1157287 w 1393983"/>
                  <a:gd name="connsiteY42" fmla="*/ 1209675 h 1533525"/>
                  <a:gd name="connsiteX43" fmla="*/ 1131093 w 1393983"/>
                  <a:gd name="connsiteY43" fmla="*/ 1185863 h 1533525"/>
                  <a:gd name="connsiteX44" fmla="*/ 1107281 w 1393983"/>
                  <a:gd name="connsiteY44" fmla="*/ 1219200 h 1533525"/>
                  <a:gd name="connsiteX45" fmla="*/ 1104900 w 1393983"/>
                  <a:gd name="connsiteY45" fmla="*/ 1264444 h 1533525"/>
                  <a:gd name="connsiteX46" fmla="*/ 1062037 w 1393983"/>
                  <a:gd name="connsiteY46" fmla="*/ 1259681 h 1533525"/>
                  <a:gd name="connsiteX47" fmla="*/ 1026318 w 1393983"/>
                  <a:gd name="connsiteY47" fmla="*/ 1288256 h 1533525"/>
                  <a:gd name="connsiteX48" fmla="*/ 1007268 w 1393983"/>
                  <a:gd name="connsiteY48" fmla="*/ 1240631 h 1533525"/>
                  <a:gd name="connsiteX49" fmla="*/ 947737 w 1393983"/>
                  <a:gd name="connsiteY49" fmla="*/ 1231106 h 1533525"/>
                  <a:gd name="connsiteX50" fmla="*/ 921543 w 1393983"/>
                  <a:gd name="connsiteY50" fmla="*/ 1297781 h 1533525"/>
                  <a:gd name="connsiteX51" fmla="*/ 885825 w 1393983"/>
                  <a:gd name="connsiteY51" fmla="*/ 1278731 h 1533525"/>
                  <a:gd name="connsiteX52" fmla="*/ 816768 w 1393983"/>
                  <a:gd name="connsiteY52" fmla="*/ 1295400 h 1533525"/>
                  <a:gd name="connsiteX53" fmla="*/ 757237 w 1393983"/>
                  <a:gd name="connsiteY53" fmla="*/ 1259681 h 1533525"/>
                  <a:gd name="connsiteX54" fmla="*/ 742950 w 1393983"/>
                  <a:gd name="connsiteY54" fmla="*/ 1312069 h 1533525"/>
                  <a:gd name="connsiteX55" fmla="*/ 704850 w 1393983"/>
                  <a:gd name="connsiteY55" fmla="*/ 1345406 h 1533525"/>
                  <a:gd name="connsiteX56" fmla="*/ 692943 w 1393983"/>
                  <a:gd name="connsiteY56" fmla="*/ 1366838 h 1533525"/>
                  <a:gd name="connsiteX57" fmla="*/ 671512 w 1393983"/>
                  <a:gd name="connsiteY57" fmla="*/ 1509713 h 1533525"/>
                  <a:gd name="connsiteX58" fmla="*/ 633412 w 1393983"/>
                  <a:gd name="connsiteY58" fmla="*/ 1490663 h 1533525"/>
                  <a:gd name="connsiteX59" fmla="*/ 614362 w 1393983"/>
                  <a:gd name="connsiteY59" fmla="*/ 1504950 h 1533525"/>
                  <a:gd name="connsiteX60" fmla="*/ 581025 w 1393983"/>
                  <a:gd name="connsiteY60" fmla="*/ 1531144 h 1533525"/>
                  <a:gd name="connsiteX61" fmla="*/ 523875 w 1393983"/>
                  <a:gd name="connsiteY61" fmla="*/ 1502569 h 1533525"/>
                  <a:gd name="connsiteX62" fmla="*/ 514350 w 1393983"/>
                  <a:gd name="connsiteY62" fmla="*/ 1490663 h 1533525"/>
                  <a:gd name="connsiteX63" fmla="*/ 483393 w 1393983"/>
                  <a:gd name="connsiteY63" fmla="*/ 1533525 h 1533525"/>
                  <a:gd name="connsiteX64" fmla="*/ 459581 w 1393983"/>
                  <a:gd name="connsiteY64" fmla="*/ 1481138 h 1533525"/>
                  <a:gd name="connsiteX65" fmla="*/ 438150 w 1393983"/>
                  <a:gd name="connsiteY65" fmla="*/ 1471613 h 1533525"/>
                  <a:gd name="connsiteX66" fmla="*/ 400050 w 1393983"/>
                  <a:gd name="connsiteY66" fmla="*/ 1485900 h 1533525"/>
                  <a:gd name="connsiteX67" fmla="*/ 338137 w 1393983"/>
                  <a:gd name="connsiteY67" fmla="*/ 1490663 h 1533525"/>
                  <a:gd name="connsiteX68" fmla="*/ 330993 w 1393983"/>
                  <a:gd name="connsiteY68" fmla="*/ 1497806 h 1533525"/>
                  <a:gd name="connsiteX69" fmla="*/ 271462 w 1393983"/>
                  <a:gd name="connsiteY69" fmla="*/ 1471613 h 1533525"/>
                  <a:gd name="connsiteX70" fmla="*/ 219075 w 1393983"/>
                  <a:gd name="connsiteY70" fmla="*/ 1443038 h 1533525"/>
                  <a:gd name="connsiteX71" fmla="*/ 138112 w 1393983"/>
                  <a:gd name="connsiteY71" fmla="*/ 1402556 h 1533525"/>
                  <a:gd name="connsiteX72" fmla="*/ 95250 w 1393983"/>
                  <a:gd name="connsiteY72" fmla="*/ 1316831 h 1533525"/>
                  <a:gd name="connsiteX73" fmla="*/ 80962 w 1393983"/>
                  <a:gd name="connsiteY73" fmla="*/ 1288256 h 1533525"/>
                  <a:gd name="connsiteX74" fmla="*/ 104775 w 1393983"/>
                  <a:gd name="connsiteY74" fmla="*/ 1266825 h 1533525"/>
                  <a:gd name="connsiteX75" fmla="*/ 76200 w 1393983"/>
                  <a:gd name="connsiteY75" fmla="*/ 1212056 h 1533525"/>
                  <a:gd name="connsiteX76" fmla="*/ 109537 w 1393983"/>
                  <a:gd name="connsiteY76" fmla="*/ 1193006 h 1533525"/>
                  <a:gd name="connsiteX77" fmla="*/ 140493 w 1393983"/>
                  <a:gd name="connsiteY77" fmla="*/ 1143000 h 1533525"/>
                  <a:gd name="connsiteX78" fmla="*/ 123825 w 1393983"/>
                  <a:gd name="connsiteY78" fmla="*/ 1107281 h 1533525"/>
                  <a:gd name="connsiteX79" fmla="*/ 178593 w 1393983"/>
                  <a:gd name="connsiteY79" fmla="*/ 1107281 h 1533525"/>
                  <a:gd name="connsiteX80" fmla="*/ 192881 w 1393983"/>
                  <a:gd name="connsiteY80" fmla="*/ 1109663 h 1533525"/>
                  <a:gd name="connsiteX81" fmla="*/ 159543 w 1393983"/>
                  <a:gd name="connsiteY81" fmla="*/ 1064419 h 1533525"/>
                  <a:gd name="connsiteX82" fmla="*/ 169068 w 1393983"/>
                  <a:gd name="connsiteY82" fmla="*/ 1014413 h 1533525"/>
                  <a:gd name="connsiteX83" fmla="*/ 123825 w 1393983"/>
                  <a:gd name="connsiteY83" fmla="*/ 997744 h 1533525"/>
                  <a:gd name="connsiteX84" fmla="*/ 61912 w 1393983"/>
                  <a:gd name="connsiteY84" fmla="*/ 954881 h 1533525"/>
                  <a:gd name="connsiteX85" fmla="*/ 45243 w 1393983"/>
                  <a:gd name="connsiteY85" fmla="*/ 938213 h 1533525"/>
                  <a:gd name="connsiteX86" fmla="*/ 64293 w 1393983"/>
                  <a:gd name="connsiteY86" fmla="*/ 909638 h 1533525"/>
                  <a:gd name="connsiteX87" fmla="*/ 47625 w 1393983"/>
                  <a:gd name="connsiteY87" fmla="*/ 897731 h 1533525"/>
                  <a:gd name="connsiteX88" fmla="*/ 47625 w 1393983"/>
                  <a:gd name="connsiteY88" fmla="*/ 881063 h 1533525"/>
                  <a:gd name="connsiteX89" fmla="*/ 26193 w 1393983"/>
                  <a:gd name="connsiteY89" fmla="*/ 881063 h 1533525"/>
                  <a:gd name="connsiteX90" fmla="*/ 7143 w 1393983"/>
                  <a:gd name="connsiteY90" fmla="*/ 847725 h 1533525"/>
                  <a:gd name="connsiteX91" fmla="*/ 0 w 1393983"/>
                  <a:gd name="connsiteY91" fmla="*/ 816769 h 1533525"/>
                  <a:gd name="connsiteX92" fmla="*/ 54768 w 1393983"/>
                  <a:gd name="connsiteY92" fmla="*/ 800100 h 1533525"/>
                  <a:gd name="connsiteX93" fmla="*/ 76200 w 1393983"/>
                  <a:gd name="connsiteY93" fmla="*/ 788194 h 1533525"/>
                  <a:gd name="connsiteX94" fmla="*/ 128587 w 1393983"/>
                  <a:gd name="connsiteY94" fmla="*/ 821531 h 1533525"/>
                  <a:gd name="connsiteX95" fmla="*/ 126206 w 1393983"/>
                  <a:gd name="connsiteY95" fmla="*/ 800100 h 1533525"/>
                  <a:gd name="connsiteX96" fmla="*/ 164306 w 1393983"/>
                  <a:gd name="connsiteY96" fmla="*/ 795338 h 1533525"/>
                  <a:gd name="connsiteX97" fmla="*/ 173831 w 1393983"/>
                  <a:gd name="connsiteY97" fmla="*/ 759619 h 1533525"/>
                  <a:gd name="connsiteX98" fmla="*/ 235743 w 1393983"/>
                  <a:gd name="connsiteY98" fmla="*/ 764381 h 1533525"/>
                  <a:gd name="connsiteX99" fmla="*/ 235743 w 1393983"/>
                  <a:gd name="connsiteY99" fmla="*/ 764381 h 1533525"/>
                  <a:gd name="connsiteX100" fmla="*/ 245268 w 1393983"/>
                  <a:gd name="connsiteY100" fmla="*/ 704850 h 1533525"/>
                  <a:gd name="connsiteX101" fmla="*/ 276225 w 1393983"/>
                  <a:gd name="connsiteY101" fmla="*/ 666750 h 1533525"/>
                  <a:gd name="connsiteX102" fmla="*/ 292893 w 1393983"/>
                  <a:gd name="connsiteY102" fmla="*/ 638175 h 1533525"/>
                  <a:gd name="connsiteX103" fmla="*/ 245268 w 1393983"/>
                  <a:gd name="connsiteY103" fmla="*/ 602456 h 1533525"/>
                  <a:gd name="connsiteX104" fmla="*/ 264318 w 1393983"/>
                  <a:gd name="connsiteY104" fmla="*/ 585788 h 1533525"/>
                  <a:gd name="connsiteX105" fmla="*/ 311943 w 1393983"/>
                  <a:gd name="connsiteY105" fmla="*/ 602456 h 1533525"/>
                  <a:gd name="connsiteX106" fmla="*/ 369093 w 1393983"/>
                  <a:gd name="connsiteY106" fmla="*/ 573881 h 1533525"/>
                  <a:gd name="connsiteX107" fmla="*/ 457200 w 1393983"/>
                  <a:gd name="connsiteY107" fmla="*/ 545306 h 1533525"/>
                  <a:gd name="connsiteX108" fmla="*/ 538162 w 1393983"/>
                  <a:gd name="connsiteY108" fmla="*/ 578644 h 1533525"/>
                  <a:gd name="connsiteX109" fmla="*/ 614362 w 1393983"/>
                  <a:gd name="connsiteY109" fmla="*/ 550069 h 1533525"/>
                  <a:gd name="connsiteX110" fmla="*/ 650081 w 1393983"/>
                  <a:gd name="connsiteY110" fmla="*/ 552450 h 1533525"/>
                  <a:gd name="connsiteX111" fmla="*/ 654843 w 1393983"/>
                  <a:gd name="connsiteY111" fmla="*/ 523875 h 1533525"/>
                  <a:gd name="connsiteX112" fmla="*/ 654843 w 1393983"/>
                  <a:gd name="connsiteY112" fmla="*/ 490538 h 1533525"/>
                  <a:gd name="connsiteX113" fmla="*/ 669131 w 1393983"/>
                  <a:gd name="connsiteY113" fmla="*/ 469106 h 1533525"/>
                  <a:gd name="connsiteX114" fmla="*/ 652462 w 1393983"/>
                  <a:gd name="connsiteY114" fmla="*/ 450056 h 1533525"/>
                  <a:gd name="connsiteX115" fmla="*/ 642937 w 1393983"/>
                  <a:gd name="connsiteY115" fmla="*/ 411956 h 1533525"/>
                  <a:gd name="connsiteX116" fmla="*/ 642937 w 1393983"/>
                  <a:gd name="connsiteY116" fmla="*/ 330994 h 1533525"/>
                  <a:gd name="connsiteX117" fmla="*/ 633412 w 1393983"/>
                  <a:gd name="connsiteY117" fmla="*/ 319088 h 1533525"/>
                  <a:gd name="connsiteX118" fmla="*/ 664368 w 1393983"/>
                  <a:gd name="connsiteY118" fmla="*/ 285750 h 1533525"/>
                  <a:gd name="connsiteX119" fmla="*/ 721518 w 1393983"/>
                  <a:gd name="connsiteY119" fmla="*/ 292894 h 1533525"/>
                  <a:gd name="connsiteX120" fmla="*/ 733425 w 1393983"/>
                  <a:gd name="connsiteY120" fmla="*/ 264319 h 1533525"/>
                  <a:gd name="connsiteX121" fmla="*/ 731043 w 1393983"/>
                  <a:gd name="connsiteY121" fmla="*/ 228600 h 1533525"/>
                  <a:gd name="connsiteX122" fmla="*/ 790575 w 1393983"/>
                  <a:gd name="connsiteY122" fmla="*/ 192881 h 1533525"/>
                  <a:gd name="connsiteX123" fmla="*/ 804862 w 1393983"/>
                  <a:gd name="connsiteY123" fmla="*/ 166688 h 1533525"/>
                  <a:gd name="connsiteX124" fmla="*/ 778668 w 1393983"/>
                  <a:gd name="connsiteY124" fmla="*/ 128588 h 1533525"/>
                  <a:gd name="connsiteX125" fmla="*/ 771525 w 1393983"/>
                  <a:gd name="connsiteY125" fmla="*/ 104775 h 1533525"/>
                  <a:gd name="connsiteX126" fmla="*/ 823912 w 1393983"/>
                  <a:gd name="connsiteY126" fmla="*/ 97631 h 1533525"/>
                  <a:gd name="connsiteX127" fmla="*/ 869156 w 1393983"/>
                  <a:gd name="connsiteY127" fmla="*/ 52388 h 1533525"/>
                  <a:gd name="connsiteX128" fmla="*/ 890587 w 1393983"/>
                  <a:gd name="connsiteY128" fmla="*/ 23813 h 1533525"/>
                  <a:gd name="connsiteX129" fmla="*/ 923925 w 1393983"/>
                  <a:gd name="connsiteY129" fmla="*/ 9525 h 1533525"/>
                  <a:gd name="connsiteX130" fmla="*/ 971550 w 1393983"/>
                  <a:gd name="connsiteY130" fmla="*/ 0 h 1533525"/>
                  <a:gd name="connsiteX131" fmla="*/ 971550 w 1393983"/>
                  <a:gd name="connsiteY131" fmla="*/ 40481 h 1533525"/>
                  <a:gd name="connsiteX132" fmla="*/ 950118 w 1393983"/>
                  <a:gd name="connsiteY132" fmla="*/ 80963 h 1533525"/>
                  <a:gd name="connsiteX133" fmla="*/ 950118 w 1393983"/>
                  <a:gd name="connsiteY133" fmla="*/ 140494 h 1533525"/>
                  <a:gd name="connsiteX134" fmla="*/ 969168 w 1393983"/>
                  <a:gd name="connsiteY134" fmla="*/ 161925 h 1533525"/>
                  <a:gd name="connsiteX135" fmla="*/ 1007268 w 1393983"/>
                  <a:gd name="connsiteY135" fmla="*/ 188119 h 1533525"/>
                  <a:gd name="connsiteX136" fmla="*/ 1019175 w 1393983"/>
                  <a:gd name="connsiteY136" fmla="*/ 216694 h 1533525"/>
                  <a:gd name="connsiteX137" fmla="*/ 1004887 w 1393983"/>
                  <a:gd name="connsiteY137" fmla="*/ 226219 h 1533525"/>
                  <a:gd name="connsiteX138" fmla="*/ 1057275 w 1393983"/>
                  <a:gd name="connsiteY138" fmla="*/ 250031 h 1533525"/>
                  <a:gd name="connsiteX139" fmla="*/ 1073943 w 1393983"/>
                  <a:gd name="connsiteY139" fmla="*/ 228600 h 1533525"/>
                  <a:gd name="connsiteX140" fmla="*/ 1083468 w 1393983"/>
                  <a:gd name="connsiteY140" fmla="*/ 252413 h 1533525"/>
                  <a:gd name="connsiteX141" fmla="*/ 1116806 w 1393983"/>
                  <a:gd name="connsiteY141" fmla="*/ 252413 h 1533525"/>
                  <a:gd name="connsiteX142" fmla="*/ 1123950 w 1393983"/>
                  <a:gd name="connsiteY142" fmla="*/ 257175 h 1533525"/>
                  <a:gd name="connsiteX143" fmla="*/ 1116806 w 1393983"/>
                  <a:gd name="connsiteY143" fmla="*/ 276225 h 1533525"/>
                  <a:gd name="connsiteX144" fmla="*/ 1088231 w 1393983"/>
                  <a:gd name="connsiteY144" fmla="*/ 309563 h 1533525"/>
                  <a:gd name="connsiteX145" fmla="*/ 1123950 w 1393983"/>
                  <a:gd name="connsiteY145" fmla="*/ 333375 h 1533525"/>
                  <a:gd name="connsiteX146" fmla="*/ 1135856 w 1393983"/>
                  <a:gd name="connsiteY146" fmla="*/ 347663 h 1533525"/>
                  <a:gd name="connsiteX147" fmla="*/ 1135856 w 1393983"/>
                  <a:gd name="connsiteY147" fmla="*/ 376238 h 1533525"/>
                  <a:gd name="connsiteX148" fmla="*/ 1119187 w 1393983"/>
                  <a:gd name="connsiteY148" fmla="*/ 411956 h 1533525"/>
                  <a:gd name="connsiteX149" fmla="*/ 1162050 w 1393983"/>
                  <a:gd name="connsiteY149" fmla="*/ 423863 h 1533525"/>
                  <a:gd name="connsiteX150" fmla="*/ 1233487 w 1393983"/>
                  <a:gd name="connsiteY150" fmla="*/ 416719 h 1533525"/>
                  <a:gd name="connsiteX151" fmla="*/ 1223962 w 1393983"/>
                  <a:gd name="connsiteY151" fmla="*/ 385763 h 1533525"/>
                  <a:gd name="connsiteX152" fmla="*/ 1188243 w 1393983"/>
                  <a:gd name="connsiteY152" fmla="*/ 347663 h 1533525"/>
                  <a:gd name="connsiteX153" fmla="*/ 1181100 w 1393983"/>
                  <a:gd name="connsiteY153" fmla="*/ 333375 h 1533525"/>
                  <a:gd name="connsiteX154" fmla="*/ 1207293 w 1393983"/>
                  <a:gd name="connsiteY154" fmla="*/ 326231 h 1533525"/>
                  <a:gd name="connsiteX155" fmla="*/ 1200150 w 1393983"/>
                  <a:gd name="connsiteY155" fmla="*/ 302419 h 1533525"/>
                  <a:gd name="connsiteX156" fmla="*/ 1223962 w 1393983"/>
                  <a:gd name="connsiteY156" fmla="*/ 283369 h 1533525"/>
                  <a:gd name="connsiteX157" fmla="*/ 1393983 w 1393983"/>
                  <a:gd name="connsiteY157" fmla="*/ 303371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152" fmla="*/ 1188243 w 1266825"/>
                  <a:gd name="connsiteY152" fmla="*/ 347663 h 1533525"/>
                  <a:gd name="connsiteX153" fmla="*/ 1181100 w 1266825"/>
                  <a:gd name="connsiteY153" fmla="*/ 333375 h 1533525"/>
                  <a:gd name="connsiteX154" fmla="*/ 1207293 w 1266825"/>
                  <a:gd name="connsiteY154" fmla="*/ 326231 h 1533525"/>
                  <a:gd name="connsiteX155" fmla="*/ 1200150 w 1266825"/>
                  <a:gd name="connsiteY155" fmla="*/ 302419 h 1533525"/>
                  <a:gd name="connsiteX156" fmla="*/ 1223962 w 1266825"/>
                  <a:gd name="connsiteY156" fmla="*/ 283369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152" fmla="*/ 1188243 w 1266825"/>
                  <a:gd name="connsiteY152" fmla="*/ 347663 h 1533525"/>
                  <a:gd name="connsiteX153" fmla="*/ 1181100 w 1266825"/>
                  <a:gd name="connsiteY153" fmla="*/ 333375 h 1533525"/>
                  <a:gd name="connsiteX154" fmla="*/ 1207293 w 1266825"/>
                  <a:gd name="connsiteY154" fmla="*/ 326231 h 1533525"/>
                  <a:gd name="connsiteX155" fmla="*/ 1200150 w 1266825"/>
                  <a:gd name="connsiteY155" fmla="*/ 302419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152" fmla="*/ 1188243 w 1266825"/>
                  <a:gd name="connsiteY152" fmla="*/ 347663 h 1533525"/>
                  <a:gd name="connsiteX153" fmla="*/ 1181100 w 1266825"/>
                  <a:gd name="connsiteY153" fmla="*/ 333375 h 1533525"/>
                  <a:gd name="connsiteX154" fmla="*/ 1207293 w 1266825"/>
                  <a:gd name="connsiteY154" fmla="*/ 326231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152" fmla="*/ 1188243 w 1266825"/>
                  <a:gd name="connsiteY152" fmla="*/ 347663 h 1533525"/>
                  <a:gd name="connsiteX153" fmla="*/ 1181100 w 1266825"/>
                  <a:gd name="connsiteY153" fmla="*/ 333375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152" fmla="*/ 1188243 w 1266825"/>
                  <a:gd name="connsiteY152" fmla="*/ 34766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151" fmla="*/ 1223962 w 1266825"/>
                  <a:gd name="connsiteY151" fmla="*/ 38576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150" fmla="*/ 1233487 w 1266825"/>
                  <a:gd name="connsiteY150" fmla="*/ 416719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149" fmla="*/ 1162050 w 1266825"/>
                  <a:gd name="connsiteY149" fmla="*/ 42386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148" fmla="*/ 1119187 w 1266825"/>
                  <a:gd name="connsiteY148" fmla="*/ 411956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147" fmla="*/ 1135856 w 1266825"/>
                  <a:gd name="connsiteY147" fmla="*/ 376238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146" fmla="*/ 1135856 w 1266825"/>
                  <a:gd name="connsiteY146" fmla="*/ 34766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145" fmla="*/ 1123950 w 1266825"/>
                  <a:gd name="connsiteY145" fmla="*/ 333375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144" fmla="*/ 1088231 w 1266825"/>
                  <a:gd name="connsiteY144" fmla="*/ 30956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143" fmla="*/ 1116806 w 1266825"/>
                  <a:gd name="connsiteY143" fmla="*/ 276225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142" fmla="*/ 1123950 w 1266825"/>
                  <a:gd name="connsiteY142" fmla="*/ 257175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141" fmla="*/ 1116806 w 1266825"/>
                  <a:gd name="connsiteY141" fmla="*/ 25241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140" fmla="*/ 1083468 w 1266825"/>
                  <a:gd name="connsiteY140" fmla="*/ 252413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  <a:gd name="connsiteX139" fmla="*/ 1073943 w 1266825"/>
                  <a:gd name="connsiteY139" fmla="*/ 228600 h 1533525"/>
                  <a:gd name="connsiteX0" fmla="*/ 1057275 w 1266825"/>
                  <a:gd name="connsiteY0" fmla="*/ 264319 h 1533525"/>
                  <a:gd name="connsiteX1" fmla="*/ 1062037 w 1266825"/>
                  <a:gd name="connsiteY1" fmla="*/ 304800 h 1533525"/>
                  <a:gd name="connsiteX2" fmla="*/ 995362 w 1266825"/>
                  <a:gd name="connsiteY2" fmla="*/ 352425 h 1533525"/>
                  <a:gd name="connsiteX3" fmla="*/ 973931 w 1266825"/>
                  <a:gd name="connsiteY3" fmla="*/ 383381 h 1533525"/>
                  <a:gd name="connsiteX4" fmla="*/ 1000125 w 1266825"/>
                  <a:gd name="connsiteY4" fmla="*/ 428625 h 1533525"/>
                  <a:gd name="connsiteX5" fmla="*/ 983456 w 1266825"/>
                  <a:gd name="connsiteY5" fmla="*/ 466725 h 1533525"/>
                  <a:gd name="connsiteX6" fmla="*/ 1000125 w 1266825"/>
                  <a:gd name="connsiteY6" fmla="*/ 519113 h 1533525"/>
                  <a:gd name="connsiteX7" fmla="*/ 1033462 w 1266825"/>
                  <a:gd name="connsiteY7" fmla="*/ 519113 h 1533525"/>
                  <a:gd name="connsiteX8" fmla="*/ 1019175 w 1266825"/>
                  <a:gd name="connsiteY8" fmla="*/ 552450 h 1533525"/>
                  <a:gd name="connsiteX9" fmla="*/ 1035843 w 1266825"/>
                  <a:gd name="connsiteY9" fmla="*/ 590550 h 1533525"/>
                  <a:gd name="connsiteX10" fmla="*/ 1035843 w 1266825"/>
                  <a:gd name="connsiteY10" fmla="*/ 607219 h 1533525"/>
                  <a:gd name="connsiteX11" fmla="*/ 1045368 w 1266825"/>
                  <a:gd name="connsiteY11" fmla="*/ 645319 h 1533525"/>
                  <a:gd name="connsiteX12" fmla="*/ 1064418 w 1266825"/>
                  <a:gd name="connsiteY12" fmla="*/ 645319 h 1533525"/>
                  <a:gd name="connsiteX13" fmla="*/ 1078706 w 1266825"/>
                  <a:gd name="connsiteY13" fmla="*/ 666750 h 1533525"/>
                  <a:gd name="connsiteX14" fmla="*/ 1085850 w 1266825"/>
                  <a:gd name="connsiteY14" fmla="*/ 688181 h 1533525"/>
                  <a:gd name="connsiteX15" fmla="*/ 1076325 w 1266825"/>
                  <a:gd name="connsiteY15" fmla="*/ 719138 h 1533525"/>
                  <a:gd name="connsiteX16" fmla="*/ 1021556 w 1266825"/>
                  <a:gd name="connsiteY16" fmla="*/ 714375 h 1533525"/>
                  <a:gd name="connsiteX17" fmla="*/ 1002506 w 1266825"/>
                  <a:gd name="connsiteY17" fmla="*/ 721519 h 1533525"/>
                  <a:gd name="connsiteX18" fmla="*/ 995362 w 1266825"/>
                  <a:gd name="connsiteY18" fmla="*/ 726281 h 1533525"/>
                  <a:gd name="connsiteX19" fmla="*/ 995362 w 1266825"/>
                  <a:gd name="connsiteY19" fmla="*/ 726281 h 1533525"/>
                  <a:gd name="connsiteX20" fmla="*/ 923925 w 1266825"/>
                  <a:gd name="connsiteY20" fmla="*/ 721519 h 1533525"/>
                  <a:gd name="connsiteX21" fmla="*/ 940593 w 1266825"/>
                  <a:gd name="connsiteY21" fmla="*/ 778669 h 1533525"/>
                  <a:gd name="connsiteX22" fmla="*/ 938212 w 1266825"/>
                  <a:gd name="connsiteY22" fmla="*/ 847725 h 1533525"/>
                  <a:gd name="connsiteX23" fmla="*/ 954881 w 1266825"/>
                  <a:gd name="connsiteY23" fmla="*/ 871538 h 1533525"/>
                  <a:gd name="connsiteX24" fmla="*/ 997743 w 1266825"/>
                  <a:gd name="connsiteY24" fmla="*/ 919163 h 1533525"/>
                  <a:gd name="connsiteX25" fmla="*/ 1012031 w 1266825"/>
                  <a:gd name="connsiteY25" fmla="*/ 954881 h 1533525"/>
                  <a:gd name="connsiteX26" fmla="*/ 1031081 w 1266825"/>
                  <a:gd name="connsiteY26" fmla="*/ 954881 h 1533525"/>
                  <a:gd name="connsiteX27" fmla="*/ 1071562 w 1266825"/>
                  <a:gd name="connsiteY27" fmla="*/ 940594 h 1533525"/>
                  <a:gd name="connsiteX28" fmla="*/ 1102518 w 1266825"/>
                  <a:gd name="connsiteY28" fmla="*/ 933450 h 1533525"/>
                  <a:gd name="connsiteX29" fmla="*/ 1159668 w 1266825"/>
                  <a:gd name="connsiteY29" fmla="*/ 997744 h 1533525"/>
                  <a:gd name="connsiteX30" fmla="*/ 1178718 w 1266825"/>
                  <a:gd name="connsiteY30" fmla="*/ 1052513 h 1533525"/>
                  <a:gd name="connsiteX31" fmla="*/ 1190625 w 1266825"/>
                  <a:gd name="connsiteY31" fmla="*/ 1081088 h 1533525"/>
                  <a:gd name="connsiteX32" fmla="*/ 1212056 w 1266825"/>
                  <a:gd name="connsiteY32" fmla="*/ 1109663 h 1533525"/>
                  <a:gd name="connsiteX33" fmla="*/ 1231106 w 1266825"/>
                  <a:gd name="connsiteY33" fmla="*/ 1102519 h 1533525"/>
                  <a:gd name="connsiteX34" fmla="*/ 1231106 w 1266825"/>
                  <a:gd name="connsiteY34" fmla="*/ 1131094 h 1533525"/>
                  <a:gd name="connsiteX35" fmla="*/ 1233487 w 1266825"/>
                  <a:gd name="connsiteY35" fmla="*/ 1145381 h 1533525"/>
                  <a:gd name="connsiteX36" fmla="*/ 1266825 w 1266825"/>
                  <a:gd name="connsiteY36" fmla="*/ 1181100 h 1533525"/>
                  <a:gd name="connsiteX37" fmla="*/ 1233487 w 1266825"/>
                  <a:gd name="connsiteY37" fmla="*/ 1181100 h 1533525"/>
                  <a:gd name="connsiteX38" fmla="*/ 1228725 w 1266825"/>
                  <a:gd name="connsiteY38" fmla="*/ 1223963 h 1533525"/>
                  <a:gd name="connsiteX39" fmla="*/ 1226343 w 1266825"/>
                  <a:gd name="connsiteY39" fmla="*/ 1243013 h 1533525"/>
                  <a:gd name="connsiteX40" fmla="*/ 1216818 w 1266825"/>
                  <a:gd name="connsiteY40" fmla="*/ 1264444 h 1533525"/>
                  <a:gd name="connsiteX41" fmla="*/ 1190625 w 1266825"/>
                  <a:gd name="connsiteY41" fmla="*/ 1238250 h 1533525"/>
                  <a:gd name="connsiteX42" fmla="*/ 1157287 w 1266825"/>
                  <a:gd name="connsiteY42" fmla="*/ 1209675 h 1533525"/>
                  <a:gd name="connsiteX43" fmla="*/ 1131093 w 1266825"/>
                  <a:gd name="connsiteY43" fmla="*/ 1185863 h 1533525"/>
                  <a:gd name="connsiteX44" fmla="*/ 1107281 w 1266825"/>
                  <a:gd name="connsiteY44" fmla="*/ 1219200 h 1533525"/>
                  <a:gd name="connsiteX45" fmla="*/ 1104900 w 1266825"/>
                  <a:gd name="connsiteY45" fmla="*/ 1264444 h 1533525"/>
                  <a:gd name="connsiteX46" fmla="*/ 1062037 w 1266825"/>
                  <a:gd name="connsiteY46" fmla="*/ 1259681 h 1533525"/>
                  <a:gd name="connsiteX47" fmla="*/ 1026318 w 1266825"/>
                  <a:gd name="connsiteY47" fmla="*/ 1288256 h 1533525"/>
                  <a:gd name="connsiteX48" fmla="*/ 1007268 w 1266825"/>
                  <a:gd name="connsiteY48" fmla="*/ 1240631 h 1533525"/>
                  <a:gd name="connsiteX49" fmla="*/ 947737 w 1266825"/>
                  <a:gd name="connsiteY49" fmla="*/ 1231106 h 1533525"/>
                  <a:gd name="connsiteX50" fmla="*/ 921543 w 1266825"/>
                  <a:gd name="connsiteY50" fmla="*/ 1297781 h 1533525"/>
                  <a:gd name="connsiteX51" fmla="*/ 885825 w 1266825"/>
                  <a:gd name="connsiteY51" fmla="*/ 1278731 h 1533525"/>
                  <a:gd name="connsiteX52" fmla="*/ 816768 w 1266825"/>
                  <a:gd name="connsiteY52" fmla="*/ 1295400 h 1533525"/>
                  <a:gd name="connsiteX53" fmla="*/ 757237 w 1266825"/>
                  <a:gd name="connsiteY53" fmla="*/ 1259681 h 1533525"/>
                  <a:gd name="connsiteX54" fmla="*/ 742950 w 1266825"/>
                  <a:gd name="connsiteY54" fmla="*/ 1312069 h 1533525"/>
                  <a:gd name="connsiteX55" fmla="*/ 704850 w 1266825"/>
                  <a:gd name="connsiteY55" fmla="*/ 1345406 h 1533525"/>
                  <a:gd name="connsiteX56" fmla="*/ 692943 w 1266825"/>
                  <a:gd name="connsiteY56" fmla="*/ 1366838 h 1533525"/>
                  <a:gd name="connsiteX57" fmla="*/ 671512 w 1266825"/>
                  <a:gd name="connsiteY57" fmla="*/ 1509713 h 1533525"/>
                  <a:gd name="connsiteX58" fmla="*/ 633412 w 1266825"/>
                  <a:gd name="connsiteY58" fmla="*/ 1490663 h 1533525"/>
                  <a:gd name="connsiteX59" fmla="*/ 614362 w 1266825"/>
                  <a:gd name="connsiteY59" fmla="*/ 1504950 h 1533525"/>
                  <a:gd name="connsiteX60" fmla="*/ 581025 w 1266825"/>
                  <a:gd name="connsiteY60" fmla="*/ 1531144 h 1533525"/>
                  <a:gd name="connsiteX61" fmla="*/ 523875 w 1266825"/>
                  <a:gd name="connsiteY61" fmla="*/ 1502569 h 1533525"/>
                  <a:gd name="connsiteX62" fmla="*/ 514350 w 1266825"/>
                  <a:gd name="connsiteY62" fmla="*/ 1490663 h 1533525"/>
                  <a:gd name="connsiteX63" fmla="*/ 483393 w 1266825"/>
                  <a:gd name="connsiteY63" fmla="*/ 1533525 h 1533525"/>
                  <a:gd name="connsiteX64" fmla="*/ 459581 w 1266825"/>
                  <a:gd name="connsiteY64" fmla="*/ 1481138 h 1533525"/>
                  <a:gd name="connsiteX65" fmla="*/ 438150 w 1266825"/>
                  <a:gd name="connsiteY65" fmla="*/ 1471613 h 1533525"/>
                  <a:gd name="connsiteX66" fmla="*/ 400050 w 1266825"/>
                  <a:gd name="connsiteY66" fmla="*/ 1485900 h 1533525"/>
                  <a:gd name="connsiteX67" fmla="*/ 338137 w 1266825"/>
                  <a:gd name="connsiteY67" fmla="*/ 1490663 h 1533525"/>
                  <a:gd name="connsiteX68" fmla="*/ 330993 w 1266825"/>
                  <a:gd name="connsiteY68" fmla="*/ 1497806 h 1533525"/>
                  <a:gd name="connsiteX69" fmla="*/ 271462 w 1266825"/>
                  <a:gd name="connsiteY69" fmla="*/ 1471613 h 1533525"/>
                  <a:gd name="connsiteX70" fmla="*/ 219075 w 1266825"/>
                  <a:gd name="connsiteY70" fmla="*/ 1443038 h 1533525"/>
                  <a:gd name="connsiteX71" fmla="*/ 138112 w 1266825"/>
                  <a:gd name="connsiteY71" fmla="*/ 1402556 h 1533525"/>
                  <a:gd name="connsiteX72" fmla="*/ 95250 w 1266825"/>
                  <a:gd name="connsiteY72" fmla="*/ 1316831 h 1533525"/>
                  <a:gd name="connsiteX73" fmla="*/ 80962 w 1266825"/>
                  <a:gd name="connsiteY73" fmla="*/ 1288256 h 1533525"/>
                  <a:gd name="connsiteX74" fmla="*/ 104775 w 1266825"/>
                  <a:gd name="connsiteY74" fmla="*/ 1266825 h 1533525"/>
                  <a:gd name="connsiteX75" fmla="*/ 76200 w 1266825"/>
                  <a:gd name="connsiteY75" fmla="*/ 1212056 h 1533525"/>
                  <a:gd name="connsiteX76" fmla="*/ 109537 w 1266825"/>
                  <a:gd name="connsiteY76" fmla="*/ 1193006 h 1533525"/>
                  <a:gd name="connsiteX77" fmla="*/ 140493 w 1266825"/>
                  <a:gd name="connsiteY77" fmla="*/ 1143000 h 1533525"/>
                  <a:gd name="connsiteX78" fmla="*/ 123825 w 1266825"/>
                  <a:gd name="connsiteY78" fmla="*/ 1107281 h 1533525"/>
                  <a:gd name="connsiteX79" fmla="*/ 178593 w 1266825"/>
                  <a:gd name="connsiteY79" fmla="*/ 1107281 h 1533525"/>
                  <a:gd name="connsiteX80" fmla="*/ 192881 w 1266825"/>
                  <a:gd name="connsiteY80" fmla="*/ 1109663 h 1533525"/>
                  <a:gd name="connsiteX81" fmla="*/ 159543 w 1266825"/>
                  <a:gd name="connsiteY81" fmla="*/ 1064419 h 1533525"/>
                  <a:gd name="connsiteX82" fmla="*/ 169068 w 1266825"/>
                  <a:gd name="connsiteY82" fmla="*/ 1014413 h 1533525"/>
                  <a:gd name="connsiteX83" fmla="*/ 123825 w 1266825"/>
                  <a:gd name="connsiteY83" fmla="*/ 997744 h 1533525"/>
                  <a:gd name="connsiteX84" fmla="*/ 61912 w 1266825"/>
                  <a:gd name="connsiteY84" fmla="*/ 954881 h 1533525"/>
                  <a:gd name="connsiteX85" fmla="*/ 45243 w 1266825"/>
                  <a:gd name="connsiteY85" fmla="*/ 938213 h 1533525"/>
                  <a:gd name="connsiteX86" fmla="*/ 64293 w 1266825"/>
                  <a:gd name="connsiteY86" fmla="*/ 909638 h 1533525"/>
                  <a:gd name="connsiteX87" fmla="*/ 47625 w 1266825"/>
                  <a:gd name="connsiteY87" fmla="*/ 897731 h 1533525"/>
                  <a:gd name="connsiteX88" fmla="*/ 47625 w 1266825"/>
                  <a:gd name="connsiteY88" fmla="*/ 881063 h 1533525"/>
                  <a:gd name="connsiteX89" fmla="*/ 26193 w 1266825"/>
                  <a:gd name="connsiteY89" fmla="*/ 881063 h 1533525"/>
                  <a:gd name="connsiteX90" fmla="*/ 7143 w 1266825"/>
                  <a:gd name="connsiteY90" fmla="*/ 847725 h 1533525"/>
                  <a:gd name="connsiteX91" fmla="*/ 0 w 1266825"/>
                  <a:gd name="connsiteY91" fmla="*/ 816769 h 1533525"/>
                  <a:gd name="connsiteX92" fmla="*/ 54768 w 1266825"/>
                  <a:gd name="connsiteY92" fmla="*/ 800100 h 1533525"/>
                  <a:gd name="connsiteX93" fmla="*/ 76200 w 1266825"/>
                  <a:gd name="connsiteY93" fmla="*/ 788194 h 1533525"/>
                  <a:gd name="connsiteX94" fmla="*/ 128587 w 1266825"/>
                  <a:gd name="connsiteY94" fmla="*/ 821531 h 1533525"/>
                  <a:gd name="connsiteX95" fmla="*/ 126206 w 1266825"/>
                  <a:gd name="connsiteY95" fmla="*/ 800100 h 1533525"/>
                  <a:gd name="connsiteX96" fmla="*/ 164306 w 1266825"/>
                  <a:gd name="connsiteY96" fmla="*/ 795338 h 1533525"/>
                  <a:gd name="connsiteX97" fmla="*/ 173831 w 1266825"/>
                  <a:gd name="connsiteY97" fmla="*/ 759619 h 1533525"/>
                  <a:gd name="connsiteX98" fmla="*/ 235743 w 1266825"/>
                  <a:gd name="connsiteY98" fmla="*/ 764381 h 1533525"/>
                  <a:gd name="connsiteX99" fmla="*/ 235743 w 1266825"/>
                  <a:gd name="connsiteY99" fmla="*/ 764381 h 1533525"/>
                  <a:gd name="connsiteX100" fmla="*/ 245268 w 1266825"/>
                  <a:gd name="connsiteY100" fmla="*/ 704850 h 1533525"/>
                  <a:gd name="connsiteX101" fmla="*/ 276225 w 1266825"/>
                  <a:gd name="connsiteY101" fmla="*/ 666750 h 1533525"/>
                  <a:gd name="connsiteX102" fmla="*/ 292893 w 1266825"/>
                  <a:gd name="connsiteY102" fmla="*/ 638175 h 1533525"/>
                  <a:gd name="connsiteX103" fmla="*/ 245268 w 1266825"/>
                  <a:gd name="connsiteY103" fmla="*/ 602456 h 1533525"/>
                  <a:gd name="connsiteX104" fmla="*/ 264318 w 1266825"/>
                  <a:gd name="connsiteY104" fmla="*/ 585788 h 1533525"/>
                  <a:gd name="connsiteX105" fmla="*/ 311943 w 1266825"/>
                  <a:gd name="connsiteY105" fmla="*/ 602456 h 1533525"/>
                  <a:gd name="connsiteX106" fmla="*/ 369093 w 1266825"/>
                  <a:gd name="connsiteY106" fmla="*/ 573881 h 1533525"/>
                  <a:gd name="connsiteX107" fmla="*/ 457200 w 1266825"/>
                  <a:gd name="connsiteY107" fmla="*/ 545306 h 1533525"/>
                  <a:gd name="connsiteX108" fmla="*/ 538162 w 1266825"/>
                  <a:gd name="connsiteY108" fmla="*/ 578644 h 1533525"/>
                  <a:gd name="connsiteX109" fmla="*/ 614362 w 1266825"/>
                  <a:gd name="connsiteY109" fmla="*/ 550069 h 1533525"/>
                  <a:gd name="connsiteX110" fmla="*/ 650081 w 1266825"/>
                  <a:gd name="connsiteY110" fmla="*/ 552450 h 1533525"/>
                  <a:gd name="connsiteX111" fmla="*/ 654843 w 1266825"/>
                  <a:gd name="connsiteY111" fmla="*/ 523875 h 1533525"/>
                  <a:gd name="connsiteX112" fmla="*/ 654843 w 1266825"/>
                  <a:gd name="connsiteY112" fmla="*/ 490538 h 1533525"/>
                  <a:gd name="connsiteX113" fmla="*/ 669131 w 1266825"/>
                  <a:gd name="connsiteY113" fmla="*/ 469106 h 1533525"/>
                  <a:gd name="connsiteX114" fmla="*/ 652462 w 1266825"/>
                  <a:gd name="connsiteY114" fmla="*/ 450056 h 1533525"/>
                  <a:gd name="connsiteX115" fmla="*/ 642937 w 1266825"/>
                  <a:gd name="connsiteY115" fmla="*/ 411956 h 1533525"/>
                  <a:gd name="connsiteX116" fmla="*/ 642937 w 1266825"/>
                  <a:gd name="connsiteY116" fmla="*/ 330994 h 1533525"/>
                  <a:gd name="connsiteX117" fmla="*/ 633412 w 1266825"/>
                  <a:gd name="connsiteY117" fmla="*/ 319088 h 1533525"/>
                  <a:gd name="connsiteX118" fmla="*/ 664368 w 1266825"/>
                  <a:gd name="connsiteY118" fmla="*/ 285750 h 1533525"/>
                  <a:gd name="connsiteX119" fmla="*/ 721518 w 1266825"/>
                  <a:gd name="connsiteY119" fmla="*/ 292894 h 1533525"/>
                  <a:gd name="connsiteX120" fmla="*/ 733425 w 1266825"/>
                  <a:gd name="connsiteY120" fmla="*/ 264319 h 1533525"/>
                  <a:gd name="connsiteX121" fmla="*/ 731043 w 1266825"/>
                  <a:gd name="connsiteY121" fmla="*/ 228600 h 1533525"/>
                  <a:gd name="connsiteX122" fmla="*/ 790575 w 1266825"/>
                  <a:gd name="connsiteY122" fmla="*/ 192881 h 1533525"/>
                  <a:gd name="connsiteX123" fmla="*/ 804862 w 1266825"/>
                  <a:gd name="connsiteY123" fmla="*/ 166688 h 1533525"/>
                  <a:gd name="connsiteX124" fmla="*/ 778668 w 1266825"/>
                  <a:gd name="connsiteY124" fmla="*/ 128588 h 1533525"/>
                  <a:gd name="connsiteX125" fmla="*/ 771525 w 1266825"/>
                  <a:gd name="connsiteY125" fmla="*/ 104775 h 1533525"/>
                  <a:gd name="connsiteX126" fmla="*/ 823912 w 1266825"/>
                  <a:gd name="connsiteY126" fmla="*/ 97631 h 1533525"/>
                  <a:gd name="connsiteX127" fmla="*/ 869156 w 1266825"/>
                  <a:gd name="connsiteY127" fmla="*/ 52388 h 1533525"/>
                  <a:gd name="connsiteX128" fmla="*/ 890587 w 1266825"/>
                  <a:gd name="connsiteY128" fmla="*/ 23813 h 1533525"/>
                  <a:gd name="connsiteX129" fmla="*/ 923925 w 1266825"/>
                  <a:gd name="connsiteY129" fmla="*/ 9525 h 1533525"/>
                  <a:gd name="connsiteX130" fmla="*/ 971550 w 1266825"/>
                  <a:gd name="connsiteY130" fmla="*/ 0 h 1533525"/>
                  <a:gd name="connsiteX131" fmla="*/ 971550 w 1266825"/>
                  <a:gd name="connsiteY131" fmla="*/ 40481 h 1533525"/>
                  <a:gd name="connsiteX132" fmla="*/ 950118 w 1266825"/>
                  <a:gd name="connsiteY132" fmla="*/ 80963 h 1533525"/>
                  <a:gd name="connsiteX133" fmla="*/ 950118 w 1266825"/>
                  <a:gd name="connsiteY133" fmla="*/ 140494 h 1533525"/>
                  <a:gd name="connsiteX134" fmla="*/ 969168 w 1266825"/>
                  <a:gd name="connsiteY134" fmla="*/ 161925 h 1533525"/>
                  <a:gd name="connsiteX135" fmla="*/ 1007268 w 1266825"/>
                  <a:gd name="connsiteY135" fmla="*/ 188119 h 1533525"/>
                  <a:gd name="connsiteX136" fmla="*/ 1019175 w 1266825"/>
                  <a:gd name="connsiteY136" fmla="*/ 216694 h 1533525"/>
                  <a:gd name="connsiteX137" fmla="*/ 1004887 w 1266825"/>
                  <a:gd name="connsiteY137" fmla="*/ 226219 h 1533525"/>
                  <a:gd name="connsiteX138" fmla="*/ 1057275 w 1266825"/>
                  <a:gd name="connsiteY138" fmla="*/ 250031 h 15335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</a:cxnLst>
                <a:rect l="l" t="t" r="r" b="b"/>
                <a:pathLst>
                  <a:path w="1266825" h="1533525">
                    <a:moveTo>
                      <a:pt x="1057275" y="264319"/>
                    </a:moveTo>
                    <a:lnTo>
                      <a:pt x="1062037" y="304800"/>
                    </a:lnTo>
                    <a:lnTo>
                      <a:pt x="995362" y="352425"/>
                    </a:lnTo>
                    <a:lnTo>
                      <a:pt x="973931" y="383381"/>
                    </a:lnTo>
                    <a:lnTo>
                      <a:pt x="1000125" y="428625"/>
                    </a:lnTo>
                    <a:lnTo>
                      <a:pt x="983456" y="466725"/>
                    </a:lnTo>
                    <a:lnTo>
                      <a:pt x="1000125" y="519113"/>
                    </a:lnTo>
                    <a:lnTo>
                      <a:pt x="1033462" y="519113"/>
                    </a:lnTo>
                    <a:lnTo>
                      <a:pt x="1019175" y="552450"/>
                    </a:lnTo>
                    <a:lnTo>
                      <a:pt x="1035843" y="590550"/>
                    </a:lnTo>
                    <a:lnTo>
                      <a:pt x="1035843" y="607219"/>
                    </a:lnTo>
                    <a:lnTo>
                      <a:pt x="1045368" y="645319"/>
                    </a:lnTo>
                    <a:lnTo>
                      <a:pt x="1064418" y="645319"/>
                    </a:lnTo>
                    <a:lnTo>
                      <a:pt x="1078706" y="666750"/>
                    </a:lnTo>
                    <a:lnTo>
                      <a:pt x="1085850" y="688181"/>
                    </a:lnTo>
                    <a:lnTo>
                      <a:pt x="1076325" y="719138"/>
                    </a:lnTo>
                    <a:lnTo>
                      <a:pt x="1021556" y="714375"/>
                    </a:lnTo>
                    <a:cubicBezTo>
                      <a:pt x="1015206" y="716756"/>
                      <a:pt x="1008680" y="718713"/>
                      <a:pt x="1002506" y="721519"/>
                    </a:cubicBezTo>
                    <a:cubicBezTo>
                      <a:pt x="999901" y="722703"/>
                      <a:pt x="995362" y="726281"/>
                      <a:pt x="995362" y="726281"/>
                    </a:cubicBezTo>
                    <a:lnTo>
                      <a:pt x="995362" y="726281"/>
                    </a:lnTo>
                    <a:lnTo>
                      <a:pt x="923925" y="721519"/>
                    </a:lnTo>
                    <a:lnTo>
                      <a:pt x="940593" y="778669"/>
                    </a:lnTo>
                    <a:cubicBezTo>
                      <a:pt x="939799" y="801688"/>
                      <a:pt x="939006" y="824706"/>
                      <a:pt x="938212" y="847725"/>
                    </a:cubicBezTo>
                    <a:lnTo>
                      <a:pt x="954881" y="871538"/>
                    </a:lnTo>
                    <a:lnTo>
                      <a:pt x="997743" y="919163"/>
                    </a:lnTo>
                    <a:lnTo>
                      <a:pt x="1012031" y="954881"/>
                    </a:lnTo>
                    <a:lnTo>
                      <a:pt x="1031081" y="954881"/>
                    </a:lnTo>
                    <a:lnTo>
                      <a:pt x="1071562" y="940594"/>
                    </a:lnTo>
                    <a:lnTo>
                      <a:pt x="1102518" y="933450"/>
                    </a:lnTo>
                    <a:lnTo>
                      <a:pt x="1159668" y="997744"/>
                    </a:lnTo>
                    <a:lnTo>
                      <a:pt x="1178718" y="1052513"/>
                    </a:lnTo>
                    <a:lnTo>
                      <a:pt x="1190625" y="1081088"/>
                    </a:lnTo>
                    <a:lnTo>
                      <a:pt x="1212056" y="1109663"/>
                    </a:lnTo>
                    <a:lnTo>
                      <a:pt x="1231106" y="1102519"/>
                    </a:lnTo>
                    <a:lnTo>
                      <a:pt x="1231106" y="1131094"/>
                    </a:lnTo>
                    <a:lnTo>
                      <a:pt x="1233487" y="1145381"/>
                    </a:lnTo>
                    <a:lnTo>
                      <a:pt x="1266825" y="1181100"/>
                    </a:lnTo>
                    <a:lnTo>
                      <a:pt x="1233487" y="1181100"/>
                    </a:lnTo>
                    <a:lnTo>
                      <a:pt x="1228725" y="1223963"/>
                    </a:lnTo>
                    <a:lnTo>
                      <a:pt x="1226343" y="1243013"/>
                    </a:lnTo>
                    <a:lnTo>
                      <a:pt x="1216818" y="1264444"/>
                    </a:lnTo>
                    <a:lnTo>
                      <a:pt x="1190625" y="1238250"/>
                    </a:lnTo>
                    <a:lnTo>
                      <a:pt x="1157287" y="1209675"/>
                    </a:lnTo>
                    <a:lnTo>
                      <a:pt x="1131093" y="1185863"/>
                    </a:lnTo>
                    <a:lnTo>
                      <a:pt x="1107281" y="1219200"/>
                    </a:lnTo>
                    <a:lnTo>
                      <a:pt x="1104900" y="1264444"/>
                    </a:lnTo>
                    <a:lnTo>
                      <a:pt x="1062037" y="1259681"/>
                    </a:lnTo>
                    <a:lnTo>
                      <a:pt x="1026318" y="1288256"/>
                    </a:lnTo>
                    <a:lnTo>
                      <a:pt x="1007268" y="1240631"/>
                    </a:lnTo>
                    <a:lnTo>
                      <a:pt x="947737" y="1231106"/>
                    </a:lnTo>
                    <a:lnTo>
                      <a:pt x="921543" y="1297781"/>
                    </a:lnTo>
                    <a:lnTo>
                      <a:pt x="885825" y="1278731"/>
                    </a:lnTo>
                    <a:lnTo>
                      <a:pt x="816768" y="1295400"/>
                    </a:lnTo>
                    <a:lnTo>
                      <a:pt x="757237" y="1259681"/>
                    </a:lnTo>
                    <a:lnTo>
                      <a:pt x="742950" y="1312069"/>
                    </a:lnTo>
                    <a:lnTo>
                      <a:pt x="704850" y="1345406"/>
                    </a:lnTo>
                    <a:lnTo>
                      <a:pt x="692943" y="1366838"/>
                    </a:lnTo>
                    <a:lnTo>
                      <a:pt x="671512" y="1509713"/>
                    </a:lnTo>
                    <a:lnTo>
                      <a:pt x="633412" y="1490663"/>
                    </a:lnTo>
                    <a:lnTo>
                      <a:pt x="614362" y="1504950"/>
                    </a:lnTo>
                    <a:lnTo>
                      <a:pt x="581025" y="1531144"/>
                    </a:lnTo>
                    <a:lnTo>
                      <a:pt x="523875" y="1502569"/>
                    </a:lnTo>
                    <a:lnTo>
                      <a:pt x="514350" y="1490663"/>
                    </a:lnTo>
                    <a:lnTo>
                      <a:pt x="483393" y="1533525"/>
                    </a:lnTo>
                    <a:lnTo>
                      <a:pt x="459581" y="1481138"/>
                    </a:lnTo>
                    <a:lnTo>
                      <a:pt x="438150" y="1471613"/>
                    </a:lnTo>
                    <a:lnTo>
                      <a:pt x="400050" y="1485900"/>
                    </a:lnTo>
                    <a:lnTo>
                      <a:pt x="338137" y="1490663"/>
                    </a:lnTo>
                    <a:lnTo>
                      <a:pt x="330993" y="1497806"/>
                    </a:lnTo>
                    <a:lnTo>
                      <a:pt x="271462" y="1471613"/>
                    </a:lnTo>
                    <a:lnTo>
                      <a:pt x="219075" y="1443038"/>
                    </a:lnTo>
                    <a:lnTo>
                      <a:pt x="138112" y="1402556"/>
                    </a:lnTo>
                    <a:lnTo>
                      <a:pt x="95250" y="1316831"/>
                    </a:lnTo>
                    <a:lnTo>
                      <a:pt x="80962" y="1288256"/>
                    </a:lnTo>
                    <a:lnTo>
                      <a:pt x="104775" y="1266825"/>
                    </a:lnTo>
                    <a:lnTo>
                      <a:pt x="76200" y="1212056"/>
                    </a:lnTo>
                    <a:lnTo>
                      <a:pt x="109537" y="1193006"/>
                    </a:lnTo>
                    <a:lnTo>
                      <a:pt x="140493" y="1143000"/>
                    </a:lnTo>
                    <a:lnTo>
                      <a:pt x="123825" y="1107281"/>
                    </a:lnTo>
                    <a:lnTo>
                      <a:pt x="178593" y="1107281"/>
                    </a:lnTo>
                    <a:lnTo>
                      <a:pt x="192881" y="1109663"/>
                    </a:lnTo>
                    <a:lnTo>
                      <a:pt x="159543" y="1064419"/>
                    </a:lnTo>
                    <a:lnTo>
                      <a:pt x="169068" y="1014413"/>
                    </a:lnTo>
                    <a:lnTo>
                      <a:pt x="123825" y="997744"/>
                    </a:lnTo>
                    <a:lnTo>
                      <a:pt x="61912" y="954881"/>
                    </a:lnTo>
                    <a:lnTo>
                      <a:pt x="45243" y="938213"/>
                    </a:lnTo>
                    <a:lnTo>
                      <a:pt x="64293" y="909638"/>
                    </a:lnTo>
                    <a:lnTo>
                      <a:pt x="47625" y="897731"/>
                    </a:lnTo>
                    <a:lnTo>
                      <a:pt x="47625" y="881063"/>
                    </a:lnTo>
                    <a:lnTo>
                      <a:pt x="26193" y="881063"/>
                    </a:lnTo>
                    <a:lnTo>
                      <a:pt x="7143" y="847725"/>
                    </a:lnTo>
                    <a:lnTo>
                      <a:pt x="0" y="816769"/>
                    </a:lnTo>
                    <a:lnTo>
                      <a:pt x="54768" y="800100"/>
                    </a:lnTo>
                    <a:lnTo>
                      <a:pt x="76200" y="788194"/>
                    </a:lnTo>
                    <a:lnTo>
                      <a:pt x="128587" y="821531"/>
                    </a:lnTo>
                    <a:lnTo>
                      <a:pt x="126206" y="800100"/>
                    </a:lnTo>
                    <a:lnTo>
                      <a:pt x="164306" y="795338"/>
                    </a:lnTo>
                    <a:lnTo>
                      <a:pt x="173831" y="759619"/>
                    </a:lnTo>
                    <a:lnTo>
                      <a:pt x="235743" y="764381"/>
                    </a:lnTo>
                    <a:lnTo>
                      <a:pt x="235743" y="764381"/>
                    </a:lnTo>
                    <a:lnTo>
                      <a:pt x="245268" y="704850"/>
                    </a:lnTo>
                    <a:lnTo>
                      <a:pt x="276225" y="666750"/>
                    </a:lnTo>
                    <a:lnTo>
                      <a:pt x="292893" y="638175"/>
                    </a:lnTo>
                    <a:lnTo>
                      <a:pt x="245268" y="602456"/>
                    </a:lnTo>
                    <a:lnTo>
                      <a:pt x="264318" y="585788"/>
                    </a:lnTo>
                    <a:lnTo>
                      <a:pt x="311943" y="602456"/>
                    </a:lnTo>
                    <a:lnTo>
                      <a:pt x="369093" y="573881"/>
                    </a:lnTo>
                    <a:lnTo>
                      <a:pt x="457200" y="545306"/>
                    </a:lnTo>
                    <a:lnTo>
                      <a:pt x="538162" y="578644"/>
                    </a:lnTo>
                    <a:lnTo>
                      <a:pt x="614362" y="550069"/>
                    </a:lnTo>
                    <a:lnTo>
                      <a:pt x="650081" y="552450"/>
                    </a:lnTo>
                    <a:lnTo>
                      <a:pt x="654843" y="523875"/>
                    </a:lnTo>
                    <a:lnTo>
                      <a:pt x="654843" y="490538"/>
                    </a:lnTo>
                    <a:lnTo>
                      <a:pt x="669131" y="469106"/>
                    </a:lnTo>
                    <a:lnTo>
                      <a:pt x="652462" y="450056"/>
                    </a:lnTo>
                    <a:lnTo>
                      <a:pt x="642937" y="411956"/>
                    </a:lnTo>
                    <a:lnTo>
                      <a:pt x="642937" y="330994"/>
                    </a:lnTo>
                    <a:lnTo>
                      <a:pt x="633412" y="319088"/>
                    </a:lnTo>
                    <a:lnTo>
                      <a:pt x="664368" y="285750"/>
                    </a:lnTo>
                    <a:lnTo>
                      <a:pt x="721518" y="292894"/>
                    </a:lnTo>
                    <a:lnTo>
                      <a:pt x="733425" y="264319"/>
                    </a:lnTo>
                    <a:lnTo>
                      <a:pt x="731043" y="228600"/>
                    </a:lnTo>
                    <a:lnTo>
                      <a:pt x="790575" y="192881"/>
                    </a:lnTo>
                    <a:lnTo>
                      <a:pt x="804862" y="166688"/>
                    </a:lnTo>
                    <a:lnTo>
                      <a:pt x="778668" y="128588"/>
                    </a:lnTo>
                    <a:lnTo>
                      <a:pt x="771525" y="104775"/>
                    </a:lnTo>
                    <a:lnTo>
                      <a:pt x="823912" y="97631"/>
                    </a:lnTo>
                    <a:lnTo>
                      <a:pt x="869156" y="52388"/>
                    </a:lnTo>
                    <a:lnTo>
                      <a:pt x="890587" y="23813"/>
                    </a:lnTo>
                    <a:lnTo>
                      <a:pt x="923925" y="9525"/>
                    </a:lnTo>
                    <a:lnTo>
                      <a:pt x="971550" y="0"/>
                    </a:lnTo>
                    <a:lnTo>
                      <a:pt x="971550" y="40481"/>
                    </a:lnTo>
                    <a:lnTo>
                      <a:pt x="950118" y="80963"/>
                    </a:lnTo>
                    <a:lnTo>
                      <a:pt x="950118" y="140494"/>
                    </a:lnTo>
                    <a:lnTo>
                      <a:pt x="969168" y="161925"/>
                    </a:lnTo>
                    <a:lnTo>
                      <a:pt x="1007268" y="188119"/>
                    </a:lnTo>
                    <a:lnTo>
                      <a:pt x="1019175" y="216694"/>
                    </a:lnTo>
                    <a:lnTo>
                      <a:pt x="1004887" y="226219"/>
                    </a:lnTo>
                    <a:lnTo>
                      <a:pt x="1057275" y="250031"/>
                    </a:lnTo>
                  </a:path>
                </a:pathLst>
              </a:cu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  <a:headEnd type="triangle"/>
              </a:ln>
              <a:effectLst/>
            </p:spPr>
            <p:txBody>
              <a:bodyPr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7" name="Figura a mano libera 136"/>
              <p:cNvSpPr/>
              <p:nvPr/>
            </p:nvSpPr>
            <p:spPr bwMode="auto">
              <a:xfrm>
                <a:off x="7436567" y="1908989"/>
                <a:ext cx="1097969" cy="903541"/>
              </a:xfrm>
              <a:custGeom>
                <a:avLst/>
                <a:gdLst>
                  <a:gd name="connsiteX0" fmla="*/ 147638 w 1395413"/>
                  <a:gd name="connsiteY0" fmla="*/ 302419 h 1247775"/>
                  <a:gd name="connsiteX1" fmla="*/ 204788 w 1395413"/>
                  <a:gd name="connsiteY1" fmla="*/ 314325 h 1247775"/>
                  <a:gd name="connsiteX2" fmla="*/ 216694 w 1395413"/>
                  <a:gd name="connsiteY2" fmla="*/ 335756 h 1247775"/>
                  <a:gd name="connsiteX3" fmla="*/ 180975 w 1395413"/>
                  <a:gd name="connsiteY3" fmla="*/ 369094 h 1247775"/>
                  <a:gd name="connsiteX4" fmla="*/ 233363 w 1395413"/>
                  <a:gd name="connsiteY4" fmla="*/ 402431 h 1247775"/>
                  <a:gd name="connsiteX5" fmla="*/ 221456 w 1395413"/>
                  <a:gd name="connsiteY5" fmla="*/ 431006 h 1247775"/>
                  <a:gd name="connsiteX6" fmla="*/ 202406 w 1395413"/>
                  <a:gd name="connsiteY6" fmla="*/ 461963 h 1247775"/>
                  <a:gd name="connsiteX7" fmla="*/ 252413 w 1395413"/>
                  <a:gd name="connsiteY7" fmla="*/ 488156 h 1247775"/>
                  <a:gd name="connsiteX8" fmla="*/ 304800 w 1395413"/>
                  <a:gd name="connsiteY8" fmla="*/ 471488 h 1247775"/>
                  <a:gd name="connsiteX9" fmla="*/ 307181 w 1395413"/>
                  <a:gd name="connsiteY9" fmla="*/ 450056 h 1247775"/>
                  <a:gd name="connsiteX10" fmla="*/ 290513 w 1395413"/>
                  <a:gd name="connsiteY10" fmla="*/ 421481 h 1247775"/>
                  <a:gd name="connsiteX11" fmla="*/ 257175 w 1395413"/>
                  <a:gd name="connsiteY11" fmla="*/ 400050 h 1247775"/>
                  <a:gd name="connsiteX12" fmla="*/ 292894 w 1395413"/>
                  <a:gd name="connsiteY12" fmla="*/ 383381 h 1247775"/>
                  <a:gd name="connsiteX13" fmla="*/ 271463 w 1395413"/>
                  <a:gd name="connsiteY13" fmla="*/ 342900 h 1247775"/>
                  <a:gd name="connsiteX14" fmla="*/ 321469 w 1395413"/>
                  <a:gd name="connsiteY14" fmla="*/ 338138 h 1247775"/>
                  <a:gd name="connsiteX15" fmla="*/ 321469 w 1395413"/>
                  <a:gd name="connsiteY15" fmla="*/ 297656 h 1247775"/>
                  <a:gd name="connsiteX16" fmla="*/ 411956 w 1395413"/>
                  <a:gd name="connsiteY16" fmla="*/ 219075 h 1247775"/>
                  <a:gd name="connsiteX17" fmla="*/ 423863 w 1395413"/>
                  <a:gd name="connsiteY17" fmla="*/ 147638 h 1247775"/>
                  <a:gd name="connsiteX18" fmla="*/ 433388 w 1395413"/>
                  <a:gd name="connsiteY18" fmla="*/ 109538 h 1247775"/>
                  <a:gd name="connsiteX19" fmla="*/ 414338 w 1395413"/>
                  <a:gd name="connsiteY19" fmla="*/ 92869 h 1247775"/>
                  <a:gd name="connsiteX20" fmla="*/ 433388 w 1395413"/>
                  <a:gd name="connsiteY20" fmla="*/ 71438 h 1247775"/>
                  <a:gd name="connsiteX21" fmla="*/ 440531 w 1395413"/>
                  <a:gd name="connsiteY21" fmla="*/ 54769 h 1247775"/>
                  <a:gd name="connsiteX22" fmla="*/ 483394 w 1395413"/>
                  <a:gd name="connsiteY22" fmla="*/ 61913 h 1247775"/>
                  <a:gd name="connsiteX23" fmla="*/ 483394 w 1395413"/>
                  <a:gd name="connsiteY23" fmla="*/ 80963 h 1247775"/>
                  <a:gd name="connsiteX24" fmla="*/ 521494 w 1395413"/>
                  <a:gd name="connsiteY24" fmla="*/ 71438 h 1247775"/>
                  <a:gd name="connsiteX25" fmla="*/ 526256 w 1395413"/>
                  <a:gd name="connsiteY25" fmla="*/ 100013 h 1247775"/>
                  <a:gd name="connsiteX26" fmla="*/ 507206 w 1395413"/>
                  <a:gd name="connsiteY26" fmla="*/ 128588 h 1247775"/>
                  <a:gd name="connsiteX27" fmla="*/ 564356 w 1395413"/>
                  <a:gd name="connsiteY27" fmla="*/ 190500 h 1247775"/>
                  <a:gd name="connsiteX28" fmla="*/ 626269 w 1395413"/>
                  <a:gd name="connsiteY28" fmla="*/ 204788 h 1247775"/>
                  <a:gd name="connsiteX29" fmla="*/ 635794 w 1395413"/>
                  <a:gd name="connsiteY29" fmla="*/ 173831 h 1247775"/>
                  <a:gd name="connsiteX30" fmla="*/ 671513 w 1395413"/>
                  <a:gd name="connsiteY30" fmla="*/ 173831 h 1247775"/>
                  <a:gd name="connsiteX31" fmla="*/ 726281 w 1395413"/>
                  <a:gd name="connsiteY31" fmla="*/ 164306 h 1247775"/>
                  <a:gd name="connsiteX32" fmla="*/ 738188 w 1395413"/>
                  <a:gd name="connsiteY32" fmla="*/ 157163 h 1247775"/>
                  <a:gd name="connsiteX33" fmla="*/ 738188 w 1395413"/>
                  <a:gd name="connsiteY33" fmla="*/ 157163 h 1247775"/>
                  <a:gd name="connsiteX34" fmla="*/ 766763 w 1395413"/>
                  <a:gd name="connsiteY34" fmla="*/ 183356 h 1247775"/>
                  <a:gd name="connsiteX35" fmla="*/ 752475 w 1395413"/>
                  <a:gd name="connsiteY35" fmla="*/ 207169 h 1247775"/>
                  <a:gd name="connsiteX36" fmla="*/ 778669 w 1395413"/>
                  <a:gd name="connsiteY36" fmla="*/ 233363 h 1247775"/>
                  <a:gd name="connsiteX37" fmla="*/ 778669 w 1395413"/>
                  <a:gd name="connsiteY37" fmla="*/ 252413 h 1247775"/>
                  <a:gd name="connsiteX38" fmla="*/ 778669 w 1395413"/>
                  <a:gd name="connsiteY38" fmla="*/ 252413 h 1247775"/>
                  <a:gd name="connsiteX39" fmla="*/ 862013 w 1395413"/>
                  <a:gd name="connsiteY39" fmla="*/ 257175 h 1247775"/>
                  <a:gd name="connsiteX40" fmla="*/ 826294 w 1395413"/>
                  <a:gd name="connsiteY40" fmla="*/ 197644 h 1247775"/>
                  <a:gd name="connsiteX41" fmla="*/ 833438 w 1395413"/>
                  <a:gd name="connsiteY41" fmla="*/ 169069 h 1247775"/>
                  <a:gd name="connsiteX42" fmla="*/ 845344 w 1395413"/>
                  <a:gd name="connsiteY42" fmla="*/ 130969 h 1247775"/>
                  <a:gd name="connsiteX43" fmla="*/ 788194 w 1395413"/>
                  <a:gd name="connsiteY43" fmla="*/ 123825 h 1247775"/>
                  <a:gd name="connsiteX44" fmla="*/ 792956 w 1395413"/>
                  <a:gd name="connsiteY44" fmla="*/ 57150 h 1247775"/>
                  <a:gd name="connsiteX45" fmla="*/ 812006 w 1395413"/>
                  <a:gd name="connsiteY45" fmla="*/ 26194 h 1247775"/>
                  <a:gd name="connsiteX46" fmla="*/ 866775 w 1395413"/>
                  <a:gd name="connsiteY46" fmla="*/ 0 h 1247775"/>
                  <a:gd name="connsiteX47" fmla="*/ 892969 w 1395413"/>
                  <a:gd name="connsiteY47" fmla="*/ 0 h 1247775"/>
                  <a:gd name="connsiteX48" fmla="*/ 895350 w 1395413"/>
                  <a:gd name="connsiteY48" fmla="*/ 40481 h 1247775"/>
                  <a:gd name="connsiteX49" fmla="*/ 976313 w 1395413"/>
                  <a:gd name="connsiteY49" fmla="*/ 66675 h 1247775"/>
                  <a:gd name="connsiteX50" fmla="*/ 1004888 w 1395413"/>
                  <a:gd name="connsiteY50" fmla="*/ 69056 h 1247775"/>
                  <a:gd name="connsiteX51" fmla="*/ 1019175 w 1395413"/>
                  <a:gd name="connsiteY51" fmla="*/ 102394 h 1247775"/>
                  <a:gd name="connsiteX52" fmla="*/ 1057275 w 1395413"/>
                  <a:gd name="connsiteY52" fmla="*/ 109538 h 1247775"/>
                  <a:gd name="connsiteX53" fmla="*/ 1064419 w 1395413"/>
                  <a:gd name="connsiteY53" fmla="*/ 161925 h 1247775"/>
                  <a:gd name="connsiteX54" fmla="*/ 1014413 w 1395413"/>
                  <a:gd name="connsiteY54" fmla="*/ 185738 h 1247775"/>
                  <a:gd name="connsiteX55" fmla="*/ 1040606 w 1395413"/>
                  <a:gd name="connsiteY55" fmla="*/ 240506 h 1247775"/>
                  <a:gd name="connsiteX56" fmla="*/ 1040606 w 1395413"/>
                  <a:gd name="connsiteY56" fmla="*/ 271463 h 1247775"/>
                  <a:gd name="connsiteX57" fmla="*/ 1031081 w 1395413"/>
                  <a:gd name="connsiteY57" fmla="*/ 304800 h 1247775"/>
                  <a:gd name="connsiteX58" fmla="*/ 1007269 w 1395413"/>
                  <a:gd name="connsiteY58" fmla="*/ 354806 h 1247775"/>
                  <a:gd name="connsiteX59" fmla="*/ 978694 w 1395413"/>
                  <a:gd name="connsiteY59" fmla="*/ 397669 h 1247775"/>
                  <a:gd name="connsiteX60" fmla="*/ 976313 w 1395413"/>
                  <a:gd name="connsiteY60" fmla="*/ 435769 h 1247775"/>
                  <a:gd name="connsiteX61" fmla="*/ 985838 w 1395413"/>
                  <a:gd name="connsiteY61" fmla="*/ 445294 h 1247775"/>
                  <a:gd name="connsiteX62" fmla="*/ 997744 w 1395413"/>
                  <a:gd name="connsiteY62" fmla="*/ 497681 h 1247775"/>
                  <a:gd name="connsiteX63" fmla="*/ 1028700 w 1395413"/>
                  <a:gd name="connsiteY63" fmla="*/ 545306 h 1247775"/>
                  <a:gd name="connsiteX64" fmla="*/ 1078706 w 1395413"/>
                  <a:gd name="connsiteY64" fmla="*/ 528638 h 1247775"/>
                  <a:gd name="connsiteX65" fmla="*/ 1178719 w 1395413"/>
                  <a:gd name="connsiteY65" fmla="*/ 538163 h 1247775"/>
                  <a:gd name="connsiteX66" fmla="*/ 1143000 w 1395413"/>
                  <a:gd name="connsiteY66" fmla="*/ 559594 h 1247775"/>
                  <a:gd name="connsiteX67" fmla="*/ 1102519 w 1395413"/>
                  <a:gd name="connsiteY67" fmla="*/ 609600 h 1247775"/>
                  <a:gd name="connsiteX68" fmla="*/ 1081088 w 1395413"/>
                  <a:gd name="connsiteY68" fmla="*/ 638175 h 1247775"/>
                  <a:gd name="connsiteX69" fmla="*/ 1050131 w 1395413"/>
                  <a:gd name="connsiteY69" fmla="*/ 683419 h 1247775"/>
                  <a:gd name="connsiteX70" fmla="*/ 1050131 w 1395413"/>
                  <a:gd name="connsiteY70" fmla="*/ 745331 h 1247775"/>
                  <a:gd name="connsiteX71" fmla="*/ 1057275 w 1395413"/>
                  <a:gd name="connsiteY71" fmla="*/ 783431 h 1247775"/>
                  <a:gd name="connsiteX72" fmla="*/ 1090613 w 1395413"/>
                  <a:gd name="connsiteY72" fmla="*/ 781050 h 1247775"/>
                  <a:gd name="connsiteX73" fmla="*/ 1069181 w 1395413"/>
                  <a:gd name="connsiteY73" fmla="*/ 828675 h 1247775"/>
                  <a:gd name="connsiteX74" fmla="*/ 1071563 w 1395413"/>
                  <a:gd name="connsiteY74" fmla="*/ 881063 h 1247775"/>
                  <a:gd name="connsiteX75" fmla="*/ 1092994 w 1395413"/>
                  <a:gd name="connsiteY75" fmla="*/ 881063 h 1247775"/>
                  <a:gd name="connsiteX76" fmla="*/ 1097756 w 1395413"/>
                  <a:gd name="connsiteY76" fmla="*/ 850106 h 1247775"/>
                  <a:gd name="connsiteX77" fmla="*/ 1171575 w 1395413"/>
                  <a:gd name="connsiteY77" fmla="*/ 928688 h 1247775"/>
                  <a:gd name="connsiteX78" fmla="*/ 1228725 w 1395413"/>
                  <a:gd name="connsiteY78" fmla="*/ 976313 h 1247775"/>
                  <a:gd name="connsiteX79" fmla="*/ 1223963 w 1395413"/>
                  <a:gd name="connsiteY79" fmla="*/ 1000125 h 1247775"/>
                  <a:gd name="connsiteX80" fmla="*/ 1252538 w 1395413"/>
                  <a:gd name="connsiteY80" fmla="*/ 1019175 h 1247775"/>
                  <a:gd name="connsiteX81" fmla="*/ 1288256 w 1395413"/>
                  <a:gd name="connsiteY81" fmla="*/ 1007269 h 1247775"/>
                  <a:gd name="connsiteX82" fmla="*/ 1307306 w 1395413"/>
                  <a:gd name="connsiteY82" fmla="*/ 1007269 h 1247775"/>
                  <a:gd name="connsiteX83" fmla="*/ 1321594 w 1395413"/>
                  <a:gd name="connsiteY83" fmla="*/ 1059656 h 1247775"/>
                  <a:gd name="connsiteX84" fmla="*/ 1395413 w 1395413"/>
                  <a:gd name="connsiteY84" fmla="*/ 1102519 h 1247775"/>
                  <a:gd name="connsiteX85" fmla="*/ 1364456 w 1395413"/>
                  <a:gd name="connsiteY85" fmla="*/ 1114425 h 1247775"/>
                  <a:gd name="connsiteX86" fmla="*/ 1314450 w 1395413"/>
                  <a:gd name="connsiteY86" fmla="*/ 1114425 h 1247775"/>
                  <a:gd name="connsiteX87" fmla="*/ 1254919 w 1395413"/>
                  <a:gd name="connsiteY87" fmla="*/ 1107281 h 1247775"/>
                  <a:gd name="connsiteX88" fmla="*/ 1216819 w 1395413"/>
                  <a:gd name="connsiteY88" fmla="*/ 1112044 h 1247775"/>
                  <a:gd name="connsiteX89" fmla="*/ 1181100 w 1395413"/>
                  <a:gd name="connsiteY89" fmla="*/ 1138238 h 1247775"/>
                  <a:gd name="connsiteX90" fmla="*/ 1116806 w 1395413"/>
                  <a:gd name="connsiteY90" fmla="*/ 1123950 h 1247775"/>
                  <a:gd name="connsiteX91" fmla="*/ 1071563 w 1395413"/>
                  <a:gd name="connsiteY91" fmla="*/ 1081088 h 1247775"/>
                  <a:gd name="connsiteX92" fmla="*/ 1012031 w 1395413"/>
                  <a:gd name="connsiteY92" fmla="*/ 1140619 h 1247775"/>
                  <a:gd name="connsiteX93" fmla="*/ 847725 w 1395413"/>
                  <a:gd name="connsiteY93" fmla="*/ 1066800 h 1247775"/>
                  <a:gd name="connsiteX94" fmla="*/ 823913 w 1395413"/>
                  <a:gd name="connsiteY94" fmla="*/ 1054894 h 1247775"/>
                  <a:gd name="connsiteX95" fmla="*/ 823913 w 1395413"/>
                  <a:gd name="connsiteY95" fmla="*/ 1038225 h 1247775"/>
                  <a:gd name="connsiteX96" fmla="*/ 776288 w 1395413"/>
                  <a:gd name="connsiteY96" fmla="*/ 1040606 h 1247775"/>
                  <a:gd name="connsiteX97" fmla="*/ 747713 w 1395413"/>
                  <a:gd name="connsiteY97" fmla="*/ 1023938 h 1247775"/>
                  <a:gd name="connsiteX98" fmla="*/ 752475 w 1395413"/>
                  <a:gd name="connsiteY98" fmla="*/ 997744 h 1247775"/>
                  <a:gd name="connsiteX99" fmla="*/ 740569 w 1395413"/>
                  <a:gd name="connsiteY99" fmla="*/ 971550 h 1247775"/>
                  <a:gd name="connsiteX100" fmla="*/ 678656 w 1395413"/>
                  <a:gd name="connsiteY100" fmla="*/ 1000125 h 1247775"/>
                  <a:gd name="connsiteX101" fmla="*/ 678656 w 1395413"/>
                  <a:gd name="connsiteY101" fmla="*/ 976313 h 1247775"/>
                  <a:gd name="connsiteX102" fmla="*/ 650081 w 1395413"/>
                  <a:gd name="connsiteY102" fmla="*/ 997744 h 1247775"/>
                  <a:gd name="connsiteX103" fmla="*/ 621506 w 1395413"/>
                  <a:gd name="connsiteY103" fmla="*/ 1000125 h 1247775"/>
                  <a:gd name="connsiteX104" fmla="*/ 602456 w 1395413"/>
                  <a:gd name="connsiteY104" fmla="*/ 997744 h 1247775"/>
                  <a:gd name="connsiteX105" fmla="*/ 600075 w 1395413"/>
                  <a:gd name="connsiteY105" fmla="*/ 978694 h 1247775"/>
                  <a:gd name="connsiteX106" fmla="*/ 578644 w 1395413"/>
                  <a:gd name="connsiteY106" fmla="*/ 1009650 h 1247775"/>
                  <a:gd name="connsiteX107" fmla="*/ 533400 w 1395413"/>
                  <a:gd name="connsiteY107" fmla="*/ 1012031 h 1247775"/>
                  <a:gd name="connsiteX108" fmla="*/ 490538 w 1395413"/>
                  <a:gd name="connsiteY108" fmla="*/ 1004888 h 1247775"/>
                  <a:gd name="connsiteX109" fmla="*/ 485775 w 1395413"/>
                  <a:gd name="connsiteY109" fmla="*/ 971550 h 1247775"/>
                  <a:gd name="connsiteX110" fmla="*/ 461963 w 1395413"/>
                  <a:gd name="connsiteY110" fmla="*/ 971550 h 1247775"/>
                  <a:gd name="connsiteX111" fmla="*/ 381000 w 1395413"/>
                  <a:gd name="connsiteY111" fmla="*/ 1047750 h 1247775"/>
                  <a:gd name="connsiteX112" fmla="*/ 381000 w 1395413"/>
                  <a:gd name="connsiteY112" fmla="*/ 1112044 h 1247775"/>
                  <a:gd name="connsiteX113" fmla="*/ 407194 w 1395413"/>
                  <a:gd name="connsiteY113" fmla="*/ 1126331 h 1247775"/>
                  <a:gd name="connsiteX114" fmla="*/ 383381 w 1395413"/>
                  <a:gd name="connsiteY114" fmla="*/ 1152525 h 1247775"/>
                  <a:gd name="connsiteX115" fmla="*/ 359569 w 1395413"/>
                  <a:gd name="connsiteY115" fmla="*/ 1188244 h 1247775"/>
                  <a:gd name="connsiteX116" fmla="*/ 392906 w 1395413"/>
                  <a:gd name="connsiteY116" fmla="*/ 1216819 h 1247775"/>
                  <a:gd name="connsiteX117" fmla="*/ 366713 w 1395413"/>
                  <a:gd name="connsiteY117" fmla="*/ 1247775 h 1247775"/>
                  <a:gd name="connsiteX118" fmla="*/ 314325 w 1395413"/>
                  <a:gd name="connsiteY118" fmla="*/ 1214438 h 1247775"/>
                  <a:gd name="connsiteX119" fmla="*/ 309563 w 1395413"/>
                  <a:gd name="connsiteY119" fmla="*/ 1152525 h 1247775"/>
                  <a:gd name="connsiteX120" fmla="*/ 280988 w 1395413"/>
                  <a:gd name="connsiteY120" fmla="*/ 1166813 h 1247775"/>
                  <a:gd name="connsiteX121" fmla="*/ 250031 w 1395413"/>
                  <a:gd name="connsiteY121" fmla="*/ 1054894 h 1247775"/>
                  <a:gd name="connsiteX122" fmla="*/ 190500 w 1395413"/>
                  <a:gd name="connsiteY122" fmla="*/ 978694 h 1247775"/>
                  <a:gd name="connsiteX123" fmla="*/ 92869 w 1395413"/>
                  <a:gd name="connsiteY123" fmla="*/ 1009650 h 1247775"/>
                  <a:gd name="connsiteX124" fmla="*/ 71438 w 1395413"/>
                  <a:gd name="connsiteY124" fmla="*/ 962025 h 1247775"/>
                  <a:gd name="connsiteX125" fmla="*/ 28575 w 1395413"/>
                  <a:gd name="connsiteY125" fmla="*/ 914400 h 1247775"/>
                  <a:gd name="connsiteX126" fmla="*/ 23813 w 1395413"/>
                  <a:gd name="connsiteY126" fmla="*/ 845344 h 1247775"/>
                  <a:gd name="connsiteX127" fmla="*/ 0 w 1395413"/>
                  <a:gd name="connsiteY127" fmla="*/ 776288 h 1247775"/>
                  <a:gd name="connsiteX128" fmla="*/ 71438 w 1395413"/>
                  <a:gd name="connsiteY128" fmla="*/ 783431 h 1247775"/>
                  <a:gd name="connsiteX129" fmla="*/ 121444 w 1395413"/>
                  <a:gd name="connsiteY129" fmla="*/ 776288 h 1247775"/>
                  <a:gd name="connsiteX130" fmla="*/ 159544 w 1395413"/>
                  <a:gd name="connsiteY130" fmla="*/ 776288 h 1247775"/>
                  <a:gd name="connsiteX131" fmla="*/ 173831 w 1395413"/>
                  <a:gd name="connsiteY131" fmla="*/ 745331 h 1247775"/>
                  <a:gd name="connsiteX132" fmla="*/ 154781 w 1395413"/>
                  <a:gd name="connsiteY132" fmla="*/ 704850 h 1247775"/>
                  <a:gd name="connsiteX133" fmla="*/ 133350 w 1395413"/>
                  <a:gd name="connsiteY133" fmla="*/ 704850 h 1247775"/>
                  <a:gd name="connsiteX134" fmla="*/ 123825 w 1395413"/>
                  <a:gd name="connsiteY134" fmla="*/ 642938 h 1247775"/>
                  <a:gd name="connsiteX135" fmla="*/ 95250 w 1395413"/>
                  <a:gd name="connsiteY135" fmla="*/ 621506 h 1247775"/>
                  <a:gd name="connsiteX136" fmla="*/ 133350 w 1395413"/>
                  <a:gd name="connsiteY136" fmla="*/ 573881 h 1247775"/>
                  <a:gd name="connsiteX137" fmla="*/ 83344 w 1395413"/>
                  <a:gd name="connsiteY137" fmla="*/ 573881 h 1247775"/>
                  <a:gd name="connsiteX138" fmla="*/ 59531 w 1395413"/>
                  <a:gd name="connsiteY138" fmla="*/ 550069 h 1247775"/>
                  <a:gd name="connsiteX139" fmla="*/ 83344 w 1395413"/>
                  <a:gd name="connsiteY139" fmla="*/ 478631 h 1247775"/>
                  <a:gd name="connsiteX140" fmla="*/ 54769 w 1395413"/>
                  <a:gd name="connsiteY140" fmla="*/ 440531 h 1247775"/>
                  <a:gd name="connsiteX141" fmla="*/ 97631 w 1395413"/>
                  <a:gd name="connsiteY141" fmla="*/ 395288 h 1247775"/>
                  <a:gd name="connsiteX142" fmla="*/ 147638 w 1395413"/>
                  <a:gd name="connsiteY142" fmla="*/ 373856 h 1247775"/>
                  <a:gd name="connsiteX143" fmla="*/ 147638 w 1395413"/>
                  <a:gd name="connsiteY143" fmla="*/ 302419 h 12477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</a:cxnLst>
                <a:rect l="l" t="t" r="r" b="b"/>
                <a:pathLst>
                  <a:path w="1395413" h="1247775">
                    <a:moveTo>
                      <a:pt x="147638" y="302419"/>
                    </a:moveTo>
                    <a:lnTo>
                      <a:pt x="204788" y="314325"/>
                    </a:lnTo>
                    <a:lnTo>
                      <a:pt x="216694" y="335756"/>
                    </a:lnTo>
                    <a:lnTo>
                      <a:pt x="180975" y="369094"/>
                    </a:lnTo>
                    <a:lnTo>
                      <a:pt x="233363" y="402431"/>
                    </a:lnTo>
                    <a:lnTo>
                      <a:pt x="221456" y="431006"/>
                    </a:lnTo>
                    <a:lnTo>
                      <a:pt x="202406" y="461963"/>
                    </a:lnTo>
                    <a:lnTo>
                      <a:pt x="252413" y="488156"/>
                    </a:lnTo>
                    <a:lnTo>
                      <a:pt x="304800" y="471488"/>
                    </a:lnTo>
                    <a:lnTo>
                      <a:pt x="307181" y="450056"/>
                    </a:lnTo>
                    <a:lnTo>
                      <a:pt x="290513" y="421481"/>
                    </a:lnTo>
                    <a:lnTo>
                      <a:pt x="257175" y="400050"/>
                    </a:lnTo>
                    <a:lnTo>
                      <a:pt x="292894" y="383381"/>
                    </a:lnTo>
                    <a:lnTo>
                      <a:pt x="271463" y="342900"/>
                    </a:lnTo>
                    <a:lnTo>
                      <a:pt x="321469" y="338138"/>
                    </a:lnTo>
                    <a:lnTo>
                      <a:pt x="321469" y="297656"/>
                    </a:lnTo>
                    <a:lnTo>
                      <a:pt x="411956" y="219075"/>
                    </a:lnTo>
                    <a:lnTo>
                      <a:pt x="423863" y="147638"/>
                    </a:lnTo>
                    <a:lnTo>
                      <a:pt x="433388" y="109538"/>
                    </a:lnTo>
                    <a:lnTo>
                      <a:pt x="414338" y="92869"/>
                    </a:lnTo>
                    <a:lnTo>
                      <a:pt x="433388" y="71438"/>
                    </a:lnTo>
                    <a:lnTo>
                      <a:pt x="440531" y="54769"/>
                    </a:lnTo>
                    <a:lnTo>
                      <a:pt x="483394" y="61913"/>
                    </a:lnTo>
                    <a:lnTo>
                      <a:pt x="483394" y="80963"/>
                    </a:lnTo>
                    <a:lnTo>
                      <a:pt x="521494" y="71438"/>
                    </a:lnTo>
                    <a:lnTo>
                      <a:pt x="526256" y="100013"/>
                    </a:lnTo>
                    <a:lnTo>
                      <a:pt x="507206" y="128588"/>
                    </a:lnTo>
                    <a:lnTo>
                      <a:pt x="564356" y="190500"/>
                    </a:lnTo>
                    <a:lnTo>
                      <a:pt x="626269" y="204788"/>
                    </a:lnTo>
                    <a:lnTo>
                      <a:pt x="635794" y="173831"/>
                    </a:lnTo>
                    <a:lnTo>
                      <a:pt x="671513" y="173831"/>
                    </a:lnTo>
                    <a:lnTo>
                      <a:pt x="726281" y="164306"/>
                    </a:lnTo>
                    <a:lnTo>
                      <a:pt x="738188" y="157163"/>
                    </a:lnTo>
                    <a:lnTo>
                      <a:pt x="738188" y="157163"/>
                    </a:lnTo>
                    <a:lnTo>
                      <a:pt x="766763" y="183356"/>
                    </a:lnTo>
                    <a:lnTo>
                      <a:pt x="752475" y="207169"/>
                    </a:lnTo>
                    <a:lnTo>
                      <a:pt x="778669" y="233363"/>
                    </a:lnTo>
                    <a:lnTo>
                      <a:pt x="778669" y="252413"/>
                    </a:lnTo>
                    <a:lnTo>
                      <a:pt x="778669" y="252413"/>
                    </a:lnTo>
                    <a:lnTo>
                      <a:pt x="862013" y="257175"/>
                    </a:lnTo>
                    <a:lnTo>
                      <a:pt x="826294" y="197644"/>
                    </a:lnTo>
                    <a:lnTo>
                      <a:pt x="833438" y="169069"/>
                    </a:lnTo>
                    <a:lnTo>
                      <a:pt x="845344" y="130969"/>
                    </a:lnTo>
                    <a:lnTo>
                      <a:pt x="788194" y="123825"/>
                    </a:lnTo>
                    <a:lnTo>
                      <a:pt x="792956" y="57150"/>
                    </a:lnTo>
                    <a:lnTo>
                      <a:pt x="812006" y="26194"/>
                    </a:lnTo>
                    <a:lnTo>
                      <a:pt x="866775" y="0"/>
                    </a:lnTo>
                    <a:lnTo>
                      <a:pt x="892969" y="0"/>
                    </a:lnTo>
                    <a:lnTo>
                      <a:pt x="895350" y="40481"/>
                    </a:lnTo>
                    <a:lnTo>
                      <a:pt x="976313" y="66675"/>
                    </a:lnTo>
                    <a:lnTo>
                      <a:pt x="1004888" y="69056"/>
                    </a:lnTo>
                    <a:lnTo>
                      <a:pt x="1019175" y="102394"/>
                    </a:lnTo>
                    <a:lnTo>
                      <a:pt x="1057275" y="109538"/>
                    </a:lnTo>
                    <a:lnTo>
                      <a:pt x="1064419" y="161925"/>
                    </a:lnTo>
                    <a:lnTo>
                      <a:pt x="1014413" y="185738"/>
                    </a:lnTo>
                    <a:lnTo>
                      <a:pt x="1040606" y="240506"/>
                    </a:lnTo>
                    <a:lnTo>
                      <a:pt x="1040606" y="271463"/>
                    </a:lnTo>
                    <a:lnTo>
                      <a:pt x="1031081" y="304800"/>
                    </a:lnTo>
                    <a:lnTo>
                      <a:pt x="1007269" y="354806"/>
                    </a:lnTo>
                    <a:lnTo>
                      <a:pt x="978694" y="397669"/>
                    </a:lnTo>
                    <a:lnTo>
                      <a:pt x="976313" y="435769"/>
                    </a:lnTo>
                    <a:lnTo>
                      <a:pt x="985838" y="445294"/>
                    </a:lnTo>
                    <a:lnTo>
                      <a:pt x="997744" y="497681"/>
                    </a:lnTo>
                    <a:lnTo>
                      <a:pt x="1028700" y="545306"/>
                    </a:lnTo>
                    <a:lnTo>
                      <a:pt x="1078706" y="528638"/>
                    </a:lnTo>
                    <a:lnTo>
                      <a:pt x="1178719" y="538163"/>
                    </a:lnTo>
                    <a:lnTo>
                      <a:pt x="1143000" y="559594"/>
                    </a:lnTo>
                    <a:lnTo>
                      <a:pt x="1102519" y="609600"/>
                    </a:lnTo>
                    <a:lnTo>
                      <a:pt x="1081088" y="638175"/>
                    </a:lnTo>
                    <a:lnTo>
                      <a:pt x="1050131" y="683419"/>
                    </a:lnTo>
                    <a:lnTo>
                      <a:pt x="1050131" y="745331"/>
                    </a:lnTo>
                    <a:lnTo>
                      <a:pt x="1057275" y="783431"/>
                    </a:lnTo>
                    <a:lnTo>
                      <a:pt x="1090613" y="781050"/>
                    </a:lnTo>
                    <a:lnTo>
                      <a:pt x="1069181" y="828675"/>
                    </a:lnTo>
                    <a:lnTo>
                      <a:pt x="1071563" y="881063"/>
                    </a:lnTo>
                    <a:lnTo>
                      <a:pt x="1092994" y="881063"/>
                    </a:lnTo>
                    <a:lnTo>
                      <a:pt x="1097756" y="850106"/>
                    </a:lnTo>
                    <a:lnTo>
                      <a:pt x="1171575" y="928688"/>
                    </a:lnTo>
                    <a:lnTo>
                      <a:pt x="1228725" y="976313"/>
                    </a:lnTo>
                    <a:lnTo>
                      <a:pt x="1223963" y="1000125"/>
                    </a:lnTo>
                    <a:lnTo>
                      <a:pt x="1252538" y="1019175"/>
                    </a:lnTo>
                    <a:lnTo>
                      <a:pt x="1288256" y="1007269"/>
                    </a:lnTo>
                    <a:lnTo>
                      <a:pt x="1307306" y="1007269"/>
                    </a:lnTo>
                    <a:lnTo>
                      <a:pt x="1321594" y="1059656"/>
                    </a:lnTo>
                    <a:lnTo>
                      <a:pt x="1395413" y="1102519"/>
                    </a:lnTo>
                    <a:lnTo>
                      <a:pt x="1364456" y="1114425"/>
                    </a:lnTo>
                    <a:lnTo>
                      <a:pt x="1314450" y="1114425"/>
                    </a:lnTo>
                    <a:lnTo>
                      <a:pt x="1254919" y="1107281"/>
                    </a:lnTo>
                    <a:lnTo>
                      <a:pt x="1216819" y="1112044"/>
                    </a:lnTo>
                    <a:lnTo>
                      <a:pt x="1181100" y="1138238"/>
                    </a:lnTo>
                    <a:lnTo>
                      <a:pt x="1116806" y="1123950"/>
                    </a:lnTo>
                    <a:lnTo>
                      <a:pt x="1071563" y="1081088"/>
                    </a:lnTo>
                    <a:lnTo>
                      <a:pt x="1012031" y="1140619"/>
                    </a:lnTo>
                    <a:lnTo>
                      <a:pt x="847725" y="1066800"/>
                    </a:lnTo>
                    <a:lnTo>
                      <a:pt x="823913" y="1054894"/>
                    </a:lnTo>
                    <a:lnTo>
                      <a:pt x="823913" y="1038225"/>
                    </a:lnTo>
                    <a:lnTo>
                      <a:pt x="776288" y="1040606"/>
                    </a:lnTo>
                    <a:lnTo>
                      <a:pt x="747713" y="1023938"/>
                    </a:lnTo>
                    <a:lnTo>
                      <a:pt x="752475" y="997744"/>
                    </a:lnTo>
                    <a:lnTo>
                      <a:pt x="740569" y="971550"/>
                    </a:lnTo>
                    <a:lnTo>
                      <a:pt x="678656" y="1000125"/>
                    </a:lnTo>
                    <a:lnTo>
                      <a:pt x="678656" y="976313"/>
                    </a:lnTo>
                    <a:lnTo>
                      <a:pt x="650081" y="997744"/>
                    </a:lnTo>
                    <a:lnTo>
                      <a:pt x="621506" y="1000125"/>
                    </a:lnTo>
                    <a:lnTo>
                      <a:pt x="602456" y="997744"/>
                    </a:lnTo>
                    <a:lnTo>
                      <a:pt x="600075" y="978694"/>
                    </a:lnTo>
                    <a:lnTo>
                      <a:pt x="578644" y="1009650"/>
                    </a:lnTo>
                    <a:lnTo>
                      <a:pt x="533400" y="1012031"/>
                    </a:lnTo>
                    <a:lnTo>
                      <a:pt x="490538" y="1004888"/>
                    </a:lnTo>
                    <a:lnTo>
                      <a:pt x="485775" y="971550"/>
                    </a:lnTo>
                    <a:lnTo>
                      <a:pt x="461963" y="971550"/>
                    </a:lnTo>
                    <a:lnTo>
                      <a:pt x="381000" y="1047750"/>
                    </a:lnTo>
                    <a:lnTo>
                      <a:pt x="381000" y="1112044"/>
                    </a:lnTo>
                    <a:lnTo>
                      <a:pt x="407194" y="1126331"/>
                    </a:lnTo>
                    <a:lnTo>
                      <a:pt x="383381" y="1152525"/>
                    </a:lnTo>
                    <a:lnTo>
                      <a:pt x="359569" y="1188244"/>
                    </a:lnTo>
                    <a:lnTo>
                      <a:pt x="392906" y="1216819"/>
                    </a:lnTo>
                    <a:lnTo>
                      <a:pt x="366713" y="1247775"/>
                    </a:lnTo>
                    <a:lnTo>
                      <a:pt x="314325" y="1214438"/>
                    </a:lnTo>
                    <a:lnTo>
                      <a:pt x="309563" y="1152525"/>
                    </a:lnTo>
                    <a:lnTo>
                      <a:pt x="280988" y="1166813"/>
                    </a:lnTo>
                    <a:lnTo>
                      <a:pt x="250031" y="1054894"/>
                    </a:lnTo>
                    <a:lnTo>
                      <a:pt x="190500" y="978694"/>
                    </a:lnTo>
                    <a:lnTo>
                      <a:pt x="92869" y="1009650"/>
                    </a:lnTo>
                    <a:lnTo>
                      <a:pt x="71438" y="962025"/>
                    </a:lnTo>
                    <a:lnTo>
                      <a:pt x="28575" y="914400"/>
                    </a:lnTo>
                    <a:lnTo>
                      <a:pt x="23813" y="845344"/>
                    </a:lnTo>
                    <a:lnTo>
                      <a:pt x="0" y="776288"/>
                    </a:lnTo>
                    <a:lnTo>
                      <a:pt x="71438" y="783431"/>
                    </a:lnTo>
                    <a:lnTo>
                      <a:pt x="121444" y="776288"/>
                    </a:lnTo>
                    <a:lnTo>
                      <a:pt x="159544" y="776288"/>
                    </a:lnTo>
                    <a:lnTo>
                      <a:pt x="173831" y="745331"/>
                    </a:lnTo>
                    <a:lnTo>
                      <a:pt x="154781" y="704850"/>
                    </a:lnTo>
                    <a:lnTo>
                      <a:pt x="133350" y="704850"/>
                    </a:lnTo>
                    <a:lnTo>
                      <a:pt x="123825" y="642938"/>
                    </a:lnTo>
                    <a:lnTo>
                      <a:pt x="95250" y="621506"/>
                    </a:lnTo>
                    <a:lnTo>
                      <a:pt x="133350" y="573881"/>
                    </a:lnTo>
                    <a:lnTo>
                      <a:pt x="83344" y="573881"/>
                    </a:lnTo>
                    <a:lnTo>
                      <a:pt x="59531" y="550069"/>
                    </a:lnTo>
                    <a:lnTo>
                      <a:pt x="83344" y="478631"/>
                    </a:lnTo>
                    <a:lnTo>
                      <a:pt x="54769" y="440531"/>
                    </a:lnTo>
                    <a:lnTo>
                      <a:pt x="97631" y="395288"/>
                    </a:lnTo>
                    <a:lnTo>
                      <a:pt x="147638" y="373856"/>
                    </a:lnTo>
                    <a:lnTo>
                      <a:pt x="147638" y="302419"/>
                    </a:ln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8" name="Figura a mano libera 137"/>
              <p:cNvSpPr/>
              <p:nvPr/>
            </p:nvSpPr>
            <p:spPr bwMode="auto">
              <a:xfrm>
                <a:off x="8200498" y="1714695"/>
                <a:ext cx="778455" cy="649463"/>
              </a:xfrm>
              <a:custGeom>
                <a:avLst/>
                <a:gdLst>
                  <a:gd name="connsiteX0" fmla="*/ 28575 w 990600"/>
                  <a:gd name="connsiteY0" fmla="*/ 326231 h 895350"/>
                  <a:gd name="connsiteX1" fmla="*/ 23812 w 990600"/>
                  <a:gd name="connsiteY1" fmla="*/ 264319 h 895350"/>
                  <a:gd name="connsiteX2" fmla="*/ 0 w 990600"/>
                  <a:gd name="connsiteY2" fmla="*/ 264319 h 895350"/>
                  <a:gd name="connsiteX3" fmla="*/ 0 w 990600"/>
                  <a:gd name="connsiteY3" fmla="*/ 230981 h 895350"/>
                  <a:gd name="connsiteX4" fmla="*/ 30956 w 990600"/>
                  <a:gd name="connsiteY4" fmla="*/ 180975 h 895350"/>
                  <a:gd name="connsiteX5" fmla="*/ 26194 w 990600"/>
                  <a:gd name="connsiteY5" fmla="*/ 145256 h 895350"/>
                  <a:gd name="connsiteX6" fmla="*/ 85725 w 990600"/>
                  <a:gd name="connsiteY6" fmla="*/ 123825 h 895350"/>
                  <a:gd name="connsiteX7" fmla="*/ 133350 w 990600"/>
                  <a:gd name="connsiteY7" fmla="*/ 119063 h 895350"/>
                  <a:gd name="connsiteX8" fmla="*/ 176212 w 990600"/>
                  <a:gd name="connsiteY8" fmla="*/ 157163 h 895350"/>
                  <a:gd name="connsiteX9" fmla="*/ 207169 w 990600"/>
                  <a:gd name="connsiteY9" fmla="*/ 192881 h 895350"/>
                  <a:gd name="connsiteX10" fmla="*/ 238125 w 990600"/>
                  <a:gd name="connsiteY10" fmla="*/ 192881 h 895350"/>
                  <a:gd name="connsiteX11" fmla="*/ 264319 w 990600"/>
                  <a:gd name="connsiteY11" fmla="*/ 173831 h 895350"/>
                  <a:gd name="connsiteX12" fmla="*/ 285750 w 990600"/>
                  <a:gd name="connsiteY12" fmla="*/ 197644 h 895350"/>
                  <a:gd name="connsiteX13" fmla="*/ 316706 w 990600"/>
                  <a:gd name="connsiteY13" fmla="*/ 154781 h 895350"/>
                  <a:gd name="connsiteX14" fmla="*/ 345281 w 990600"/>
                  <a:gd name="connsiteY14" fmla="*/ 109538 h 895350"/>
                  <a:gd name="connsiteX15" fmla="*/ 354806 w 990600"/>
                  <a:gd name="connsiteY15" fmla="*/ 88106 h 895350"/>
                  <a:gd name="connsiteX16" fmla="*/ 416719 w 990600"/>
                  <a:gd name="connsiteY16" fmla="*/ 54769 h 895350"/>
                  <a:gd name="connsiteX17" fmla="*/ 461962 w 990600"/>
                  <a:gd name="connsiteY17" fmla="*/ 54769 h 895350"/>
                  <a:gd name="connsiteX18" fmla="*/ 564356 w 990600"/>
                  <a:gd name="connsiteY18" fmla="*/ 61913 h 895350"/>
                  <a:gd name="connsiteX19" fmla="*/ 590550 w 990600"/>
                  <a:gd name="connsiteY19" fmla="*/ 33338 h 895350"/>
                  <a:gd name="connsiteX20" fmla="*/ 642937 w 990600"/>
                  <a:gd name="connsiteY20" fmla="*/ 69056 h 895350"/>
                  <a:gd name="connsiteX21" fmla="*/ 683419 w 990600"/>
                  <a:gd name="connsiteY21" fmla="*/ 61913 h 895350"/>
                  <a:gd name="connsiteX22" fmla="*/ 719137 w 990600"/>
                  <a:gd name="connsiteY22" fmla="*/ 40481 h 895350"/>
                  <a:gd name="connsiteX23" fmla="*/ 754856 w 990600"/>
                  <a:gd name="connsiteY23" fmla="*/ 21431 h 895350"/>
                  <a:gd name="connsiteX24" fmla="*/ 854869 w 990600"/>
                  <a:gd name="connsiteY24" fmla="*/ 11906 h 895350"/>
                  <a:gd name="connsiteX25" fmla="*/ 892969 w 990600"/>
                  <a:gd name="connsiteY25" fmla="*/ 0 h 895350"/>
                  <a:gd name="connsiteX26" fmla="*/ 873919 w 990600"/>
                  <a:gd name="connsiteY26" fmla="*/ 28575 h 895350"/>
                  <a:gd name="connsiteX27" fmla="*/ 835819 w 990600"/>
                  <a:gd name="connsiteY27" fmla="*/ 47625 h 895350"/>
                  <a:gd name="connsiteX28" fmla="*/ 850106 w 990600"/>
                  <a:gd name="connsiteY28" fmla="*/ 97631 h 895350"/>
                  <a:gd name="connsiteX29" fmla="*/ 852487 w 990600"/>
                  <a:gd name="connsiteY29" fmla="*/ 121444 h 895350"/>
                  <a:gd name="connsiteX30" fmla="*/ 897731 w 990600"/>
                  <a:gd name="connsiteY30" fmla="*/ 145256 h 895350"/>
                  <a:gd name="connsiteX31" fmla="*/ 916781 w 990600"/>
                  <a:gd name="connsiteY31" fmla="*/ 166688 h 895350"/>
                  <a:gd name="connsiteX32" fmla="*/ 916781 w 990600"/>
                  <a:gd name="connsiteY32" fmla="*/ 202406 h 895350"/>
                  <a:gd name="connsiteX33" fmla="*/ 966787 w 990600"/>
                  <a:gd name="connsiteY33" fmla="*/ 230981 h 895350"/>
                  <a:gd name="connsiteX34" fmla="*/ 990600 w 990600"/>
                  <a:gd name="connsiteY34" fmla="*/ 273844 h 895350"/>
                  <a:gd name="connsiteX35" fmla="*/ 966787 w 990600"/>
                  <a:gd name="connsiteY35" fmla="*/ 295275 h 895350"/>
                  <a:gd name="connsiteX36" fmla="*/ 890587 w 990600"/>
                  <a:gd name="connsiteY36" fmla="*/ 311944 h 895350"/>
                  <a:gd name="connsiteX37" fmla="*/ 819150 w 990600"/>
                  <a:gd name="connsiteY37" fmla="*/ 316706 h 895350"/>
                  <a:gd name="connsiteX38" fmla="*/ 816769 w 990600"/>
                  <a:gd name="connsiteY38" fmla="*/ 283369 h 895350"/>
                  <a:gd name="connsiteX39" fmla="*/ 773906 w 990600"/>
                  <a:gd name="connsiteY39" fmla="*/ 326231 h 895350"/>
                  <a:gd name="connsiteX40" fmla="*/ 773906 w 990600"/>
                  <a:gd name="connsiteY40" fmla="*/ 342900 h 895350"/>
                  <a:gd name="connsiteX41" fmla="*/ 714375 w 990600"/>
                  <a:gd name="connsiteY41" fmla="*/ 366713 h 895350"/>
                  <a:gd name="connsiteX42" fmla="*/ 664369 w 990600"/>
                  <a:gd name="connsiteY42" fmla="*/ 390525 h 895350"/>
                  <a:gd name="connsiteX43" fmla="*/ 692944 w 990600"/>
                  <a:gd name="connsiteY43" fmla="*/ 407194 h 895350"/>
                  <a:gd name="connsiteX44" fmla="*/ 695325 w 990600"/>
                  <a:gd name="connsiteY44" fmla="*/ 442913 h 895350"/>
                  <a:gd name="connsiteX45" fmla="*/ 652462 w 990600"/>
                  <a:gd name="connsiteY45" fmla="*/ 490538 h 895350"/>
                  <a:gd name="connsiteX46" fmla="*/ 676275 w 990600"/>
                  <a:gd name="connsiteY46" fmla="*/ 528638 h 895350"/>
                  <a:gd name="connsiteX47" fmla="*/ 721519 w 990600"/>
                  <a:gd name="connsiteY47" fmla="*/ 550069 h 895350"/>
                  <a:gd name="connsiteX48" fmla="*/ 726281 w 990600"/>
                  <a:gd name="connsiteY48" fmla="*/ 595313 h 895350"/>
                  <a:gd name="connsiteX49" fmla="*/ 697706 w 990600"/>
                  <a:gd name="connsiteY49" fmla="*/ 626269 h 895350"/>
                  <a:gd name="connsiteX50" fmla="*/ 642937 w 990600"/>
                  <a:gd name="connsiteY50" fmla="*/ 635794 h 895350"/>
                  <a:gd name="connsiteX51" fmla="*/ 616744 w 990600"/>
                  <a:gd name="connsiteY51" fmla="*/ 642938 h 895350"/>
                  <a:gd name="connsiteX52" fmla="*/ 623887 w 990600"/>
                  <a:gd name="connsiteY52" fmla="*/ 673894 h 895350"/>
                  <a:gd name="connsiteX53" fmla="*/ 597694 w 990600"/>
                  <a:gd name="connsiteY53" fmla="*/ 714375 h 895350"/>
                  <a:gd name="connsiteX54" fmla="*/ 573881 w 990600"/>
                  <a:gd name="connsiteY54" fmla="*/ 728663 h 895350"/>
                  <a:gd name="connsiteX55" fmla="*/ 557212 w 990600"/>
                  <a:gd name="connsiteY55" fmla="*/ 740569 h 895350"/>
                  <a:gd name="connsiteX56" fmla="*/ 550069 w 990600"/>
                  <a:gd name="connsiteY56" fmla="*/ 697706 h 895350"/>
                  <a:gd name="connsiteX57" fmla="*/ 507206 w 990600"/>
                  <a:gd name="connsiteY57" fmla="*/ 688181 h 895350"/>
                  <a:gd name="connsiteX58" fmla="*/ 504825 w 990600"/>
                  <a:gd name="connsiteY58" fmla="*/ 709613 h 895350"/>
                  <a:gd name="connsiteX59" fmla="*/ 464344 w 990600"/>
                  <a:gd name="connsiteY59" fmla="*/ 711994 h 895350"/>
                  <a:gd name="connsiteX60" fmla="*/ 452437 w 990600"/>
                  <a:gd name="connsiteY60" fmla="*/ 695325 h 895350"/>
                  <a:gd name="connsiteX61" fmla="*/ 447675 w 990600"/>
                  <a:gd name="connsiteY61" fmla="*/ 740569 h 895350"/>
                  <a:gd name="connsiteX62" fmla="*/ 426244 w 990600"/>
                  <a:gd name="connsiteY62" fmla="*/ 764381 h 895350"/>
                  <a:gd name="connsiteX63" fmla="*/ 404812 w 990600"/>
                  <a:gd name="connsiteY63" fmla="*/ 745331 h 895350"/>
                  <a:gd name="connsiteX64" fmla="*/ 371475 w 990600"/>
                  <a:gd name="connsiteY64" fmla="*/ 785813 h 895350"/>
                  <a:gd name="connsiteX65" fmla="*/ 371475 w 990600"/>
                  <a:gd name="connsiteY65" fmla="*/ 850106 h 895350"/>
                  <a:gd name="connsiteX66" fmla="*/ 347662 w 990600"/>
                  <a:gd name="connsiteY66" fmla="*/ 871538 h 895350"/>
                  <a:gd name="connsiteX67" fmla="*/ 323850 w 990600"/>
                  <a:gd name="connsiteY67" fmla="*/ 895350 h 895350"/>
                  <a:gd name="connsiteX68" fmla="*/ 278606 w 990600"/>
                  <a:gd name="connsiteY68" fmla="*/ 883444 h 895350"/>
                  <a:gd name="connsiteX69" fmla="*/ 235744 w 990600"/>
                  <a:gd name="connsiteY69" fmla="*/ 892969 h 895350"/>
                  <a:gd name="connsiteX70" fmla="*/ 183356 w 990600"/>
                  <a:gd name="connsiteY70" fmla="*/ 871538 h 895350"/>
                  <a:gd name="connsiteX71" fmla="*/ 183356 w 990600"/>
                  <a:gd name="connsiteY71" fmla="*/ 842963 h 895350"/>
                  <a:gd name="connsiteX72" fmla="*/ 202406 w 990600"/>
                  <a:gd name="connsiteY72" fmla="*/ 826294 h 895350"/>
                  <a:gd name="connsiteX73" fmla="*/ 221456 w 990600"/>
                  <a:gd name="connsiteY73" fmla="*/ 804863 h 895350"/>
                  <a:gd name="connsiteX74" fmla="*/ 114300 w 990600"/>
                  <a:gd name="connsiteY74" fmla="*/ 792956 h 895350"/>
                  <a:gd name="connsiteX75" fmla="*/ 64294 w 990600"/>
                  <a:gd name="connsiteY75" fmla="*/ 812006 h 895350"/>
                  <a:gd name="connsiteX76" fmla="*/ 33337 w 990600"/>
                  <a:gd name="connsiteY76" fmla="*/ 764381 h 895350"/>
                  <a:gd name="connsiteX77" fmla="*/ 26194 w 990600"/>
                  <a:gd name="connsiteY77" fmla="*/ 726281 h 895350"/>
                  <a:gd name="connsiteX78" fmla="*/ 7144 w 990600"/>
                  <a:gd name="connsiteY78" fmla="*/ 692944 h 895350"/>
                  <a:gd name="connsiteX79" fmla="*/ 16669 w 990600"/>
                  <a:gd name="connsiteY79" fmla="*/ 635794 h 895350"/>
                  <a:gd name="connsiteX80" fmla="*/ 66675 w 990600"/>
                  <a:gd name="connsiteY80" fmla="*/ 569119 h 895350"/>
                  <a:gd name="connsiteX81" fmla="*/ 71437 w 990600"/>
                  <a:gd name="connsiteY81" fmla="*/ 504825 h 895350"/>
                  <a:gd name="connsiteX82" fmla="*/ 64294 w 990600"/>
                  <a:gd name="connsiteY82" fmla="*/ 473869 h 895350"/>
                  <a:gd name="connsiteX83" fmla="*/ 50006 w 990600"/>
                  <a:gd name="connsiteY83" fmla="*/ 459581 h 895350"/>
                  <a:gd name="connsiteX84" fmla="*/ 85725 w 990600"/>
                  <a:gd name="connsiteY84" fmla="*/ 428625 h 895350"/>
                  <a:gd name="connsiteX85" fmla="*/ 100012 w 990600"/>
                  <a:gd name="connsiteY85" fmla="*/ 378619 h 895350"/>
                  <a:gd name="connsiteX86" fmla="*/ 85725 w 990600"/>
                  <a:gd name="connsiteY86" fmla="*/ 369094 h 895350"/>
                  <a:gd name="connsiteX87" fmla="*/ 64294 w 990600"/>
                  <a:gd name="connsiteY87" fmla="*/ 364331 h 895350"/>
                  <a:gd name="connsiteX88" fmla="*/ 28575 w 990600"/>
                  <a:gd name="connsiteY88" fmla="*/ 326231 h 895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</a:cxnLst>
                <a:rect l="l" t="t" r="r" b="b"/>
                <a:pathLst>
                  <a:path w="990600" h="895350">
                    <a:moveTo>
                      <a:pt x="28575" y="326231"/>
                    </a:moveTo>
                    <a:lnTo>
                      <a:pt x="23812" y="264319"/>
                    </a:lnTo>
                    <a:lnTo>
                      <a:pt x="0" y="264319"/>
                    </a:lnTo>
                    <a:lnTo>
                      <a:pt x="0" y="230981"/>
                    </a:lnTo>
                    <a:lnTo>
                      <a:pt x="30956" y="180975"/>
                    </a:lnTo>
                    <a:lnTo>
                      <a:pt x="26194" y="145256"/>
                    </a:lnTo>
                    <a:lnTo>
                      <a:pt x="85725" y="123825"/>
                    </a:lnTo>
                    <a:lnTo>
                      <a:pt x="133350" y="119063"/>
                    </a:lnTo>
                    <a:lnTo>
                      <a:pt x="176212" y="157163"/>
                    </a:lnTo>
                    <a:lnTo>
                      <a:pt x="207169" y="192881"/>
                    </a:lnTo>
                    <a:lnTo>
                      <a:pt x="238125" y="192881"/>
                    </a:lnTo>
                    <a:lnTo>
                      <a:pt x="264319" y="173831"/>
                    </a:lnTo>
                    <a:lnTo>
                      <a:pt x="285750" y="197644"/>
                    </a:lnTo>
                    <a:lnTo>
                      <a:pt x="316706" y="154781"/>
                    </a:lnTo>
                    <a:lnTo>
                      <a:pt x="345281" y="109538"/>
                    </a:lnTo>
                    <a:lnTo>
                      <a:pt x="354806" y="88106"/>
                    </a:lnTo>
                    <a:lnTo>
                      <a:pt x="416719" y="54769"/>
                    </a:lnTo>
                    <a:lnTo>
                      <a:pt x="461962" y="54769"/>
                    </a:lnTo>
                    <a:lnTo>
                      <a:pt x="564356" y="61913"/>
                    </a:lnTo>
                    <a:lnTo>
                      <a:pt x="590550" y="33338"/>
                    </a:lnTo>
                    <a:lnTo>
                      <a:pt x="642937" y="69056"/>
                    </a:lnTo>
                    <a:lnTo>
                      <a:pt x="683419" y="61913"/>
                    </a:lnTo>
                    <a:lnTo>
                      <a:pt x="719137" y="40481"/>
                    </a:lnTo>
                    <a:lnTo>
                      <a:pt x="754856" y="21431"/>
                    </a:lnTo>
                    <a:lnTo>
                      <a:pt x="854869" y="11906"/>
                    </a:lnTo>
                    <a:lnTo>
                      <a:pt x="892969" y="0"/>
                    </a:lnTo>
                    <a:lnTo>
                      <a:pt x="873919" y="28575"/>
                    </a:lnTo>
                    <a:lnTo>
                      <a:pt x="835819" y="47625"/>
                    </a:lnTo>
                    <a:lnTo>
                      <a:pt x="850106" y="97631"/>
                    </a:lnTo>
                    <a:lnTo>
                      <a:pt x="852487" y="121444"/>
                    </a:lnTo>
                    <a:lnTo>
                      <a:pt x="897731" y="145256"/>
                    </a:lnTo>
                    <a:lnTo>
                      <a:pt x="916781" y="166688"/>
                    </a:lnTo>
                    <a:lnTo>
                      <a:pt x="916781" y="202406"/>
                    </a:lnTo>
                    <a:lnTo>
                      <a:pt x="966787" y="230981"/>
                    </a:lnTo>
                    <a:lnTo>
                      <a:pt x="990600" y="273844"/>
                    </a:lnTo>
                    <a:lnTo>
                      <a:pt x="966787" y="295275"/>
                    </a:lnTo>
                    <a:lnTo>
                      <a:pt x="890587" y="311944"/>
                    </a:lnTo>
                    <a:lnTo>
                      <a:pt x="819150" y="316706"/>
                    </a:lnTo>
                    <a:lnTo>
                      <a:pt x="816769" y="283369"/>
                    </a:lnTo>
                    <a:lnTo>
                      <a:pt x="773906" y="326231"/>
                    </a:lnTo>
                    <a:lnTo>
                      <a:pt x="773906" y="342900"/>
                    </a:lnTo>
                    <a:lnTo>
                      <a:pt x="714375" y="366713"/>
                    </a:lnTo>
                    <a:lnTo>
                      <a:pt x="664369" y="390525"/>
                    </a:lnTo>
                    <a:lnTo>
                      <a:pt x="692944" y="407194"/>
                    </a:lnTo>
                    <a:lnTo>
                      <a:pt x="695325" y="442913"/>
                    </a:lnTo>
                    <a:lnTo>
                      <a:pt x="652462" y="490538"/>
                    </a:lnTo>
                    <a:lnTo>
                      <a:pt x="676275" y="528638"/>
                    </a:lnTo>
                    <a:lnTo>
                      <a:pt x="721519" y="550069"/>
                    </a:lnTo>
                    <a:lnTo>
                      <a:pt x="726281" y="595313"/>
                    </a:lnTo>
                    <a:lnTo>
                      <a:pt x="697706" y="626269"/>
                    </a:lnTo>
                    <a:lnTo>
                      <a:pt x="642937" y="635794"/>
                    </a:lnTo>
                    <a:lnTo>
                      <a:pt x="616744" y="642938"/>
                    </a:lnTo>
                    <a:lnTo>
                      <a:pt x="623887" y="673894"/>
                    </a:lnTo>
                    <a:lnTo>
                      <a:pt x="597694" y="714375"/>
                    </a:lnTo>
                    <a:cubicBezTo>
                      <a:pt x="576636" y="724904"/>
                      <a:pt x="583664" y="718880"/>
                      <a:pt x="573881" y="728663"/>
                    </a:cubicBezTo>
                    <a:lnTo>
                      <a:pt x="557212" y="740569"/>
                    </a:lnTo>
                    <a:lnTo>
                      <a:pt x="550069" y="697706"/>
                    </a:lnTo>
                    <a:lnTo>
                      <a:pt x="507206" y="688181"/>
                    </a:lnTo>
                    <a:lnTo>
                      <a:pt x="504825" y="709613"/>
                    </a:lnTo>
                    <a:lnTo>
                      <a:pt x="464344" y="711994"/>
                    </a:lnTo>
                    <a:lnTo>
                      <a:pt x="452437" y="695325"/>
                    </a:lnTo>
                    <a:lnTo>
                      <a:pt x="447675" y="740569"/>
                    </a:lnTo>
                    <a:lnTo>
                      <a:pt x="426244" y="764381"/>
                    </a:lnTo>
                    <a:lnTo>
                      <a:pt x="404812" y="745331"/>
                    </a:lnTo>
                    <a:lnTo>
                      <a:pt x="371475" y="785813"/>
                    </a:lnTo>
                    <a:lnTo>
                      <a:pt x="371475" y="850106"/>
                    </a:lnTo>
                    <a:cubicBezTo>
                      <a:pt x="351170" y="870411"/>
                      <a:pt x="360457" y="865139"/>
                      <a:pt x="347662" y="871538"/>
                    </a:cubicBezTo>
                    <a:lnTo>
                      <a:pt x="323850" y="895350"/>
                    </a:lnTo>
                    <a:lnTo>
                      <a:pt x="278606" y="883444"/>
                    </a:lnTo>
                    <a:lnTo>
                      <a:pt x="235744" y="892969"/>
                    </a:lnTo>
                    <a:lnTo>
                      <a:pt x="183356" y="871538"/>
                    </a:lnTo>
                    <a:lnTo>
                      <a:pt x="183356" y="842963"/>
                    </a:lnTo>
                    <a:lnTo>
                      <a:pt x="202406" y="826294"/>
                    </a:lnTo>
                    <a:lnTo>
                      <a:pt x="221456" y="804863"/>
                    </a:lnTo>
                    <a:lnTo>
                      <a:pt x="114300" y="792956"/>
                    </a:lnTo>
                    <a:lnTo>
                      <a:pt x="64294" y="812006"/>
                    </a:lnTo>
                    <a:lnTo>
                      <a:pt x="33337" y="764381"/>
                    </a:lnTo>
                    <a:lnTo>
                      <a:pt x="26194" y="726281"/>
                    </a:lnTo>
                    <a:lnTo>
                      <a:pt x="7144" y="692944"/>
                    </a:lnTo>
                    <a:lnTo>
                      <a:pt x="16669" y="635794"/>
                    </a:lnTo>
                    <a:lnTo>
                      <a:pt x="66675" y="569119"/>
                    </a:lnTo>
                    <a:lnTo>
                      <a:pt x="71437" y="504825"/>
                    </a:lnTo>
                    <a:lnTo>
                      <a:pt x="64294" y="473869"/>
                    </a:lnTo>
                    <a:lnTo>
                      <a:pt x="50006" y="459581"/>
                    </a:lnTo>
                    <a:lnTo>
                      <a:pt x="85725" y="428625"/>
                    </a:lnTo>
                    <a:lnTo>
                      <a:pt x="100012" y="378619"/>
                    </a:lnTo>
                    <a:lnTo>
                      <a:pt x="85725" y="369094"/>
                    </a:lnTo>
                    <a:lnTo>
                      <a:pt x="64294" y="364331"/>
                    </a:lnTo>
                    <a:lnTo>
                      <a:pt x="28575" y="326231"/>
                    </a:ln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9" name="Figura a mano libera 138"/>
              <p:cNvSpPr/>
              <p:nvPr/>
            </p:nvSpPr>
            <p:spPr bwMode="auto">
              <a:xfrm>
                <a:off x="8916503" y="1928011"/>
                <a:ext cx="601269" cy="517668"/>
              </a:xfrm>
              <a:custGeom>
                <a:avLst/>
                <a:gdLst>
                  <a:gd name="connsiteX0" fmla="*/ 216693 w 764381"/>
                  <a:gd name="connsiteY0" fmla="*/ 0 h 714375"/>
                  <a:gd name="connsiteX1" fmla="*/ 180975 w 764381"/>
                  <a:gd name="connsiteY1" fmla="*/ 80963 h 714375"/>
                  <a:gd name="connsiteX2" fmla="*/ 164306 w 764381"/>
                  <a:gd name="connsiteY2" fmla="*/ 114300 h 714375"/>
                  <a:gd name="connsiteX3" fmla="*/ 123825 w 764381"/>
                  <a:gd name="connsiteY3" fmla="*/ 109538 h 714375"/>
                  <a:gd name="connsiteX4" fmla="*/ 102393 w 764381"/>
                  <a:gd name="connsiteY4" fmla="*/ 147638 h 714375"/>
                  <a:gd name="connsiteX5" fmla="*/ 73818 w 764381"/>
                  <a:gd name="connsiteY5" fmla="*/ 202406 h 714375"/>
                  <a:gd name="connsiteX6" fmla="*/ 38100 w 764381"/>
                  <a:gd name="connsiteY6" fmla="*/ 211931 h 714375"/>
                  <a:gd name="connsiteX7" fmla="*/ 7143 w 764381"/>
                  <a:gd name="connsiteY7" fmla="*/ 209550 h 714375"/>
                  <a:gd name="connsiteX8" fmla="*/ 26193 w 764381"/>
                  <a:gd name="connsiteY8" fmla="*/ 235744 h 714375"/>
                  <a:gd name="connsiteX9" fmla="*/ 0 w 764381"/>
                  <a:gd name="connsiteY9" fmla="*/ 254794 h 714375"/>
                  <a:gd name="connsiteX10" fmla="*/ 21431 w 764381"/>
                  <a:gd name="connsiteY10" fmla="*/ 266700 h 714375"/>
                  <a:gd name="connsiteX11" fmla="*/ 59531 w 764381"/>
                  <a:gd name="connsiteY11" fmla="*/ 280988 h 714375"/>
                  <a:gd name="connsiteX12" fmla="*/ 78581 w 764381"/>
                  <a:gd name="connsiteY12" fmla="*/ 311944 h 714375"/>
                  <a:gd name="connsiteX13" fmla="*/ 88106 w 764381"/>
                  <a:gd name="connsiteY13" fmla="*/ 354806 h 714375"/>
                  <a:gd name="connsiteX14" fmla="*/ 35718 w 764381"/>
                  <a:gd name="connsiteY14" fmla="*/ 395288 h 714375"/>
                  <a:gd name="connsiteX15" fmla="*/ 85725 w 764381"/>
                  <a:gd name="connsiteY15" fmla="*/ 464344 h 714375"/>
                  <a:gd name="connsiteX16" fmla="*/ 92868 w 764381"/>
                  <a:gd name="connsiteY16" fmla="*/ 519113 h 714375"/>
                  <a:gd name="connsiteX17" fmla="*/ 130968 w 764381"/>
                  <a:gd name="connsiteY17" fmla="*/ 535781 h 714375"/>
                  <a:gd name="connsiteX18" fmla="*/ 138112 w 764381"/>
                  <a:gd name="connsiteY18" fmla="*/ 557213 h 714375"/>
                  <a:gd name="connsiteX19" fmla="*/ 183356 w 764381"/>
                  <a:gd name="connsiteY19" fmla="*/ 535781 h 714375"/>
                  <a:gd name="connsiteX20" fmla="*/ 214312 w 764381"/>
                  <a:gd name="connsiteY20" fmla="*/ 511969 h 714375"/>
                  <a:gd name="connsiteX21" fmla="*/ 261937 w 764381"/>
                  <a:gd name="connsiteY21" fmla="*/ 533400 h 714375"/>
                  <a:gd name="connsiteX22" fmla="*/ 297656 w 764381"/>
                  <a:gd name="connsiteY22" fmla="*/ 521494 h 714375"/>
                  <a:gd name="connsiteX23" fmla="*/ 311943 w 764381"/>
                  <a:gd name="connsiteY23" fmla="*/ 547688 h 714375"/>
                  <a:gd name="connsiteX24" fmla="*/ 333375 w 764381"/>
                  <a:gd name="connsiteY24" fmla="*/ 585788 h 714375"/>
                  <a:gd name="connsiteX25" fmla="*/ 335756 w 764381"/>
                  <a:gd name="connsiteY25" fmla="*/ 616744 h 714375"/>
                  <a:gd name="connsiteX26" fmla="*/ 345281 w 764381"/>
                  <a:gd name="connsiteY26" fmla="*/ 654844 h 714375"/>
                  <a:gd name="connsiteX27" fmla="*/ 345281 w 764381"/>
                  <a:gd name="connsiteY27" fmla="*/ 611981 h 714375"/>
                  <a:gd name="connsiteX28" fmla="*/ 385762 w 764381"/>
                  <a:gd name="connsiteY28" fmla="*/ 595313 h 714375"/>
                  <a:gd name="connsiteX29" fmla="*/ 395287 w 764381"/>
                  <a:gd name="connsiteY29" fmla="*/ 569119 h 714375"/>
                  <a:gd name="connsiteX30" fmla="*/ 435768 w 764381"/>
                  <a:gd name="connsiteY30" fmla="*/ 588169 h 714375"/>
                  <a:gd name="connsiteX31" fmla="*/ 502443 w 764381"/>
                  <a:gd name="connsiteY31" fmla="*/ 607219 h 714375"/>
                  <a:gd name="connsiteX32" fmla="*/ 509587 w 764381"/>
                  <a:gd name="connsiteY32" fmla="*/ 642938 h 714375"/>
                  <a:gd name="connsiteX33" fmla="*/ 542925 w 764381"/>
                  <a:gd name="connsiteY33" fmla="*/ 623888 h 714375"/>
                  <a:gd name="connsiteX34" fmla="*/ 585787 w 764381"/>
                  <a:gd name="connsiteY34" fmla="*/ 607219 h 714375"/>
                  <a:gd name="connsiteX35" fmla="*/ 592931 w 764381"/>
                  <a:gd name="connsiteY35" fmla="*/ 557213 h 714375"/>
                  <a:gd name="connsiteX36" fmla="*/ 628650 w 764381"/>
                  <a:gd name="connsiteY36" fmla="*/ 600075 h 714375"/>
                  <a:gd name="connsiteX37" fmla="*/ 635793 w 764381"/>
                  <a:gd name="connsiteY37" fmla="*/ 619125 h 714375"/>
                  <a:gd name="connsiteX38" fmla="*/ 659606 w 764381"/>
                  <a:gd name="connsiteY38" fmla="*/ 642938 h 714375"/>
                  <a:gd name="connsiteX39" fmla="*/ 664368 w 764381"/>
                  <a:gd name="connsiteY39" fmla="*/ 666750 h 714375"/>
                  <a:gd name="connsiteX40" fmla="*/ 669131 w 764381"/>
                  <a:gd name="connsiteY40" fmla="*/ 676275 h 714375"/>
                  <a:gd name="connsiteX41" fmla="*/ 678656 w 764381"/>
                  <a:gd name="connsiteY41" fmla="*/ 692944 h 714375"/>
                  <a:gd name="connsiteX42" fmla="*/ 731043 w 764381"/>
                  <a:gd name="connsiteY42" fmla="*/ 714375 h 714375"/>
                  <a:gd name="connsiteX43" fmla="*/ 764381 w 764381"/>
                  <a:gd name="connsiteY43" fmla="*/ 678656 h 714375"/>
                  <a:gd name="connsiteX44" fmla="*/ 709612 w 764381"/>
                  <a:gd name="connsiteY44" fmla="*/ 614363 h 714375"/>
                  <a:gd name="connsiteX45" fmla="*/ 688181 w 764381"/>
                  <a:gd name="connsiteY45" fmla="*/ 583406 h 714375"/>
                  <a:gd name="connsiteX46" fmla="*/ 635793 w 764381"/>
                  <a:gd name="connsiteY46" fmla="*/ 561975 h 714375"/>
                  <a:gd name="connsiteX47" fmla="*/ 602456 w 764381"/>
                  <a:gd name="connsiteY47" fmla="*/ 561975 h 714375"/>
                  <a:gd name="connsiteX48" fmla="*/ 595312 w 764381"/>
                  <a:gd name="connsiteY48" fmla="*/ 509588 h 714375"/>
                  <a:gd name="connsiteX49" fmla="*/ 631031 w 764381"/>
                  <a:gd name="connsiteY49" fmla="*/ 485775 h 714375"/>
                  <a:gd name="connsiteX50" fmla="*/ 628650 w 764381"/>
                  <a:gd name="connsiteY50" fmla="*/ 438150 h 714375"/>
                  <a:gd name="connsiteX51" fmla="*/ 628650 w 764381"/>
                  <a:gd name="connsiteY51" fmla="*/ 433388 h 714375"/>
                  <a:gd name="connsiteX52" fmla="*/ 581025 w 764381"/>
                  <a:gd name="connsiteY52" fmla="*/ 450056 h 714375"/>
                  <a:gd name="connsiteX53" fmla="*/ 559593 w 764381"/>
                  <a:gd name="connsiteY53" fmla="*/ 431006 h 714375"/>
                  <a:gd name="connsiteX54" fmla="*/ 573881 w 764381"/>
                  <a:gd name="connsiteY54" fmla="*/ 402431 h 714375"/>
                  <a:gd name="connsiteX55" fmla="*/ 564356 w 764381"/>
                  <a:gd name="connsiteY55" fmla="*/ 378619 h 714375"/>
                  <a:gd name="connsiteX56" fmla="*/ 654843 w 764381"/>
                  <a:gd name="connsiteY56" fmla="*/ 323850 h 714375"/>
                  <a:gd name="connsiteX57" fmla="*/ 642937 w 764381"/>
                  <a:gd name="connsiteY57" fmla="*/ 307181 h 714375"/>
                  <a:gd name="connsiteX58" fmla="*/ 592931 w 764381"/>
                  <a:gd name="connsiteY58" fmla="*/ 307181 h 714375"/>
                  <a:gd name="connsiteX59" fmla="*/ 578643 w 764381"/>
                  <a:gd name="connsiteY59" fmla="*/ 280988 h 714375"/>
                  <a:gd name="connsiteX60" fmla="*/ 540543 w 764381"/>
                  <a:gd name="connsiteY60" fmla="*/ 292894 h 714375"/>
                  <a:gd name="connsiteX61" fmla="*/ 528637 w 764381"/>
                  <a:gd name="connsiteY61" fmla="*/ 278606 h 714375"/>
                  <a:gd name="connsiteX62" fmla="*/ 509587 w 764381"/>
                  <a:gd name="connsiteY62" fmla="*/ 247650 h 714375"/>
                  <a:gd name="connsiteX63" fmla="*/ 545306 w 764381"/>
                  <a:gd name="connsiteY63" fmla="*/ 209550 h 714375"/>
                  <a:gd name="connsiteX64" fmla="*/ 547687 w 764381"/>
                  <a:gd name="connsiteY64" fmla="*/ 185738 h 714375"/>
                  <a:gd name="connsiteX65" fmla="*/ 621506 w 764381"/>
                  <a:gd name="connsiteY65" fmla="*/ 157163 h 714375"/>
                  <a:gd name="connsiteX66" fmla="*/ 638175 w 764381"/>
                  <a:gd name="connsiteY66" fmla="*/ 142875 h 714375"/>
                  <a:gd name="connsiteX67" fmla="*/ 657225 w 764381"/>
                  <a:gd name="connsiteY67" fmla="*/ 135731 h 714375"/>
                  <a:gd name="connsiteX68" fmla="*/ 669131 w 764381"/>
                  <a:gd name="connsiteY68" fmla="*/ 90488 h 714375"/>
                  <a:gd name="connsiteX69" fmla="*/ 569118 w 764381"/>
                  <a:gd name="connsiteY69" fmla="*/ 76200 h 714375"/>
                  <a:gd name="connsiteX70" fmla="*/ 502443 w 764381"/>
                  <a:gd name="connsiteY70" fmla="*/ 54769 h 714375"/>
                  <a:gd name="connsiteX71" fmla="*/ 478631 w 764381"/>
                  <a:gd name="connsiteY71" fmla="*/ 69056 h 714375"/>
                  <a:gd name="connsiteX72" fmla="*/ 450056 w 764381"/>
                  <a:gd name="connsiteY72" fmla="*/ 78581 h 714375"/>
                  <a:gd name="connsiteX73" fmla="*/ 400050 w 764381"/>
                  <a:gd name="connsiteY73" fmla="*/ 35719 h 714375"/>
                  <a:gd name="connsiteX74" fmla="*/ 354806 w 764381"/>
                  <a:gd name="connsiteY74" fmla="*/ 40481 h 714375"/>
                  <a:gd name="connsiteX75" fmla="*/ 290512 w 764381"/>
                  <a:gd name="connsiteY75" fmla="*/ 28575 h 714375"/>
                  <a:gd name="connsiteX76" fmla="*/ 269081 w 764381"/>
                  <a:gd name="connsiteY76" fmla="*/ 38100 h 714375"/>
                  <a:gd name="connsiteX77" fmla="*/ 216693 w 764381"/>
                  <a:gd name="connsiteY77" fmla="*/ 0 h 714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764381" h="714375">
                    <a:moveTo>
                      <a:pt x="216693" y="0"/>
                    </a:moveTo>
                    <a:lnTo>
                      <a:pt x="180975" y="80963"/>
                    </a:lnTo>
                    <a:lnTo>
                      <a:pt x="164306" y="114300"/>
                    </a:lnTo>
                    <a:lnTo>
                      <a:pt x="123825" y="109538"/>
                    </a:lnTo>
                    <a:lnTo>
                      <a:pt x="102393" y="147638"/>
                    </a:lnTo>
                    <a:lnTo>
                      <a:pt x="73818" y="202406"/>
                    </a:lnTo>
                    <a:lnTo>
                      <a:pt x="38100" y="211931"/>
                    </a:lnTo>
                    <a:lnTo>
                      <a:pt x="7143" y="209550"/>
                    </a:lnTo>
                    <a:lnTo>
                      <a:pt x="26193" y="235744"/>
                    </a:lnTo>
                    <a:lnTo>
                      <a:pt x="0" y="254794"/>
                    </a:lnTo>
                    <a:lnTo>
                      <a:pt x="21431" y="266700"/>
                    </a:lnTo>
                    <a:lnTo>
                      <a:pt x="59531" y="280988"/>
                    </a:lnTo>
                    <a:lnTo>
                      <a:pt x="78581" y="311944"/>
                    </a:lnTo>
                    <a:lnTo>
                      <a:pt x="88106" y="354806"/>
                    </a:lnTo>
                    <a:lnTo>
                      <a:pt x="35718" y="395288"/>
                    </a:lnTo>
                    <a:lnTo>
                      <a:pt x="85725" y="464344"/>
                    </a:lnTo>
                    <a:lnTo>
                      <a:pt x="92868" y="519113"/>
                    </a:lnTo>
                    <a:lnTo>
                      <a:pt x="130968" y="535781"/>
                    </a:lnTo>
                    <a:lnTo>
                      <a:pt x="138112" y="557213"/>
                    </a:lnTo>
                    <a:lnTo>
                      <a:pt x="183356" y="535781"/>
                    </a:lnTo>
                    <a:lnTo>
                      <a:pt x="214312" y="511969"/>
                    </a:lnTo>
                    <a:lnTo>
                      <a:pt x="261937" y="533400"/>
                    </a:lnTo>
                    <a:lnTo>
                      <a:pt x="297656" y="521494"/>
                    </a:lnTo>
                    <a:lnTo>
                      <a:pt x="311943" y="547688"/>
                    </a:lnTo>
                    <a:lnTo>
                      <a:pt x="333375" y="585788"/>
                    </a:lnTo>
                    <a:lnTo>
                      <a:pt x="335756" y="616744"/>
                    </a:lnTo>
                    <a:lnTo>
                      <a:pt x="345281" y="654844"/>
                    </a:lnTo>
                    <a:lnTo>
                      <a:pt x="345281" y="611981"/>
                    </a:lnTo>
                    <a:lnTo>
                      <a:pt x="385762" y="595313"/>
                    </a:lnTo>
                    <a:lnTo>
                      <a:pt x="395287" y="569119"/>
                    </a:lnTo>
                    <a:lnTo>
                      <a:pt x="435768" y="588169"/>
                    </a:lnTo>
                    <a:lnTo>
                      <a:pt x="502443" y="607219"/>
                    </a:lnTo>
                    <a:lnTo>
                      <a:pt x="509587" y="642938"/>
                    </a:lnTo>
                    <a:lnTo>
                      <a:pt x="542925" y="623888"/>
                    </a:lnTo>
                    <a:lnTo>
                      <a:pt x="585787" y="607219"/>
                    </a:lnTo>
                    <a:lnTo>
                      <a:pt x="592931" y="557213"/>
                    </a:lnTo>
                    <a:lnTo>
                      <a:pt x="628650" y="600075"/>
                    </a:lnTo>
                    <a:lnTo>
                      <a:pt x="635793" y="619125"/>
                    </a:lnTo>
                    <a:lnTo>
                      <a:pt x="659606" y="642938"/>
                    </a:lnTo>
                    <a:cubicBezTo>
                      <a:pt x="661193" y="650875"/>
                      <a:pt x="662144" y="658967"/>
                      <a:pt x="664368" y="666750"/>
                    </a:cubicBezTo>
                    <a:cubicBezTo>
                      <a:pt x="665343" y="670163"/>
                      <a:pt x="669131" y="676275"/>
                      <a:pt x="669131" y="676275"/>
                    </a:cubicBezTo>
                    <a:lnTo>
                      <a:pt x="678656" y="692944"/>
                    </a:lnTo>
                    <a:lnTo>
                      <a:pt x="731043" y="714375"/>
                    </a:lnTo>
                    <a:lnTo>
                      <a:pt x="764381" y="678656"/>
                    </a:lnTo>
                    <a:lnTo>
                      <a:pt x="709612" y="614363"/>
                    </a:lnTo>
                    <a:lnTo>
                      <a:pt x="688181" y="583406"/>
                    </a:lnTo>
                    <a:lnTo>
                      <a:pt x="635793" y="561975"/>
                    </a:lnTo>
                    <a:lnTo>
                      <a:pt x="602456" y="561975"/>
                    </a:lnTo>
                    <a:lnTo>
                      <a:pt x="595312" y="509588"/>
                    </a:lnTo>
                    <a:lnTo>
                      <a:pt x="631031" y="485775"/>
                    </a:lnTo>
                    <a:lnTo>
                      <a:pt x="628650" y="438150"/>
                    </a:lnTo>
                    <a:lnTo>
                      <a:pt x="628650" y="433388"/>
                    </a:lnTo>
                    <a:lnTo>
                      <a:pt x="581025" y="450056"/>
                    </a:lnTo>
                    <a:lnTo>
                      <a:pt x="559593" y="431006"/>
                    </a:lnTo>
                    <a:lnTo>
                      <a:pt x="573881" y="402431"/>
                    </a:lnTo>
                    <a:lnTo>
                      <a:pt x="564356" y="378619"/>
                    </a:lnTo>
                    <a:lnTo>
                      <a:pt x="654843" y="323850"/>
                    </a:lnTo>
                    <a:lnTo>
                      <a:pt x="642937" y="307181"/>
                    </a:lnTo>
                    <a:lnTo>
                      <a:pt x="592931" y="307181"/>
                    </a:lnTo>
                    <a:lnTo>
                      <a:pt x="578643" y="280988"/>
                    </a:lnTo>
                    <a:lnTo>
                      <a:pt x="540543" y="292894"/>
                    </a:lnTo>
                    <a:lnTo>
                      <a:pt x="528637" y="278606"/>
                    </a:lnTo>
                    <a:lnTo>
                      <a:pt x="509587" y="247650"/>
                    </a:lnTo>
                    <a:lnTo>
                      <a:pt x="545306" y="209550"/>
                    </a:lnTo>
                    <a:lnTo>
                      <a:pt x="547687" y="185738"/>
                    </a:lnTo>
                    <a:lnTo>
                      <a:pt x="621506" y="157163"/>
                    </a:lnTo>
                    <a:lnTo>
                      <a:pt x="638175" y="142875"/>
                    </a:lnTo>
                    <a:lnTo>
                      <a:pt x="657225" y="135731"/>
                    </a:lnTo>
                    <a:lnTo>
                      <a:pt x="669131" y="90488"/>
                    </a:lnTo>
                    <a:lnTo>
                      <a:pt x="569118" y="76200"/>
                    </a:lnTo>
                    <a:lnTo>
                      <a:pt x="502443" y="54769"/>
                    </a:lnTo>
                    <a:lnTo>
                      <a:pt x="478631" y="69056"/>
                    </a:lnTo>
                    <a:lnTo>
                      <a:pt x="450056" y="78581"/>
                    </a:lnTo>
                    <a:lnTo>
                      <a:pt x="400050" y="35719"/>
                    </a:lnTo>
                    <a:lnTo>
                      <a:pt x="354806" y="40481"/>
                    </a:lnTo>
                    <a:lnTo>
                      <a:pt x="290512" y="28575"/>
                    </a:lnTo>
                    <a:lnTo>
                      <a:pt x="269081" y="38100"/>
                    </a:lnTo>
                    <a:lnTo>
                      <a:pt x="216693" y="0"/>
                    </a:ln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0" name="Figura a mano libera 139"/>
              <p:cNvSpPr/>
              <p:nvPr/>
            </p:nvSpPr>
            <p:spPr bwMode="auto">
              <a:xfrm>
                <a:off x="8260045" y="1913065"/>
                <a:ext cx="926592" cy="899464"/>
              </a:xfrm>
              <a:custGeom>
                <a:avLst/>
                <a:gdLst>
                  <a:gd name="connsiteX0" fmla="*/ 812006 w 1176338"/>
                  <a:gd name="connsiteY0" fmla="*/ 1188244 h 1240631"/>
                  <a:gd name="connsiteX1" fmla="*/ 850106 w 1176338"/>
                  <a:gd name="connsiteY1" fmla="*/ 1240631 h 1240631"/>
                  <a:gd name="connsiteX2" fmla="*/ 900113 w 1176338"/>
                  <a:gd name="connsiteY2" fmla="*/ 1188244 h 1240631"/>
                  <a:gd name="connsiteX3" fmla="*/ 921544 w 1176338"/>
                  <a:gd name="connsiteY3" fmla="*/ 1112044 h 1240631"/>
                  <a:gd name="connsiteX4" fmla="*/ 885825 w 1176338"/>
                  <a:gd name="connsiteY4" fmla="*/ 1100137 h 1240631"/>
                  <a:gd name="connsiteX5" fmla="*/ 845344 w 1176338"/>
                  <a:gd name="connsiteY5" fmla="*/ 1064419 h 1240631"/>
                  <a:gd name="connsiteX6" fmla="*/ 833438 w 1176338"/>
                  <a:gd name="connsiteY6" fmla="*/ 1028700 h 1240631"/>
                  <a:gd name="connsiteX7" fmla="*/ 819150 w 1176338"/>
                  <a:gd name="connsiteY7" fmla="*/ 995362 h 1240631"/>
                  <a:gd name="connsiteX8" fmla="*/ 816769 w 1176338"/>
                  <a:gd name="connsiteY8" fmla="*/ 947737 h 1240631"/>
                  <a:gd name="connsiteX9" fmla="*/ 804863 w 1176338"/>
                  <a:gd name="connsiteY9" fmla="*/ 933450 h 1240631"/>
                  <a:gd name="connsiteX10" fmla="*/ 783431 w 1176338"/>
                  <a:gd name="connsiteY10" fmla="*/ 971550 h 1240631"/>
                  <a:gd name="connsiteX11" fmla="*/ 762000 w 1176338"/>
                  <a:gd name="connsiteY11" fmla="*/ 933450 h 1240631"/>
                  <a:gd name="connsiteX12" fmla="*/ 771525 w 1176338"/>
                  <a:gd name="connsiteY12" fmla="*/ 888206 h 1240631"/>
                  <a:gd name="connsiteX13" fmla="*/ 804863 w 1176338"/>
                  <a:gd name="connsiteY13" fmla="*/ 852487 h 1240631"/>
                  <a:gd name="connsiteX14" fmla="*/ 797719 w 1176338"/>
                  <a:gd name="connsiteY14" fmla="*/ 835819 h 1240631"/>
                  <a:gd name="connsiteX15" fmla="*/ 828675 w 1176338"/>
                  <a:gd name="connsiteY15" fmla="*/ 776287 h 1240631"/>
                  <a:gd name="connsiteX16" fmla="*/ 852488 w 1176338"/>
                  <a:gd name="connsiteY16" fmla="*/ 771525 h 1240631"/>
                  <a:gd name="connsiteX17" fmla="*/ 902494 w 1176338"/>
                  <a:gd name="connsiteY17" fmla="*/ 776287 h 1240631"/>
                  <a:gd name="connsiteX18" fmla="*/ 892969 w 1176338"/>
                  <a:gd name="connsiteY18" fmla="*/ 802481 h 1240631"/>
                  <a:gd name="connsiteX19" fmla="*/ 959644 w 1176338"/>
                  <a:gd name="connsiteY19" fmla="*/ 785812 h 1240631"/>
                  <a:gd name="connsiteX20" fmla="*/ 1076325 w 1176338"/>
                  <a:gd name="connsiteY20" fmla="*/ 740569 h 1240631"/>
                  <a:gd name="connsiteX21" fmla="*/ 1107281 w 1176338"/>
                  <a:gd name="connsiteY21" fmla="*/ 695325 h 1240631"/>
                  <a:gd name="connsiteX22" fmla="*/ 1176338 w 1176338"/>
                  <a:gd name="connsiteY22" fmla="*/ 695325 h 1240631"/>
                  <a:gd name="connsiteX23" fmla="*/ 1171575 w 1176338"/>
                  <a:gd name="connsiteY23" fmla="*/ 671512 h 1240631"/>
                  <a:gd name="connsiteX24" fmla="*/ 1173956 w 1176338"/>
                  <a:gd name="connsiteY24" fmla="*/ 600075 h 1240631"/>
                  <a:gd name="connsiteX25" fmla="*/ 1138238 w 1176338"/>
                  <a:gd name="connsiteY25" fmla="*/ 547687 h 1240631"/>
                  <a:gd name="connsiteX26" fmla="*/ 1100138 w 1176338"/>
                  <a:gd name="connsiteY26" fmla="*/ 557212 h 1240631"/>
                  <a:gd name="connsiteX27" fmla="*/ 1050131 w 1176338"/>
                  <a:gd name="connsiteY27" fmla="*/ 533400 h 1240631"/>
                  <a:gd name="connsiteX28" fmla="*/ 978694 w 1176338"/>
                  <a:gd name="connsiteY28" fmla="*/ 576262 h 1240631"/>
                  <a:gd name="connsiteX29" fmla="*/ 964406 w 1176338"/>
                  <a:gd name="connsiteY29" fmla="*/ 557212 h 1240631"/>
                  <a:gd name="connsiteX30" fmla="*/ 923925 w 1176338"/>
                  <a:gd name="connsiteY30" fmla="*/ 542925 h 1240631"/>
                  <a:gd name="connsiteX31" fmla="*/ 923925 w 1176338"/>
                  <a:gd name="connsiteY31" fmla="*/ 492919 h 1240631"/>
                  <a:gd name="connsiteX32" fmla="*/ 866775 w 1176338"/>
                  <a:gd name="connsiteY32" fmla="*/ 419100 h 1240631"/>
                  <a:gd name="connsiteX33" fmla="*/ 935831 w 1176338"/>
                  <a:gd name="connsiteY33" fmla="*/ 373856 h 1240631"/>
                  <a:gd name="connsiteX34" fmla="*/ 907256 w 1176338"/>
                  <a:gd name="connsiteY34" fmla="*/ 314325 h 1240631"/>
                  <a:gd name="connsiteX35" fmla="*/ 878681 w 1176338"/>
                  <a:gd name="connsiteY35" fmla="*/ 297656 h 1240631"/>
                  <a:gd name="connsiteX36" fmla="*/ 831056 w 1176338"/>
                  <a:gd name="connsiteY36" fmla="*/ 283369 h 1240631"/>
                  <a:gd name="connsiteX37" fmla="*/ 852488 w 1176338"/>
                  <a:gd name="connsiteY37" fmla="*/ 264319 h 1240631"/>
                  <a:gd name="connsiteX38" fmla="*/ 838200 w 1176338"/>
                  <a:gd name="connsiteY38" fmla="*/ 228600 h 1240631"/>
                  <a:gd name="connsiteX39" fmla="*/ 919163 w 1176338"/>
                  <a:gd name="connsiteY39" fmla="*/ 230981 h 1240631"/>
                  <a:gd name="connsiteX40" fmla="*/ 957263 w 1176338"/>
                  <a:gd name="connsiteY40" fmla="*/ 128587 h 1240631"/>
                  <a:gd name="connsiteX41" fmla="*/ 1007269 w 1176338"/>
                  <a:gd name="connsiteY41" fmla="*/ 133350 h 1240631"/>
                  <a:gd name="connsiteX42" fmla="*/ 1059656 w 1176338"/>
                  <a:gd name="connsiteY42" fmla="*/ 26194 h 1240631"/>
                  <a:gd name="connsiteX43" fmla="*/ 1023938 w 1176338"/>
                  <a:gd name="connsiteY43" fmla="*/ 19050 h 1240631"/>
                  <a:gd name="connsiteX44" fmla="*/ 1002506 w 1176338"/>
                  <a:gd name="connsiteY44" fmla="*/ 0 h 1240631"/>
                  <a:gd name="connsiteX45" fmla="*/ 983456 w 1176338"/>
                  <a:gd name="connsiteY45" fmla="*/ 11906 h 1240631"/>
                  <a:gd name="connsiteX46" fmla="*/ 952500 w 1176338"/>
                  <a:gd name="connsiteY46" fmla="*/ 16669 h 1240631"/>
                  <a:gd name="connsiteX47" fmla="*/ 928688 w 1176338"/>
                  <a:gd name="connsiteY47" fmla="*/ 4762 h 1240631"/>
                  <a:gd name="connsiteX48" fmla="*/ 902494 w 1176338"/>
                  <a:gd name="connsiteY48" fmla="*/ 2381 h 1240631"/>
                  <a:gd name="connsiteX49" fmla="*/ 885825 w 1176338"/>
                  <a:gd name="connsiteY49" fmla="*/ 28575 h 1240631"/>
                  <a:gd name="connsiteX50" fmla="*/ 740569 w 1176338"/>
                  <a:gd name="connsiteY50" fmla="*/ 45244 h 1240631"/>
                  <a:gd name="connsiteX51" fmla="*/ 740569 w 1176338"/>
                  <a:gd name="connsiteY51" fmla="*/ 11906 h 1240631"/>
                  <a:gd name="connsiteX52" fmla="*/ 704850 w 1176338"/>
                  <a:gd name="connsiteY52" fmla="*/ 52387 h 1240631"/>
                  <a:gd name="connsiteX53" fmla="*/ 704850 w 1176338"/>
                  <a:gd name="connsiteY53" fmla="*/ 71437 h 1240631"/>
                  <a:gd name="connsiteX54" fmla="*/ 583406 w 1176338"/>
                  <a:gd name="connsiteY54" fmla="*/ 111919 h 1240631"/>
                  <a:gd name="connsiteX55" fmla="*/ 614363 w 1176338"/>
                  <a:gd name="connsiteY55" fmla="*/ 140494 h 1240631"/>
                  <a:gd name="connsiteX56" fmla="*/ 616744 w 1176338"/>
                  <a:gd name="connsiteY56" fmla="*/ 178594 h 1240631"/>
                  <a:gd name="connsiteX57" fmla="*/ 573881 w 1176338"/>
                  <a:gd name="connsiteY57" fmla="*/ 211931 h 1240631"/>
                  <a:gd name="connsiteX58" fmla="*/ 600075 w 1176338"/>
                  <a:gd name="connsiteY58" fmla="*/ 259556 h 1240631"/>
                  <a:gd name="connsiteX59" fmla="*/ 647700 w 1176338"/>
                  <a:gd name="connsiteY59" fmla="*/ 276225 h 1240631"/>
                  <a:gd name="connsiteX60" fmla="*/ 645319 w 1176338"/>
                  <a:gd name="connsiteY60" fmla="*/ 323850 h 1240631"/>
                  <a:gd name="connsiteX61" fmla="*/ 619125 w 1176338"/>
                  <a:gd name="connsiteY61" fmla="*/ 357187 h 1240631"/>
                  <a:gd name="connsiteX62" fmla="*/ 542925 w 1176338"/>
                  <a:gd name="connsiteY62" fmla="*/ 366712 h 1240631"/>
                  <a:gd name="connsiteX63" fmla="*/ 545306 w 1176338"/>
                  <a:gd name="connsiteY63" fmla="*/ 400050 h 1240631"/>
                  <a:gd name="connsiteX64" fmla="*/ 528638 w 1176338"/>
                  <a:gd name="connsiteY64" fmla="*/ 440531 h 1240631"/>
                  <a:gd name="connsiteX65" fmla="*/ 476250 w 1176338"/>
                  <a:gd name="connsiteY65" fmla="*/ 457200 h 1240631"/>
                  <a:gd name="connsiteX66" fmla="*/ 471488 w 1176338"/>
                  <a:gd name="connsiteY66" fmla="*/ 414337 h 1240631"/>
                  <a:gd name="connsiteX67" fmla="*/ 440531 w 1176338"/>
                  <a:gd name="connsiteY67" fmla="*/ 411956 h 1240631"/>
                  <a:gd name="connsiteX68" fmla="*/ 426244 w 1176338"/>
                  <a:gd name="connsiteY68" fmla="*/ 440531 h 1240631"/>
                  <a:gd name="connsiteX69" fmla="*/ 383381 w 1176338"/>
                  <a:gd name="connsiteY69" fmla="*/ 438150 h 1240631"/>
                  <a:gd name="connsiteX70" fmla="*/ 381000 w 1176338"/>
                  <a:gd name="connsiteY70" fmla="*/ 416719 h 1240631"/>
                  <a:gd name="connsiteX71" fmla="*/ 373856 w 1176338"/>
                  <a:gd name="connsiteY71" fmla="*/ 459581 h 1240631"/>
                  <a:gd name="connsiteX72" fmla="*/ 369094 w 1176338"/>
                  <a:gd name="connsiteY72" fmla="*/ 481012 h 1240631"/>
                  <a:gd name="connsiteX73" fmla="*/ 342900 w 1176338"/>
                  <a:gd name="connsiteY73" fmla="*/ 490537 h 1240631"/>
                  <a:gd name="connsiteX74" fmla="*/ 340519 w 1176338"/>
                  <a:gd name="connsiteY74" fmla="*/ 471487 h 1240631"/>
                  <a:gd name="connsiteX75" fmla="*/ 288131 w 1176338"/>
                  <a:gd name="connsiteY75" fmla="*/ 509587 h 1240631"/>
                  <a:gd name="connsiteX76" fmla="*/ 295275 w 1176338"/>
                  <a:gd name="connsiteY76" fmla="*/ 576262 h 1240631"/>
                  <a:gd name="connsiteX77" fmla="*/ 252413 w 1176338"/>
                  <a:gd name="connsiteY77" fmla="*/ 614362 h 1240631"/>
                  <a:gd name="connsiteX78" fmla="*/ 192881 w 1176338"/>
                  <a:gd name="connsiteY78" fmla="*/ 604837 h 1240631"/>
                  <a:gd name="connsiteX79" fmla="*/ 152400 w 1176338"/>
                  <a:gd name="connsiteY79" fmla="*/ 611981 h 1240631"/>
                  <a:gd name="connsiteX80" fmla="*/ 114300 w 1176338"/>
                  <a:gd name="connsiteY80" fmla="*/ 611981 h 1240631"/>
                  <a:gd name="connsiteX81" fmla="*/ 109538 w 1176338"/>
                  <a:gd name="connsiteY81" fmla="*/ 590550 h 1240631"/>
                  <a:gd name="connsiteX82" fmla="*/ 116681 w 1176338"/>
                  <a:gd name="connsiteY82" fmla="*/ 559594 h 1240631"/>
                  <a:gd name="connsiteX83" fmla="*/ 121444 w 1176338"/>
                  <a:gd name="connsiteY83" fmla="*/ 540544 h 1240631"/>
                  <a:gd name="connsiteX84" fmla="*/ 0 w 1176338"/>
                  <a:gd name="connsiteY84" fmla="*/ 671512 h 1240631"/>
                  <a:gd name="connsiteX85" fmla="*/ 11906 w 1176338"/>
                  <a:gd name="connsiteY85" fmla="*/ 781050 h 1240631"/>
                  <a:gd name="connsiteX86" fmla="*/ 45244 w 1176338"/>
                  <a:gd name="connsiteY86" fmla="*/ 781050 h 1240631"/>
                  <a:gd name="connsiteX87" fmla="*/ 28575 w 1176338"/>
                  <a:gd name="connsiteY87" fmla="*/ 838200 h 1240631"/>
                  <a:gd name="connsiteX88" fmla="*/ 16669 w 1176338"/>
                  <a:gd name="connsiteY88" fmla="*/ 876300 h 1240631"/>
                  <a:gd name="connsiteX89" fmla="*/ 40481 w 1176338"/>
                  <a:gd name="connsiteY89" fmla="*/ 876300 h 1240631"/>
                  <a:gd name="connsiteX90" fmla="*/ 42863 w 1176338"/>
                  <a:gd name="connsiteY90" fmla="*/ 845344 h 1240631"/>
                  <a:gd name="connsiteX91" fmla="*/ 164306 w 1176338"/>
                  <a:gd name="connsiteY91" fmla="*/ 962025 h 1240631"/>
                  <a:gd name="connsiteX92" fmla="*/ 180975 w 1176338"/>
                  <a:gd name="connsiteY92" fmla="*/ 964406 h 1240631"/>
                  <a:gd name="connsiteX93" fmla="*/ 188119 w 1176338"/>
                  <a:gd name="connsiteY93" fmla="*/ 992981 h 1240631"/>
                  <a:gd name="connsiteX94" fmla="*/ 197644 w 1176338"/>
                  <a:gd name="connsiteY94" fmla="*/ 1019175 h 1240631"/>
                  <a:gd name="connsiteX95" fmla="*/ 271463 w 1176338"/>
                  <a:gd name="connsiteY95" fmla="*/ 1000125 h 1240631"/>
                  <a:gd name="connsiteX96" fmla="*/ 269081 w 1176338"/>
                  <a:gd name="connsiteY96" fmla="*/ 1047750 h 1240631"/>
                  <a:gd name="connsiteX97" fmla="*/ 354806 w 1176338"/>
                  <a:gd name="connsiteY97" fmla="*/ 1092994 h 1240631"/>
                  <a:gd name="connsiteX98" fmla="*/ 409575 w 1176338"/>
                  <a:gd name="connsiteY98" fmla="*/ 1119187 h 1240631"/>
                  <a:gd name="connsiteX99" fmla="*/ 447675 w 1176338"/>
                  <a:gd name="connsiteY99" fmla="*/ 1143000 h 1240631"/>
                  <a:gd name="connsiteX100" fmla="*/ 452438 w 1176338"/>
                  <a:gd name="connsiteY100" fmla="*/ 1166812 h 1240631"/>
                  <a:gd name="connsiteX101" fmla="*/ 504825 w 1176338"/>
                  <a:gd name="connsiteY101" fmla="*/ 1123950 h 1240631"/>
                  <a:gd name="connsiteX102" fmla="*/ 588169 w 1176338"/>
                  <a:gd name="connsiteY102" fmla="*/ 1100137 h 1240631"/>
                  <a:gd name="connsiteX103" fmla="*/ 678656 w 1176338"/>
                  <a:gd name="connsiteY103" fmla="*/ 1107281 h 1240631"/>
                  <a:gd name="connsiteX104" fmla="*/ 728663 w 1176338"/>
                  <a:gd name="connsiteY104" fmla="*/ 1131094 h 1240631"/>
                  <a:gd name="connsiteX105" fmla="*/ 747713 w 1176338"/>
                  <a:gd name="connsiteY105" fmla="*/ 1152525 h 1240631"/>
                  <a:gd name="connsiteX106" fmla="*/ 785813 w 1176338"/>
                  <a:gd name="connsiteY106" fmla="*/ 1128712 h 1240631"/>
                  <a:gd name="connsiteX107" fmla="*/ 812006 w 1176338"/>
                  <a:gd name="connsiteY107" fmla="*/ 1188244 h 12406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</a:cxnLst>
                <a:rect l="l" t="t" r="r" b="b"/>
                <a:pathLst>
                  <a:path w="1176338" h="1240631">
                    <a:moveTo>
                      <a:pt x="812006" y="1188244"/>
                    </a:moveTo>
                    <a:lnTo>
                      <a:pt x="850106" y="1240631"/>
                    </a:lnTo>
                    <a:lnTo>
                      <a:pt x="900113" y="1188244"/>
                    </a:lnTo>
                    <a:lnTo>
                      <a:pt x="921544" y="1112044"/>
                    </a:lnTo>
                    <a:lnTo>
                      <a:pt x="885825" y="1100137"/>
                    </a:lnTo>
                    <a:lnTo>
                      <a:pt x="845344" y="1064419"/>
                    </a:lnTo>
                    <a:lnTo>
                      <a:pt x="833438" y="1028700"/>
                    </a:lnTo>
                    <a:lnTo>
                      <a:pt x="819150" y="995362"/>
                    </a:lnTo>
                    <a:lnTo>
                      <a:pt x="816769" y="947737"/>
                    </a:lnTo>
                    <a:lnTo>
                      <a:pt x="804863" y="933450"/>
                    </a:lnTo>
                    <a:lnTo>
                      <a:pt x="783431" y="971550"/>
                    </a:lnTo>
                    <a:lnTo>
                      <a:pt x="762000" y="933450"/>
                    </a:lnTo>
                    <a:lnTo>
                      <a:pt x="771525" y="888206"/>
                    </a:lnTo>
                    <a:lnTo>
                      <a:pt x="804863" y="852487"/>
                    </a:lnTo>
                    <a:lnTo>
                      <a:pt x="797719" y="835819"/>
                    </a:lnTo>
                    <a:lnTo>
                      <a:pt x="828675" y="776287"/>
                    </a:lnTo>
                    <a:lnTo>
                      <a:pt x="852488" y="771525"/>
                    </a:lnTo>
                    <a:lnTo>
                      <a:pt x="902494" y="776287"/>
                    </a:lnTo>
                    <a:lnTo>
                      <a:pt x="892969" y="802481"/>
                    </a:lnTo>
                    <a:lnTo>
                      <a:pt x="959644" y="785812"/>
                    </a:lnTo>
                    <a:lnTo>
                      <a:pt x="1076325" y="740569"/>
                    </a:lnTo>
                    <a:lnTo>
                      <a:pt x="1107281" y="695325"/>
                    </a:lnTo>
                    <a:lnTo>
                      <a:pt x="1176338" y="695325"/>
                    </a:lnTo>
                    <a:lnTo>
                      <a:pt x="1171575" y="671512"/>
                    </a:lnTo>
                    <a:cubicBezTo>
                      <a:pt x="1172369" y="647700"/>
                      <a:pt x="1173162" y="623887"/>
                      <a:pt x="1173956" y="600075"/>
                    </a:cubicBezTo>
                    <a:lnTo>
                      <a:pt x="1138238" y="547687"/>
                    </a:lnTo>
                    <a:lnTo>
                      <a:pt x="1100138" y="557212"/>
                    </a:lnTo>
                    <a:lnTo>
                      <a:pt x="1050131" y="533400"/>
                    </a:lnTo>
                    <a:lnTo>
                      <a:pt x="978694" y="576262"/>
                    </a:lnTo>
                    <a:lnTo>
                      <a:pt x="964406" y="557212"/>
                    </a:lnTo>
                    <a:lnTo>
                      <a:pt x="923925" y="542925"/>
                    </a:lnTo>
                    <a:lnTo>
                      <a:pt x="923925" y="492919"/>
                    </a:lnTo>
                    <a:lnTo>
                      <a:pt x="866775" y="419100"/>
                    </a:lnTo>
                    <a:lnTo>
                      <a:pt x="935831" y="373856"/>
                    </a:lnTo>
                    <a:lnTo>
                      <a:pt x="907256" y="314325"/>
                    </a:lnTo>
                    <a:lnTo>
                      <a:pt x="878681" y="297656"/>
                    </a:lnTo>
                    <a:lnTo>
                      <a:pt x="831056" y="283369"/>
                    </a:lnTo>
                    <a:lnTo>
                      <a:pt x="852488" y="264319"/>
                    </a:lnTo>
                    <a:lnTo>
                      <a:pt x="838200" y="228600"/>
                    </a:lnTo>
                    <a:lnTo>
                      <a:pt x="919163" y="230981"/>
                    </a:lnTo>
                    <a:lnTo>
                      <a:pt x="957263" y="128587"/>
                    </a:lnTo>
                    <a:lnTo>
                      <a:pt x="1007269" y="133350"/>
                    </a:lnTo>
                    <a:lnTo>
                      <a:pt x="1059656" y="26194"/>
                    </a:lnTo>
                    <a:lnTo>
                      <a:pt x="1023938" y="19050"/>
                    </a:lnTo>
                    <a:lnTo>
                      <a:pt x="1002506" y="0"/>
                    </a:lnTo>
                    <a:lnTo>
                      <a:pt x="983456" y="11906"/>
                    </a:lnTo>
                    <a:lnTo>
                      <a:pt x="952500" y="16669"/>
                    </a:lnTo>
                    <a:lnTo>
                      <a:pt x="928688" y="4762"/>
                    </a:lnTo>
                    <a:lnTo>
                      <a:pt x="902494" y="2381"/>
                    </a:lnTo>
                    <a:lnTo>
                      <a:pt x="885825" y="28575"/>
                    </a:lnTo>
                    <a:lnTo>
                      <a:pt x="740569" y="45244"/>
                    </a:lnTo>
                    <a:lnTo>
                      <a:pt x="740569" y="11906"/>
                    </a:lnTo>
                    <a:lnTo>
                      <a:pt x="704850" y="52387"/>
                    </a:lnTo>
                    <a:lnTo>
                      <a:pt x="704850" y="71437"/>
                    </a:lnTo>
                    <a:lnTo>
                      <a:pt x="583406" y="111919"/>
                    </a:lnTo>
                    <a:lnTo>
                      <a:pt x="614363" y="140494"/>
                    </a:lnTo>
                    <a:lnTo>
                      <a:pt x="616744" y="178594"/>
                    </a:lnTo>
                    <a:lnTo>
                      <a:pt x="573881" y="211931"/>
                    </a:lnTo>
                    <a:lnTo>
                      <a:pt x="600075" y="259556"/>
                    </a:lnTo>
                    <a:lnTo>
                      <a:pt x="647700" y="276225"/>
                    </a:lnTo>
                    <a:lnTo>
                      <a:pt x="645319" y="323850"/>
                    </a:lnTo>
                    <a:lnTo>
                      <a:pt x="619125" y="357187"/>
                    </a:lnTo>
                    <a:lnTo>
                      <a:pt x="542925" y="366712"/>
                    </a:lnTo>
                    <a:lnTo>
                      <a:pt x="545306" y="400050"/>
                    </a:lnTo>
                    <a:lnTo>
                      <a:pt x="528638" y="440531"/>
                    </a:lnTo>
                    <a:lnTo>
                      <a:pt x="476250" y="457200"/>
                    </a:lnTo>
                    <a:lnTo>
                      <a:pt x="471488" y="414337"/>
                    </a:lnTo>
                    <a:lnTo>
                      <a:pt x="440531" y="411956"/>
                    </a:lnTo>
                    <a:lnTo>
                      <a:pt x="426244" y="440531"/>
                    </a:lnTo>
                    <a:lnTo>
                      <a:pt x="383381" y="438150"/>
                    </a:lnTo>
                    <a:lnTo>
                      <a:pt x="381000" y="416719"/>
                    </a:lnTo>
                    <a:lnTo>
                      <a:pt x="373856" y="459581"/>
                    </a:lnTo>
                    <a:lnTo>
                      <a:pt x="369094" y="481012"/>
                    </a:lnTo>
                    <a:lnTo>
                      <a:pt x="342900" y="490537"/>
                    </a:lnTo>
                    <a:lnTo>
                      <a:pt x="340519" y="471487"/>
                    </a:lnTo>
                    <a:lnTo>
                      <a:pt x="288131" y="509587"/>
                    </a:lnTo>
                    <a:lnTo>
                      <a:pt x="295275" y="576262"/>
                    </a:lnTo>
                    <a:lnTo>
                      <a:pt x="252413" y="614362"/>
                    </a:lnTo>
                    <a:lnTo>
                      <a:pt x="192881" y="604837"/>
                    </a:lnTo>
                    <a:lnTo>
                      <a:pt x="152400" y="611981"/>
                    </a:lnTo>
                    <a:lnTo>
                      <a:pt x="114300" y="611981"/>
                    </a:lnTo>
                    <a:lnTo>
                      <a:pt x="109538" y="590550"/>
                    </a:lnTo>
                    <a:lnTo>
                      <a:pt x="116681" y="559594"/>
                    </a:lnTo>
                    <a:lnTo>
                      <a:pt x="121444" y="540544"/>
                    </a:lnTo>
                    <a:lnTo>
                      <a:pt x="0" y="671512"/>
                    </a:lnTo>
                    <a:lnTo>
                      <a:pt x="11906" y="781050"/>
                    </a:lnTo>
                    <a:lnTo>
                      <a:pt x="45244" y="781050"/>
                    </a:lnTo>
                    <a:lnTo>
                      <a:pt x="28575" y="838200"/>
                    </a:lnTo>
                    <a:lnTo>
                      <a:pt x="16669" y="876300"/>
                    </a:lnTo>
                    <a:lnTo>
                      <a:pt x="40481" y="876300"/>
                    </a:lnTo>
                    <a:lnTo>
                      <a:pt x="42863" y="845344"/>
                    </a:lnTo>
                    <a:lnTo>
                      <a:pt x="164306" y="962025"/>
                    </a:lnTo>
                    <a:lnTo>
                      <a:pt x="180975" y="964406"/>
                    </a:lnTo>
                    <a:lnTo>
                      <a:pt x="188119" y="992981"/>
                    </a:lnTo>
                    <a:lnTo>
                      <a:pt x="197644" y="1019175"/>
                    </a:lnTo>
                    <a:lnTo>
                      <a:pt x="271463" y="1000125"/>
                    </a:lnTo>
                    <a:lnTo>
                      <a:pt x="269081" y="1047750"/>
                    </a:lnTo>
                    <a:lnTo>
                      <a:pt x="354806" y="1092994"/>
                    </a:lnTo>
                    <a:lnTo>
                      <a:pt x="409575" y="1119187"/>
                    </a:lnTo>
                    <a:lnTo>
                      <a:pt x="447675" y="1143000"/>
                    </a:lnTo>
                    <a:lnTo>
                      <a:pt x="452438" y="1166812"/>
                    </a:lnTo>
                    <a:lnTo>
                      <a:pt x="504825" y="1123950"/>
                    </a:lnTo>
                    <a:lnTo>
                      <a:pt x="588169" y="1100137"/>
                    </a:lnTo>
                    <a:lnTo>
                      <a:pt x="678656" y="1107281"/>
                    </a:lnTo>
                    <a:lnTo>
                      <a:pt x="728663" y="1131094"/>
                    </a:lnTo>
                    <a:lnTo>
                      <a:pt x="747713" y="1152525"/>
                    </a:lnTo>
                    <a:lnTo>
                      <a:pt x="785813" y="1128712"/>
                    </a:lnTo>
                    <a:lnTo>
                      <a:pt x="812006" y="1188244"/>
                    </a:ln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1" name="Figura a mano libera 140"/>
              <p:cNvSpPr/>
              <p:nvPr/>
            </p:nvSpPr>
            <p:spPr bwMode="auto">
              <a:xfrm>
                <a:off x="7870817" y="2922585"/>
                <a:ext cx="1036970" cy="1025824"/>
              </a:xfrm>
              <a:custGeom>
                <a:avLst/>
                <a:gdLst>
                  <a:gd name="connsiteX0" fmla="*/ 788193 w 1316831"/>
                  <a:gd name="connsiteY0" fmla="*/ 1402556 h 1414462"/>
                  <a:gd name="connsiteX1" fmla="*/ 738187 w 1316831"/>
                  <a:gd name="connsiteY1" fmla="*/ 1373981 h 1414462"/>
                  <a:gd name="connsiteX2" fmla="*/ 704850 w 1316831"/>
                  <a:gd name="connsiteY2" fmla="*/ 1390650 h 1414462"/>
                  <a:gd name="connsiteX3" fmla="*/ 685800 w 1316831"/>
                  <a:gd name="connsiteY3" fmla="*/ 1409700 h 1414462"/>
                  <a:gd name="connsiteX4" fmla="*/ 657225 w 1316831"/>
                  <a:gd name="connsiteY4" fmla="*/ 1414462 h 1414462"/>
                  <a:gd name="connsiteX5" fmla="*/ 638175 w 1316831"/>
                  <a:gd name="connsiteY5" fmla="*/ 1385887 h 1414462"/>
                  <a:gd name="connsiteX6" fmla="*/ 650081 w 1316831"/>
                  <a:gd name="connsiteY6" fmla="*/ 1354931 h 1414462"/>
                  <a:gd name="connsiteX7" fmla="*/ 664368 w 1316831"/>
                  <a:gd name="connsiteY7" fmla="*/ 1371600 h 1414462"/>
                  <a:gd name="connsiteX8" fmla="*/ 690562 w 1316831"/>
                  <a:gd name="connsiteY8" fmla="*/ 1359694 h 1414462"/>
                  <a:gd name="connsiteX9" fmla="*/ 690562 w 1316831"/>
                  <a:gd name="connsiteY9" fmla="*/ 1331119 h 1414462"/>
                  <a:gd name="connsiteX10" fmla="*/ 673893 w 1316831"/>
                  <a:gd name="connsiteY10" fmla="*/ 1281112 h 1414462"/>
                  <a:gd name="connsiteX11" fmla="*/ 631031 w 1316831"/>
                  <a:gd name="connsiteY11" fmla="*/ 1238250 h 1414462"/>
                  <a:gd name="connsiteX12" fmla="*/ 595312 w 1316831"/>
                  <a:gd name="connsiteY12" fmla="*/ 1223962 h 1414462"/>
                  <a:gd name="connsiteX13" fmla="*/ 559593 w 1316831"/>
                  <a:gd name="connsiteY13" fmla="*/ 1159669 h 1414462"/>
                  <a:gd name="connsiteX14" fmla="*/ 471487 w 1316831"/>
                  <a:gd name="connsiteY14" fmla="*/ 1126331 h 1414462"/>
                  <a:gd name="connsiteX15" fmla="*/ 471487 w 1316831"/>
                  <a:gd name="connsiteY15" fmla="*/ 1085850 h 1414462"/>
                  <a:gd name="connsiteX16" fmla="*/ 485775 w 1316831"/>
                  <a:gd name="connsiteY16" fmla="*/ 1031081 h 1414462"/>
                  <a:gd name="connsiteX17" fmla="*/ 431006 w 1316831"/>
                  <a:gd name="connsiteY17" fmla="*/ 1021556 h 1414462"/>
                  <a:gd name="connsiteX18" fmla="*/ 376237 w 1316831"/>
                  <a:gd name="connsiteY18" fmla="*/ 1021556 h 1414462"/>
                  <a:gd name="connsiteX19" fmla="*/ 371475 w 1316831"/>
                  <a:gd name="connsiteY19" fmla="*/ 1045369 h 1414462"/>
                  <a:gd name="connsiteX20" fmla="*/ 347662 w 1316831"/>
                  <a:gd name="connsiteY20" fmla="*/ 1023937 h 1414462"/>
                  <a:gd name="connsiteX21" fmla="*/ 354806 w 1316831"/>
                  <a:gd name="connsiteY21" fmla="*/ 992981 h 1414462"/>
                  <a:gd name="connsiteX22" fmla="*/ 347662 w 1316831"/>
                  <a:gd name="connsiteY22" fmla="*/ 938212 h 1414462"/>
                  <a:gd name="connsiteX23" fmla="*/ 371475 w 1316831"/>
                  <a:gd name="connsiteY23" fmla="*/ 912019 h 1414462"/>
                  <a:gd name="connsiteX24" fmla="*/ 371475 w 1316831"/>
                  <a:gd name="connsiteY24" fmla="*/ 888206 h 1414462"/>
                  <a:gd name="connsiteX25" fmla="*/ 381000 w 1316831"/>
                  <a:gd name="connsiteY25" fmla="*/ 821531 h 1414462"/>
                  <a:gd name="connsiteX26" fmla="*/ 364331 w 1316831"/>
                  <a:gd name="connsiteY26" fmla="*/ 771525 h 1414462"/>
                  <a:gd name="connsiteX27" fmla="*/ 314325 w 1316831"/>
                  <a:gd name="connsiteY27" fmla="*/ 692944 h 1414462"/>
                  <a:gd name="connsiteX28" fmla="*/ 280987 w 1316831"/>
                  <a:gd name="connsiteY28" fmla="*/ 654844 h 1414462"/>
                  <a:gd name="connsiteX29" fmla="*/ 257175 w 1316831"/>
                  <a:gd name="connsiteY29" fmla="*/ 585787 h 1414462"/>
                  <a:gd name="connsiteX30" fmla="*/ 264318 w 1316831"/>
                  <a:gd name="connsiteY30" fmla="*/ 419100 h 1414462"/>
                  <a:gd name="connsiteX31" fmla="*/ 235743 w 1316831"/>
                  <a:gd name="connsiteY31" fmla="*/ 371475 h 1414462"/>
                  <a:gd name="connsiteX32" fmla="*/ 204787 w 1316831"/>
                  <a:gd name="connsiteY32" fmla="*/ 350044 h 1414462"/>
                  <a:gd name="connsiteX33" fmla="*/ 190500 w 1316831"/>
                  <a:gd name="connsiteY33" fmla="*/ 304800 h 1414462"/>
                  <a:gd name="connsiteX34" fmla="*/ 164306 w 1316831"/>
                  <a:gd name="connsiteY34" fmla="*/ 280987 h 1414462"/>
                  <a:gd name="connsiteX35" fmla="*/ 138112 w 1316831"/>
                  <a:gd name="connsiteY35" fmla="*/ 264319 h 1414462"/>
                  <a:gd name="connsiteX36" fmla="*/ 116681 w 1316831"/>
                  <a:gd name="connsiteY36" fmla="*/ 273844 h 1414462"/>
                  <a:gd name="connsiteX37" fmla="*/ 88106 w 1316831"/>
                  <a:gd name="connsiteY37" fmla="*/ 264319 h 1414462"/>
                  <a:gd name="connsiteX38" fmla="*/ 59531 w 1316831"/>
                  <a:gd name="connsiteY38" fmla="*/ 230981 h 1414462"/>
                  <a:gd name="connsiteX39" fmla="*/ 130968 w 1316831"/>
                  <a:gd name="connsiteY39" fmla="*/ 216694 h 1414462"/>
                  <a:gd name="connsiteX40" fmla="*/ 109537 w 1316831"/>
                  <a:gd name="connsiteY40" fmla="*/ 178594 h 1414462"/>
                  <a:gd name="connsiteX41" fmla="*/ 69056 w 1316831"/>
                  <a:gd name="connsiteY41" fmla="*/ 178594 h 1414462"/>
                  <a:gd name="connsiteX42" fmla="*/ 61912 w 1316831"/>
                  <a:gd name="connsiteY42" fmla="*/ 133350 h 1414462"/>
                  <a:gd name="connsiteX43" fmla="*/ 21431 w 1316831"/>
                  <a:gd name="connsiteY43" fmla="*/ 100012 h 1414462"/>
                  <a:gd name="connsiteX44" fmla="*/ 0 w 1316831"/>
                  <a:gd name="connsiteY44" fmla="*/ 61912 h 1414462"/>
                  <a:gd name="connsiteX45" fmla="*/ 42862 w 1316831"/>
                  <a:gd name="connsiteY45" fmla="*/ 40481 h 1414462"/>
                  <a:gd name="connsiteX46" fmla="*/ 64293 w 1316831"/>
                  <a:gd name="connsiteY46" fmla="*/ 0 h 1414462"/>
                  <a:gd name="connsiteX47" fmla="*/ 147637 w 1316831"/>
                  <a:gd name="connsiteY47" fmla="*/ 7144 h 1414462"/>
                  <a:gd name="connsiteX48" fmla="*/ 152400 w 1316831"/>
                  <a:gd name="connsiteY48" fmla="*/ 45244 h 1414462"/>
                  <a:gd name="connsiteX49" fmla="*/ 171450 w 1316831"/>
                  <a:gd name="connsiteY49" fmla="*/ 83344 h 1414462"/>
                  <a:gd name="connsiteX50" fmla="*/ 276225 w 1316831"/>
                  <a:gd name="connsiteY50" fmla="*/ 130969 h 1414462"/>
                  <a:gd name="connsiteX51" fmla="*/ 316706 w 1316831"/>
                  <a:gd name="connsiteY51" fmla="*/ 140494 h 1414462"/>
                  <a:gd name="connsiteX52" fmla="*/ 350043 w 1316831"/>
                  <a:gd name="connsiteY52" fmla="*/ 169069 h 1414462"/>
                  <a:gd name="connsiteX53" fmla="*/ 390525 w 1316831"/>
                  <a:gd name="connsiteY53" fmla="*/ 192881 h 1414462"/>
                  <a:gd name="connsiteX54" fmla="*/ 411956 w 1316831"/>
                  <a:gd name="connsiteY54" fmla="*/ 223837 h 1414462"/>
                  <a:gd name="connsiteX55" fmla="*/ 416718 w 1316831"/>
                  <a:gd name="connsiteY55" fmla="*/ 230981 h 1414462"/>
                  <a:gd name="connsiteX56" fmla="*/ 423862 w 1316831"/>
                  <a:gd name="connsiteY56" fmla="*/ 240506 h 1414462"/>
                  <a:gd name="connsiteX57" fmla="*/ 431006 w 1316831"/>
                  <a:gd name="connsiteY57" fmla="*/ 247650 h 1414462"/>
                  <a:gd name="connsiteX58" fmla="*/ 431006 w 1316831"/>
                  <a:gd name="connsiteY58" fmla="*/ 247650 h 1414462"/>
                  <a:gd name="connsiteX59" fmla="*/ 490537 w 1316831"/>
                  <a:gd name="connsiteY59" fmla="*/ 233362 h 1414462"/>
                  <a:gd name="connsiteX60" fmla="*/ 540543 w 1316831"/>
                  <a:gd name="connsiteY60" fmla="*/ 259556 h 1414462"/>
                  <a:gd name="connsiteX61" fmla="*/ 588168 w 1316831"/>
                  <a:gd name="connsiteY61" fmla="*/ 292894 h 1414462"/>
                  <a:gd name="connsiteX62" fmla="*/ 602456 w 1316831"/>
                  <a:gd name="connsiteY62" fmla="*/ 297656 h 1414462"/>
                  <a:gd name="connsiteX63" fmla="*/ 635793 w 1316831"/>
                  <a:gd name="connsiteY63" fmla="*/ 245269 h 1414462"/>
                  <a:gd name="connsiteX64" fmla="*/ 685800 w 1316831"/>
                  <a:gd name="connsiteY64" fmla="*/ 280987 h 1414462"/>
                  <a:gd name="connsiteX65" fmla="*/ 733425 w 1316831"/>
                  <a:gd name="connsiteY65" fmla="*/ 271462 h 1414462"/>
                  <a:gd name="connsiteX66" fmla="*/ 766762 w 1316831"/>
                  <a:gd name="connsiteY66" fmla="*/ 280987 h 1414462"/>
                  <a:gd name="connsiteX67" fmla="*/ 750093 w 1316831"/>
                  <a:gd name="connsiteY67" fmla="*/ 250031 h 1414462"/>
                  <a:gd name="connsiteX68" fmla="*/ 790575 w 1316831"/>
                  <a:gd name="connsiteY68" fmla="*/ 228600 h 1414462"/>
                  <a:gd name="connsiteX69" fmla="*/ 826293 w 1316831"/>
                  <a:gd name="connsiteY69" fmla="*/ 192881 h 1414462"/>
                  <a:gd name="connsiteX70" fmla="*/ 862012 w 1316831"/>
                  <a:gd name="connsiteY70" fmla="*/ 209550 h 1414462"/>
                  <a:gd name="connsiteX71" fmla="*/ 885825 w 1316831"/>
                  <a:gd name="connsiteY71" fmla="*/ 245269 h 1414462"/>
                  <a:gd name="connsiteX72" fmla="*/ 945356 w 1316831"/>
                  <a:gd name="connsiteY72" fmla="*/ 240506 h 1414462"/>
                  <a:gd name="connsiteX73" fmla="*/ 938212 w 1316831"/>
                  <a:gd name="connsiteY73" fmla="*/ 280987 h 1414462"/>
                  <a:gd name="connsiteX74" fmla="*/ 1012031 w 1316831"/>
                  <a:gd name="connsiteY74" fmla="*/ 278606 h 1414462"/>
                  <a:gd name="connsiteX75" fmla="*/ 981075 w 1316831"/>
                  <a:gd name="connsiteY75" fmla="*/ 347662 h 1414462"/>
                  <a:gd name="connsiteX76" fmla="*/ 966787 w 1316831"/>
                  <a:gd name="connsiteY76" fmla="*/ 378619 h 1414462"/>
                  <a:gd name="connsiteX77" fmla="*/ 988218 w 1316831"/>
                  <a:gd name="connsiteY77" fmla="*/ 400050 h 1414462"/>
                  <a:gd name="connsiteX78" fmla="*/ 985837 w 1316831"/>
                  <a:gd name="connsiteY78" fmla="*/ 442912 h 1414462"/>
                  <a:gd name="connsiteX79" fmla="*/ 1085850 w 1316831"/>
                  <a:gd name="connsiteY79" fmla="*/ 488156 h 1414462"/>
                  <a:gd name="connsiteX80" fmla="*/ 1143000 w 1316831"/>
                  <a:gd name="connsiteY80" fmla="*/ 523875 h 1414462"/>
                  <a:gd name="connsiteX81" fmla="*/ 1181100 w 1316831"/>
                  <a:gd name="connsiteY81" fmla="*/ 528637 h 1414462"/>
                  <a:gd name="connsiteX82" fmla="*/ 1281112 w 1316831"/>
                  <a:gd name="connsiteY82" fmla="*/ 516731 h 1414462"/>
                  <a:gd name="connsiteX83" fmla="*/ 1316831 w 1316831"/>
                  <a:gd name="connsiteY83" fmla="*/ 545306 h 1414462"/>
                  <a:gd name="connsiteX84" fmla="*/ 1202531 w 1316831"/>
                  <a:gd name="connsiteY84" fmla="*/ 609600 h 1414462"/>
                  <a:gd name="connsiteX85" fmla="*/ 1221581 w 1316831"/>
                  <a:gd name="connsiteY85" fmla="*/ 633412 h 1414462"/>
                  <a:gd name="connsiteX86" fmla="*/ 1183481 w 1316831"/>
                  <a:gd name="connsiteY86" fmla="*/ 683419 h 1414462"/>
                  <a:gd name="connsiteX87" fmla="*/ 1166812 w 1316831"/>
                  <a:gd name="connsiteY87" fmla="*/ 683419 h 1414462"/>
                  <a:gd name="connsiteX88" fmla="*/ 1195387 w 1316831"/>
                  <a:gd name="connsiteY88" fmla="*/ 711994 h 1414462"/>
                  <a:gd name="connsiteX89" fmla="*/ 1150143 w 1316831"/>
                  <a:gd name="connsiteY89" fmla="*/ 723900 h 1414462"/>
                  <a:gd name="connsiteX90" fmla="*/ 1123950 w 1316831"/>
                  <a:gd name="connsiteY90" fmla="*/ 745331 h 1414462"/>
                  <a:gd name="connsiteX91" fmla="*/ 1154906 w 1316831"/>
                  <a:gd name="connsiteY91" fmla="*/ 745331 h 1414462"/>
                  <a:gd name="connsiteX92" fmla="*/ 1183481 w 1316831"/>
                  <a:gd name="connsiteY92" fmla="*/ 790575 h 1414462"/>
                  <a:gd name="connsiteX93" fmla="*/ 1223962 w 1316831"/>
                  <a:gd name="connsiteY93" fmla="*/ 828675 h 1414462"/>
                  <a:gd name="connsiteX94" fmla="*/ 1216818 w 1316831"/>
                  <a:gd name="connsiteY94" fmla="*/ 840581 h 1414462"/>
                  <a:gd name="connsiteX95" fmla="*/ 1154906 w 1316831"/>
                  <a:gd name="connsiteY95" fmla="*/ 864394 h 1414462"/>
                  <a:gd name="connsiteX96" fmla="*/ 1147762 w 1316831"/>
                  <a:gd name="connsiteY96" fmla="*/ 847725 h 1414462"/>
                  <a:gd name="connsiteX97" fmla="*/ 1102518 w 1316831"/>
                  <a:gd name="connsiteY97" fmla="*/ 895350 h 1414462"/>
                  <a:gd name="connsiteX98" fmla="*/ 1052512 w 1316831"/>
                  <a:gd name="connsiteY98" fmla="*/ 945356 h 1414462"/>
                  <a:gd name="connsiteX99" fmla="*/ 1071562 w 1316831"/>
                  <a:gd name="connsiteY99" fmla="*/ 990600 h 1414462"/>
                  <a:gd name="connsiteX100" fmla="*/ 1100137 w 1316831"/>
                  <a:gd name="connsiteY100" fmla="*/ 1000125 h 1414462"/>
                  <a:gd name="connsiteX101" fmla="*/ 1092993 w 1316831"/>
                  <a:gd name="connsiteY101" fmla="*/ 1062037 h 1414462"/>
                  <a:gd name="connsiteX102" fmla="*/ 1071562 w 1316831"/>
                  <a:gd name="connsiteY102" fmla="*/ 1112044 h 1414462"/>
                  <a:gd name="connsiteX103" fmla="*/ 1057275 w 1316831"/>
                  <a:gd name="connsiteY103" fmla="*/ 1116806 h 1414462"/>
                  <a:gd name="connsiteX104" fmla="*/ 992981 w 1316831"/>
                  <a:gd name="connsiteY104" fmla="*/ 1131094 h 1414462"/>
                  <a:gd name="connsiteX105" fmla="*/ 1002506 w 1316831"/>
                  <a:gd name="connsiteY105" fmla="*/ 1243012 h 1414462"/>
                  <a:gd name="connsiteX106" fmla="*/ 966787 w 1316831"/>
                  <a:gd name="connsiteY106" fmla="*/ 1250156 h 1414462"/>
                  <a:gd name="connsiteX107" fmla="*/ 928687 w 1316831"/>
                  <a:gd name="connsiteY107" fmla="*/ 1278731 h 1414462"/>
                  <a:gd name="connsiteX108" fmla="*/ 890587 w 1316831"/>
                  <a:gd name="connsiteY108" fmla="*/ 1271587 h 1414462"/>
                  <a:gd name="connsiteX109" fmla="*/ 873918 w 1316831"/>
                  <a:gd name="connsiteY109" fmla="*/ 1328737 h 1414462"/>
                  <a:gd name="connsiteX110" fmla="*/ 909637 w 1316831"/>
                  <a:gd name="connsiteY110" fmla="*/ 1345406 h 1414462"/>
                  <a:gd name="connsiteX111" fmla="*/ 897731 w 1316831"/>
                  <a:gd name="connsiteY111" fmla="*/ 1369219 h 1414462"/>
                  <a:gd name="connsiteX112" fmla="*/ 788193 w 1316831"/>
                  <a:gd name="connsiteY112" fmla="*/ 1402556 h 1414462"/>
                  <a:gd name="connsiteX0" fmla="*/ 788193 w 1316831"/>
                  <a:gd name="connsiteY0" fmla="*/ 1402556 h 1414462"/>
                  <a:gd name="connsiteX1" fmla="*/ 738187 w 1316831"/>
                  <a:gd name="connsiteY1" fmla="*/ 1373981 h 1414462"/>
                  <a:gd name="connsiteX2" fmla="*/ 704850 w 1316831"/>
                  <a:gd name="connsiteY2" fmla="*/ 1390650 h 1414462"/>
                  <a:gd name="connsiteX3" fmla="*/ 685800 w 1316831"/>
                  <a:gd name="connsiteY3" fmla="*/ 1409700 h 1414462"/>
                  <a:gd name="connsiteX4" fmla="*/ 657225 w 1316831"/>
                  <a:gd name="connsiteY4" fmla="*/ 1414462 h 1414462"/>
                  <a:gd name="connsiteX5" fmla="*/ 638175 w 1316831"/>
                  <a:gd name="connsiteY5" fmla="*/ 1385887 h 1414462"/>
                  <a:gd name="connsiteX6" fmla="*/ 650081 w 1316831"/>
                  <a:gd name="connsiteY6" fmla="*/ 1354931 h 1414462"/>
                  <a:gd name="connsiteX7" fmla="*/ 664368 w 1316831"/>
                  <a:gd name="connsiteY7" fmla="*/ 1371600 h 1414462"/>
                  <a:gd name="connsiteX8" fmla="*/ 690562 w 1316831"/>
                  <a:gd name="connsiteY8" fmla="*/ 1359694 h 1414462"/>
                  <a:gd name="connsiteX9" fmla="*/ 690562 w 1316831"/>
                  <a:gd name="connsiteY9" fmla="*/ 1331119 h 1414462"/>
                  <a:gd name="connsiteX10" fmla="*/ 673893 w 1316831"/>
                  <a:gd name="connsiteY10" fmla="*/ 1281112 h 1414462"/>
                  <a:gd name="connsiteX11" fmla="*/ 631031 w 1316831"/>
                  <a:gd name="connsiteY11" fmla="*/ 1238250 h 1414462"/>
                  <a:gd name="connsiteX12" fmla="*/ 595312 w 1316831"/>
                  <a:gd name="connsiteY12" fmla="*/ 1223962 h 1414462"/>
                  <a:gd name="connsiteX13" fmla="*/ 559593 w 1316831"/>
                  <a:gd name="connsiteY13" fmla="*/ 1159669 h 1414462"/>
                  <a:gd name="connsiteX14" fmla="*/ 471487 w 1316831"/>
                  <a:gd name="connsiteY14" fmla="*/ 1126331 h 1414462"/>
                  <a:gd name="connsiteX15" fmla="*/ 471487 w 1316831"/>
                  <a:gd name="connsiteY15" fmla="*/ 1085850 h 1414462"/>
                  <a:gd name="connsiteX16" fmla="*/ 485775 w 1316831"/>
                  <a:gd name="connsiteY16" fmla="*/ 1031081 h 1414462"/>
                  <a:gd name="connsiteX17" fmla="*/ 431006 w 1316831"/>
                  <a:gd name="connsiteY17" fmla="*/ 1021556 h 1414462"/>
                  <a:gd name="connsiteX18" fmla="*/ 376237 w 1316831"/>
                  <a:gd name="connsiteY18" fmla="*/ 1021556 h 1414462"/>
                  <a:gd name="connsiteX19" fmla="*/ 371475 w 1316831"/>
                  <a:gd name="connsiteY19" fmla="*/ 1045369 h 1414462"/>
                  <a:gd name="connsiteX20" fmla="*/ 347662 w 1316831"/>
                  <a:gd name="connsiteY20" fmla="*/ 1023937 h 1414462"/>
                  <a:gd name="connsiteX21" fmla="*/ 354806 w 1316831"/>
                  <a:gd name="connsiteY21" fmla="*/ 992981 h 1414462"/>
                  <a:gd name="connsiteX22" fmla="*/ 347662 w 1316831"/>
                  <a:gd name="connsiteY22" fmla="*/ 938212 h 1414462"/>
                  <a:gd name="connsiteX23" fmla="*/ 371475 w 1316831"/>
                  <a:gd name="connsiteY23" fmla="*/ 912019 h 1414462"/>
                  <a:gd name="connsiteX24" fmla="*/ 371475 w 1316831"/>
                  <a:gd name="connsiteY24" fmla="*/ 888206 h 1414462"/>
                  <a:gd name="connsiteX25" fmla="*/ 381000 w 1316831"/>
                  <a:gd name="connsiteY25" fmla="*/ 821531 h 1414462"/>
                  <a:gd name="connsiteX26" fmla="*/ 364331 w 1316831"/>
                  <a:gd name="connsiteY26" fmla="*/ 771525 h 1414462"/>
                  <a:gd name="connsiteX27" fmla="*/ 314325 w 1316831"/>
                  <a:gd name="connsiteY27" fmla="*/ 692944 h 1414462"/>
                  <a:gd name="connsiteX28" fmla="*/ 280987 w 1316831"/>
                  <a:gd name="connsiteY28" fmla="*/ 654844 h 1414462"/>
                  <a:gd name="connsiteX29" fmla="*/ 257175 w 1316831"/>
                  <a:gd name="connsiteY29" fmla="*/ 585787 h 1414462"/>
                  <a:gd name="connsiteX30" fmla="*/ 264318 w 1316831"/>
                  <a:gd name="connsiteY30" fmla="*/ 419100 h 1414462"/>
                  <a:gd name="connsiteX31" fmla="*/ 235743 w 1316831"/>
                  <a:gd name="connsiteY31" fmla="*/ 371475 h 1414462"/>
                  <a:gd name="connsiteX32" fmla="*/ 204787 w 1316831"/>
                  <a:gd name="connsiteY32" fmla="*/ 350044 h 1414462"/>
                  <a:gd name="connsiteX33" fmla="*/ 190500 w 1316831"/>
                  <a:gd name="connsiteY33" fmla="*/ 304800 h 1414462"/>
                  <a:gd name="connsiteX34" fmla="*/ 164306 w 1316831"/>
                  <a:gd name="connsiteY34" fmla="*/ 280987 h 1414462"/>
                  <a:gd name="connsiteX35" fmla="*/ 138112 w 1316831"/>
                  <a:gd name="connsiteY35" fmla="*/ 264319 h 1414462"/>
                  <a:gd name="connsiteX36" fmla="*/ 116681 w 1316831"/>
                  <a:gd name="connsiteY36" fmla="*/ 273844 h 1414462"/>
                  <a:gd name="connsiteX37" fmla="*/ 88106 w 1316831"/>
                  <a:gd name="connsiteY37" fmla="*/ 264319 h 1414462"/>
                  <a:gd name="connsiteX38" fmla="*/ 95250 w 1316831"/>
                  <a:gd name="connsiteY38" fmla="*/ 223837 h 1414462"/>
                  <a:gd name="connsiteX39" fmla="*/ 130968 w 1316831"/>
                  <a:gd name="connsiteY39" fmla="*/ 216694 h 1414462"/>
                  <a:gd name="connsiteX40" fmla="*/ 109537 w 1316831"/>
                  <a:gd name="connsiteY40" fmla="*/ 178594 h 1414462"/>
                  <a:gd name="connsiteX41" fmla="*/ 69056 w 1316831"/>
                  <a:gd name="connsiteY41" fmla="*/ 178594 h 1414462"/>
                  <a:gd name="connsiteX42" fmla="*/ 61912 w 1316831"/>
                  <a:gd name="connsiteY42" fmla="*/ 133350 h 1414462"/>
                  <a:gd name="connsiteX43" fmla="*/ 21431 w 1316831"/>
                  <a:gd name="connsiteY43" fmla="*/ 100012 h 1414462"/>
                  <a:gd name="connsiteX44" fmla="*/ 0 w 1316831"/>
                  <a:gd name="connsiteY44" fmla="*/ 61912 h 1414462"/>
                  <a:gd name="connsiteX45" fmla="*/ 42862 w 1316831"/>
                  <a:gd name="connsiteY45" fmla="*/ 40481 h 1414462"/>
                  <a:gd name="connsiteX46" fmla="*/ 64293 w 1316831"/>
                  <a:gd name="connsiteY46" fmla="*/ 0 h 1414462"/>
                  <a:gd name="connsiteX47" fmla="*/ 147637 w 1316831"/>
                  <a:gd name="connsiteY47" fmla="*/ 7144 h 1414462"/>
                  <a:gd name="connsiteX48" fmla="*/ 152400 w 1316831"/>
                  <a:gd name="connsiteY48" fmla="*/ 45244 h 1414462"/>
                  <a:gd name="connsiteX49" fmla="*/ 171450 w 1316831"/>
                  <a:gd name="connsiteY49" fmla="*/ 83344 h 1414462"/>
                  <a:gd name="connsiteX50" fmla="*/ 276225 w 1316831"/>
                  <a:gd name="connsiteY50" fmla="*/ 130969 h 1414462"/>
                  <a:gd name="connsiteX51" fmla="*/ 316706 w 1316831"/>
                  <a:gd name="connsiteY51" fmla="*/ 140494 h 1414462"/>
                  <a:gd name="connsiteX52" fmla="*/ 350043 w 1316831"/>
                  <a:gd name="connsiteY52" fmla="*/ 169069 h 1414462"/>
                  <a:gd name="connsiteX53" fmla="*/ 390525 w 1316831"/>
                  <a:gd name="connsiteY53" fmla="*/ 192881 h 1414462"/>
                  <a:gd name="connsiteX54" fmla="*/ 411956 w 1316831"/>
                  <a:gd name="connsiteY54" fmla="*/ 223837 h 1414462"/>
                  <a:gd name="connsiteX55" fmla="*/ 416718 w 1316831"/>
                  <a:gd name="connsiteY55" fmla="*/ 230981 h 1414462"/>
                  <a:gd name="connsiteX56" fmla="*/ 423862 w 1316831"/>
                  <a:gd name="connsiteY56" fmla="*/ 240506 h 1414462"/>
                  <a:gd name="connsiteX57" fmla="*/ 431006 w 1316831"/>
                  <a:gd name="connsiteY57" fmla="*/ 247650 h 1414462"/>
                  <a:gd name="connsiteX58" fmla="*/ 431006 w 1316831"/>
                  <a:gd name="connsiteY58" fmla="*/ 247650 h 1414462"/>
                  <a:gd name="connsiteX59" fmla="*/ 490537 w 1316831"/>
                  <a:gd name="connsiteY59" fmla="*/ 233362 h 1414462"/>
                  <a:gd name="connsiteX60" fmla="*/ 540543 w 1316831"/>
                  <a:gd name="connsiteY60" fmla="*/ 259556 h 1414462"/>
                  <a:gd name="connsiteX61" fmla="*/ 588168 w 1316831"/>
                  <a:gd name="connsiteY61" fmla="*/ 292894 h 1414462"/>
                  <a:gd name="connsiteX62" fmla="*/ 602456 w 1316831"/>
                  <a:gd name="connsiteY62" fmla="*/ 297656 h 1414462"/>
                  <a:gd name="connsiteX63" fmla="*/ 635793 w 1316831"/>
                  <a:gd name="connsiteY63" fmla="*/ 245269 h 1414462"/>
                  <a:gd name="connsiteX64" fmla="*/ 685800 w 1316831"/>
                  <a:gd name="connsiteY64" fmla="*/ 280987 h 1414462"/>
                  <a:gd name="connsiteX65" fmla="*/ 733425 w 1316831"/>
                  <a:gd name="connsiteY65" fmla="*/ 271462 h 1414462"/>
                  <a:gd name="connsiteX66" fmla="*/ 766762 w 1316831"/>
                  <a:gd name="connsiteY66" fmla="*/ 280987 h 1414462"/>
                  <a:gd name="connsiteX67" fmla="*/ 750093 w 1316831"/>
                  <a:gd name="connsiteY67" fmla="*/ 250031 h 1414462"/>
                  <a:gd name="connsiteX68" fmla="*/ 790575 w 1316831"/>
                  <a:gd name="connsiteY68" fmla="*/ 228600 h 1414462"/>
                  <a:gd name="connsiteX69" fmla="*/ 826293 w 1316831"/>
                  <a:gd name="connsiteY69" fmla="*/ 192881 h 1414462"/>
                  <a:gd name="connsiteX70" fmla="*/ 862012 w 1316831"/>
                  <a:gd name="connsiteY70" fmla="*/ 209550 h 1414462"/>
                  <a:gd name="connsiteX71" fmla="*/ 885825 w 1316831"/>
                  <a:gd name="connsiteY71" fmla="*/ 245269 h 1414462"/>
                  <a:gd name="connsiteX72" fmla="*/ 945356 w 1316831"/>
                  <a:gd name="connsiteY72" fmla="*/ 240506 h 1414462"/>
                  <a:gd name="connsiteX73" fmla="*/ 938212 w 1316831"/>
                  <a:gd name="connsiteY73" fmla="*/ 280987 h 1414462"/>
                  <a:gd name="connsiteX74" fmla="*/ 1012031 w 1316831"/>
                  <a:gd name="connsiteY74" fmla="*/ 278606 h 1414462"/>
                  <a:gd name="connsiteX75" fmla="*/ 981075 w 1316831"/>
                  <a:gd name="connsiteY75" fmla="*/ 347662 h 1414462"/>
                  <a:gd name="connsiteX76" fmla="*/ 966787 w 1316831"/>
                  <a:gd name="connsiteY76" fmla="*/ 378619 h 1414462"/>
                  <a:gd name="connsiteX77" fmla="*/ 988218 w 1316831"/>
                  <a:gd name="connsiteY77" fmla="*/ 400050 h 1414462"/>
                  <a:gd name="connsiteX78" fmla="*/ 985837 w 1316831"/>
                  <a:gd name="connsiteY78" fmla="*/ 442912 h 1414462"/>
                  <a:gd name="connsiteX79" fmla="*/ 1085850 w 1316831"/>
                  <a:gd name="connsiteY79" fmla="*/ 488156 h 1414462"/>
                  <a:gd name="connsiteX80" fmla="*/ 1143000 w 1316831"/>
                  <a:gd name="connsiteY80" fmla="*/ 523875 h 1414462"/>
                  <a:gd name="connsiteX81" fmla="*/ 1181100 w 1316831"/>
                  <a:gd name="connsiteY81" fmla="*/ 528637 h 1414462"/>
                  <a:gd name="connsiteX82" fmla="*/ 1281112 w 1316831"/>
                  <a:gd name="connsiteY82" fmla="*/ 516731 h 1414462"/>
                  <a:gd name="connsiteX83" fmla="*/ 1316831 w 1316831"/>
                  <a:gd name="connsiteY83" fmla="*/ 545306 h 1414462"/>
                  <a:gd name="connsiteX84" fmla="*/ 1202531 w 1316831"/>
                  <a:gd name="connsiteY84" fmla="*/ 609600 h 1414462"/>
                  <a:gd name="connsiteX85" fmla="*/ 1221581 w 1316831"/>
                  <a:gd name="connsiteY85" fmla="*/ 633412 h 1414462"/>
                  <a:gd name="connsiteX86" fmla="*/ 1183481 w 1316831"/>
                  <a:gd name="connsiteY86" fmla="*/ 683419 h 1414462"/>
                  <a:gd name="connsiteX87" fmla="*/ 1166812 w 1316831"/>
                  <a:gd name="connsiteY87" fmla="*/ 683419 h 1414462"/>
                  <a:gd name="connsiteX88" fmla="*/ 1195387 w 1316831"/>
                  <a:gd name="connsiteY88" fmla="*/ 711994 h 1414462"/>
                  <a:gd name="connsiteX89" fmla="*/ 1150143 w 1316831"/>
                  <a:gd name="connsiteY89" fmla="*/ 723900 h 1414462"/>
                  <a:gd name="connsiteX90" fmla="*/ 1123950 w 1316831"/>
                  <a:gd name="connsiteY90" fmla="*/ 745331 h 1414462"/>
                  <a:gd name="connsiteX91" fmla="*/ 1154906 w 1316831"/>
                  <a:gd name="connsiteY91" fmla="*/ 745331 h 1414462"/>
                  <a:gd name="connsiteX92" fmla="*/ 1183481 w 1316831"/>
                  <a:gd name="connsiteY92" fmla="*/ 790575 h 1414462"/>
                  <a:gd name="connsiteX93" fmla="*/ 1223962 w 1316831"/>
                  <a:gd name="connsiteY93" fmla="*/ 828675 h 1414462"/>
                  <a:gd name="connsiteX94" fmla="*/ 1216818 w 1316831"/>
                  <a:gd name="connsiteY94" fmla="*/ 840581 h 1414462"/>
                  <a:gd name="connsiteX95" fmla="*/ 1154906 w 1316831"/>
                  <a:gd name="connsiteY95" fmla="*/ 864394 h 1414462"/>
                  <a:gd name="connsiteX96" fmla="*/ 1147762 w 1316831"/>
                  <a:gd name="connsiteY96" fmla="*/ 847725 h 1414462"/>
                  <a:gd name="connsiteX97" fmla="*/ 1102518 w 1316831"/>
                  <a:gd name="connsiteY97" fmla="*/ 895350 h 1414462"/>
                  <a:gd name="connsiteX98" fmla="*/ 1052512 w 1316831"/>
                  <a:gd name="connsiteY98" fmla="*/ 945356 h 1414462"/>
                  <a:gd name="connsiteX99" fmla="*/ 1071562 w 1316831"/>
                  <a:gd name="connsiteY99" fmla="*/ 990600 h 1414462"/>
                  <a:gd name="connsiteX100" fmla="*/ 1100137 w 1316831"/>
                  <a:gd name="connsiteY100" fmla="*/ 1000125 h 1414462"/>
                  <a:gd name="connsiteX101" fmla="*/ 1092993 w 1316831"/>
                  <a:gd name="connsiteY101" fmla="*/ 1062037 h 1414462"/>
                  <a:gd name="connsiteX102" fmla="*/ 1071562 w 1316831"/>
                  <a:gd name="connsiteY102" fmla="*/ 1112044 h 1414462"/>
                  <a:gd name="connsiteX103" fmla="*/ 1057275 w 1316831"/>
                  <a:gd name="connsiteY103" fmla="*/ 1116806 h 1414462"/>
                  <a:gd name="connsiteX104" fmla="*/ 992981 w 1316831"/>
                  <a:gd name="connsiteY104" fmla="*/ 1131094 h 1414462"/>
                  <a:gd name="connsiteX105" fmla="*/ 1002506 w 1316831"/>
                  <a:gd name="connsiteY105" fmla="*/ 1243012 h 1414462"/>
                  <a:gd name="connsiteX106" fmla="*/ 966787 w 1316831"/>
                  <a:gd name="connsiteY106" fmla="*/ 1250156 h 1414462"/>
                  <a:gd name="connsiteX107" fmla="*/ 928687 w 1316831"/>
                  <a:gd name="connsiteY107" fmla="*/ 1278731 h 1414462"/>
                  <a:gd name="connsiteX108" fmla="*/ 890587 w 1316831"/>
                  <a:gd name="connsiteY108" fmla="*/ 1271587 h 1414462"/>
                  <a:gd name="connsiteX109" fmla="*/ 873918 w 1316831"/>
                  <a:gd name="connsiteY109" fmla="*/ 1328737 h 1414462"/>
                  <a:gd name="connsiteX110" fmla="*/ 909637 w 1316831"/>
                  <a:gd name="connsiteY110" fmla="*/ 1345406 h 1414462"/>
                  <a:gd name="connsiteX111" fmla="*/ 897731 w 1316831"/>
                  <a:gd name="connsiteY111" fmla="*/ 1369219 h 1414462"/>
                  <a:gd name="connsiteX112" fmla="*/ 788193 w 1316831"/>
                  <a:gd name="connsiteY112" fmla="*/ 1402556 h 141446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</a:cxnLst>
                <a:rect l="l" t="t" r="r" b="b"/>
                <a:pathLst>
                  <a:path w="1316831" h="1414462">
                    <a:moveTo>
                      <a:pt x="788193" y="1402556"/>
                    </a:moveTo>
                    <a:lnTo>
                      <a:pt x="738187" y="1373981"/>
                    </a:lnTo>
                    <a:lnTo>
                      <a:pt x="704850" y="1390650"/>
                    </a:lnTo>
                    <a:lnTo>
                      <a:pt x="685800" y="1409700"/>
                    </a:lnTo>
                    <a:lnTo>
                      <a:pt x="657225" y="1414462"/>
                    </a:lnTo>
                    <a:lnTo>
                      <a:pt x="638175" y="1385887"/>
                    </a:lnTo>
                    <a:lnTo>
                      <a:pt x="650081" y="1354931"/>
                    </a:lnTo>
                    <a:lnTo>
                      <a:pt x="664368" y="1371600"/>
                    </a:lnTo>
                    <a:lnTo>
                      <a:pt x="690562" y="1359694"/>
                    </a:lnTo>
                    <a:lnTo>
                      <a:pt x="690562" y="1331119"/>
                    </a:lnTo>
                    <a:lnTo>
                      <a:pt x="673893" y="1281112"/>
                    </a:lnTo>
                    <a:lnTo>
                      <a:pt x="631031" y="1238250"/>
                    </a:lnTo>
                    <a:lnTo>
                      <a:pt x="595312" y="1223962"/>
                    </a:lnTo>
                    <a:lnTo>
                      <a:pt x="559593" y="1159669"/>
                    </a:lnTo>
                    <a:lnTo>
                      <a:pt x="471487" y="1126331"/>
                    </a:lnTo>
                    <a:lnTo>
                      <a:pt x="471487" y="1085850"/>
                    </a:lnTo>
                    <a:lnTo>
                      <a:pt x="485775" y="1031081"/>
                    </a:lnTo>
                    <a:lnTo>
                      <a:pt x="431006" y="1021556"/>
                    </a:lnTo>
                    <a:lnTo>
                      <a:pt x="376237" y="1021556"/>
                    </a:lnTo>
                    <a:lnTo>
                      <a:pt x="371475" y="1045369"/>
                    </a:lnTo>
                    <a:lnTo>
                      <a:pt x="347662" y="1023937"/>
                    </a:lnTo>
                    <a:lnTo>
                      <a:pt x="354806" y="992981"/>
                    </a:lnTo>
                    <a:lnTo>
                      <a:pt x="347662" y="938212"/>
                    </a:lnTo>
                    <a:lnTo>
                      <a:pt x="371475" y="912019"/>
                    </a:lnTo>
                    <a:lnTo>
                      <a:pt x="371475" y="888206"/>
                    </a:lnTo>
                    <a:lnTo>
                      <a:pt x="381000" y="821531"/>
                    </a:lnTo>
                    <a:lnTo>
                      <a:pt x="364331" y="771525"/>
                    </a:lnTo>
                    <a:lnTo>
                      <a:pt x="314325" y="692944"/>
                    </a:lnTo>
                    <a:lnTo>
                      <a:pt x="280987" y="654844"/>
                    </a:lnTo>
                    <a:lnTo>
                      <a:pt x="257175" y="585787"/>
                    </a:lnTo>
                    <a:lnTo>
                      <a:pt x="264318" y="419100"/>
                    </a:lnTo>
                    <a:lnTo>
                      <a:pt x="235743" y="371475"/>
                    </a:lnTo>
                    <a:lnTo>
                      <a:pt x="204787" y="350044"/>
                    </a:lnTo>
                    <a:lnTo>
                      <a:pt x="190500" y="304800"/>
                    </a:lnTo>
                    <a:lnTo>
                      <a:pt x="164306" y="280987"/>
                    </a:lnTo>
                    <a:lnTo>
                      <a:pt x="138112" y="264319"/>
                    </a:lnTo>
                    <a:lnTo>
                      <a:pt x="116681" y="273844"/>
                    </a:lnTo>
                    <a:lnTo>
                      <a:pt x="88106" y="264319"/>
                    </a:lnTo>
                    <a:lnTo>
                      <a:pt x="95250" y="223837"/>
                    </a:lnTo>
                    <a:lnTo>
                      <a:pt x="130968" y="216694"/>
                    </a:lnTo>
                    <a:lnTo>
                      <a:pt x="109537" y="178594"/>
                    </a:lnTo>
                    <a:lnTo>
                      <a:pt x="69056" y="178594"/>
                    </a:lnTo>
                    <a:lnTo>
                      <a:pt x="61912" y="133350"/>
                    </a:lnTo>
                    <a:lnTo>
                      <a:pt x="21431" y="100012"/>
                    </a:lnTo>
                    <a:lnTo>
                      <a:pt x="0" y="61912"/>
                    </a:lnTo>
                    <a:lnTo>
                      <a:pt x="42862" y="40481"/>
                    </a:lnTo>
                    <a:lnTo>
                      <a:pt x="64293" y="0"/>
                    </a:lnTo>
                    <a:lnTo>
                      <a:pt x="147637" y="7144"/>
                    </a:lnTo>
                    <a:lnTo>
                      <a:pt x="152400" y="45244"/>
                    </a:lnTo>
                    <a:lnTo>
                      <a:pt x="171450" y="83344"/>
                    </a:lnTo>
                    <a:lnTo>
                      <a:pt x="276225" y="130969"/>
                    </a:lnTo>
                    <a:lnTo>
                      <a:pt x="316706" y="140494"/>
                    </a:lnTo>
                    <a:lnTo>
                      <a:pt x="350043" y="169069"/>
                    </a:lnTo>
                    <a:lnTo>
                      <a:pt x="390525" y="192881"/>
                    </a:lnTo>
                    <a:lnTo>
                      <a:pt x="411956" y="223837"/>
                    </a:lnTo>
                    <a:cubicBezTo>
                      <a:pt x="413577" y="226195"/>
                      <a:pt x="415001" y="228692"/>
                      <a:pt x="416718" y="230981"/>
                    </a:cubicBezTo>
                    <a:cubicBezTo>
                      <a:pt x="419099" y="234156"/>
                      <a:pt x="421279" y="237493"/>
                      <a:pt x="423862" y="240506"/>
                    </a:cubicBezTo>
                    <a:cubicBezTo>
                      <a:pt x="426054" y="243063"/>
                      <a:pt x="431006" y="247650"/>
                      <a:pt x="431006" y="247650"/>
                    </a:cubicBezTo>
                    <a:lnTo>
                      <a:pt x="431006" y="247650"/>
                    </a:lnTo>
                    <a:lnTo>
                      <a:pt x="490537" y="233362"/>
                    </a:lnTo>
                    <a:lnTo>
                      <a:pt x="540543" y="259556"/>
                    </a:lnTo>
                    <a:lnTo>
                      <a:pt x="588168" y="292894"/>
                    </a:lnTo>
                    <a:lnTo>
                      <a:pt x="602456" y="297656"/>
                    </a:lnTo>
                    <a:lnTo>
                      <a:pt x="635793" y="245269"/>
                    </a:lnTo>
                    <a:lnTo>
                      <a:pt x="685800" y="280987"/>
                    </a:lnTo>
                    <a:lnTo>
                      <a:pt x="733425" y="271462"/>
                    </a:lnTo>
                    <a:lnTo>
                      <a:pt x="766762" y="280987"/>
                    </a:lnTo>
                    <a:lnTo>
                      <a:pt x="750093" y="250031"/>
                    </a:lnTo>
                    <a:lnTo>
                      <a:pt x="790575" y="228600"/>
                    </a:lnTo>
                    <a:lnTo>
                      <a:pt x="826293" y="192881"/>
                    </a:lnTo>
                    <a:lnTo>
                      <a:pt x="862012" y="209550"/>
                    </a:lnTo>
                    <a:lnTo>
                      <a:pt x="885825" y="245269"/>
                    </a:lnTo>
                    <a:lnTo>
                      <a:pt x="945356" y="240506"/>
                    </a:lnTo>
                    <a:lnTo>
                      <a:pt x="938212" y="280987"/>
                    </a:lnTo>
                    <a:lnTo>
                      <a:pt x="1012031" y="278606"/>
                    </a:lnTo>
                    <a:lnTo>
                      <a:pt x="981075" y="347662"/>
                    </a:lnTo>
                    <a:lnTo>
                      <a:pt x="966787" y="378619"/>
                    </a:lnTo>
                    <a:lnTo>
                      <a:pt x="988218" y="400050"/>
                    </a:lnTo>
                    <a:lnTo>
                      <a:pt x="985837" y="442912"/>
                    </a:lnTo>
                    <a:lnTo>
                      <a:pt x="1085850" y="488156"/>
                    </a:lnTo>
                    <a:lnTo>
                      <a:pt x="1143000" y="523875"/>
                    </a:lnTo>
                    <a:lnTo>
                      <a:pt x="1181100" y="528637"/>
                    </a:lnTo>
                    <a:lnTo>
                      <a:pt x="1281112" y="516731"/>
                    </a:lnTo>
                    <a:lnTo>
                      <a:pt x="1316831" y="545306"/>
                    </a:lnTo>
                    <a:lnTo>
                      <a:pt x="1202531" y="609600"/>
                    </a:lnTo>
                    <a:lnTo>
                      <a:pt x="1221581" y="633412"/>
                    </a:lnTo>
                    <a:lnTo>
                      <a:pt x="1183481" y="683419"/>
                    </a:lnTo>
                    <a:lnTo>
                      <a:pt x="1166812" y="683419"/>
                    </a:lnTo>
                    <a:lnTo>
                      <a:pt x="1195387" y="711994"/>
                    </a:lnTo>
                    <a:lnTo>
                      <a:pt x="1150143" y="723900"/>
                    </a:lnTo>
                    <a:lnTo>
                      <a:pt x="1123950" y="745331"/>
                    </a:lnTo>
                    <a:lnTo>
                      <a:pt x="1154906" y="745331"/>
                    </a:lnTo>
                    <a:lnTo>
                      <a:pt x="1183481" y="790575"/>
                    </a:lnTo>
                    <a:lnTo>
                      <a:pt x="1223962" y="828675"/>
                    </a:lnTo>
                    <a:lnTo>
                      <a:pt x="1216818" y="840581"/>
                    </a:lnTo>
                    <a:lnTo>
                      <a:pt x="1154906" y="864394"/>
                    </a:lnTo>
                    <a:lnTo>
                      <a:pt x="1147762" y="847725"/>
                    </a:lnTo>
                    <a:lnTo>
                      <a:pt x="1102518" y="895350"/>
                    </a:lnTo>
                    <a:lnTo>
                      <a:pt x="1052512" y="945356"/>
                    </a:lnTo>
                    <a:lnTo>
                      <a:pt x="1071562" y="990600"/>
                    </a:lnTo>
                    <a:lnTo>
                      <a:pt x="1100137" y="1000125"/>
                    </a:lnTo>
                    <a:lnTo>
                      <a:pt x="1092993" y="1062037"/>
                    </a:lnTo>
                    <a:lnTo>
                      <a:pt x="1071562" y="1112044"/>
                    </a:lnTo>
                    <a:lnTo>
                      <a:pt x="1057275" y="1116806"/>
                    </a:lnTo>
                    <a:lnTo>
                      <a:pt x="992981" y="1131094"/>
                    </a:lnTo>
                    <a:lnTo>
                      <a:pt x="1002506" y="1243012"/>
                    </a:lnTo>
                    <a:lnTo>
                      <a:pt x="966787" y="1250156"/>
                    </a:lnTo>
                    <a:lnTo>
                      <a:pt x="928687" y="1278731"/>
                    </a:lnTo>
                    <a:lnTo>
                      <a:pt x="890587" y="1271587"/>
                    </a:lnTo>
                    <a:lnTo>
                      <a:pt x="873918" y="1328737"/>
                    </a:lnTo>
                    <a:lnTo>
                      <a:pt x="909637" y="1345406"/>
                    </a:lnTo>
                    <a:lnTo>
                      <a:pt x="897731" y="1369219"/>
                    </a:lnTo>
                    <a:lnTo>
                      <a:pt x="788193" y="1402556"/>
                    </a:ln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lIns="66542" tIns="33270" rIns="66542" bIns="33270"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2" name="Figura a mano libera 141"/>
              <p:cNvSpPr/>
              <p:nvPr/>
            </p:nvSpPr>
            <p:spPr bwMode="auto">
              <a:xfrm>
                <a:off x="8493871" y="3724222"/>
                <a:ext cx="1038424" cy="793485"/>
              </a:xfrm>
              <a:custGeom>
                <a:avLst/>
                <a:gdLst>
                  <a:gd name="connsiteX0" fmla="*/ 1190625 w 1319213"/>
                  <a:gd name="connsiteY0" fmla="*/ 1078706 h 1095375"/>
                  <a:gd name="connsiteX1" fmla="*/ 1121569 w 1319213"/>
                  <a:gd name="connsiteY1" fmla="*/ 1052512 h 1095375"/>
                  <a:gd name="connsiteX2" fmla="*/ 1102519 w 1319213"/>
                  <a:gd name="connsiteY2" fmla="*/ 1059656 h 1095375"/>
                  <a:gd name="connsiteX3" fmla="*/ 1092994 w 1319213"/>
                  <a:gd name="connsiteY3" fmla="*/ 1064419 h 1095375"/>
                  <a:gd name="connsiteX4" fmla="*/ 1090613 w 1319213"/>
                  <a:gd name="connsiteY4" fmla="*/ 1095375 h 1095375"/>
                  <a:gd name="connsiteX5" fmla="*/ 1090613 w 1319213"/>
                  <a:gd name="connsiteY5" fmla="*/ 1095375 h 1095375"/>
                  <a:gd name="connsiteX6" fmla="*/ 990600 w 1319213"/>
                  <a:gd name="connsiteY6" fmla="*/ 1045369 h 1095375"/>
                  <a:gd name="connsiteX7" fmla="*/ 942975 w 1319213"/>
                  <a:gd name="connsiteY7" fmla="*/ 1045369 h 1095375"/>
                  <a:gd name="connsiteX8" fmla="*/ 904875 w 1319213"/>
                  <a:gd name="connsiteY8" fmla="*/ 1038225 h 1095375"/>
                  <a:gd name="connsiteX9" fmla="*/ 866775 w 1319213"/>
                  <a:gd name="connsiteY9" fmla="*/ 1062037 h 1095375"/>
                  <a:gd name="connsiteX10" fmla="*/ 823913 w 1319213"/>
                  <a:gd name="connsiteY10" fmla="*/ 1092994 h 1095375"/>
                  <a:gd name="connsiteX11" fmla="*/ 802481 w 1319213"/>
                  <a:gd name="connsiteY11" fmla="*/ 1062037 h 1095375"/>
                  <a:gd name="connsiteX12" fmla="*/ 781050 w 1319213"/>
                  <a:gd name="connsiteY12" fmla="*/ 997744 h 1095375"/>
                  <a:gd name="connsiteX13" fmla="*/ 711994 w 1319213"/>
                  <a:gd name="connsiteY13" fmla="*/ 954881 h 1095375"/>
                  <a:gd name="connsiteX14" fmla="*/ 685800 w 1319213"/>
                  <a:gd name="connsiteY14" fmla="*/ 950119 h 1095375"/>
                  <a:gd name="connsiteX15" fmla="*/ 664369 w 1319213"/>
                  <a:gd name="connsiteY15" fmla="*/ 971550 h 1095375"/>
                  <a:gd name="connsiteX16" fmla="*/ 621506 w 1319213"/>
                  <a:gd name="connsiteY16" fmla="*/ 919162 h 1095375"/>
                  <a:gd name="connsiteX17" fmla="*/ 592931 w 1319213"/>
                  <a:gd name="connsiteY17" fmla="*/ 933450 h 1095375"/>
                  <a:gd name="connsiteX18" fmla="*/ 542925 w 1319213"/>
                  <a:gd name="connsiteY18" fmla="*/ 852487 h 1095375"/>
                  <a:gd name="connsiteX19" fmla="*/ 457200 w 1319213"/>
                  <a:gd name="connsiteY19" fmla="*/ 754856 h 1095375"/>
                  <a:gd name="connsiteX20" fmla="*/ 383381 w 1319213"/>
                  <a:gd name="connsiteY20" fmla="*/ 726281 h 1095375"/>
                  <a:gd name="connsiteX21" fmla="*/ 395288 w 1319213"/>
                  <a:gd name="connsiteY21" fmla="*/ 690562 h 1095375"/>
                  <a:gd name="connsiteX22" fmla="*/ 378619 w 1319213"/>
                  <a:gd name="connsiteY22" fmla="*/ 652462 h 1095375"/>
                  <a:gd name="connsiteX23" fmla="*/ 342900 w 1319213"/>
                  <a:gd name="connsiteY23" fmla="*/ 602456 h 1095375"/>
                  <a:gd name="connsiteX24" fmla="*/ 266700 w 1319213"/>
                  <a:gd name="connsiteY24" fmla="*/ 545306 h 1095375"/>
                  <a:gd name="connsiteX25" fmla="*/ 226219 w 1319213"/>
                  <a:gd name="connsiteY25" fmla="*/ 521494 h 1095375"/>
                  <a:gd name="connsiteX26" fmla="*/ 197644 w 1319213"/>
                  <a:gd name="connsiteY26" fmla="*/ 545306 h 1095375"/>
                  <a:gd name="connsiteX27" fmla="*/ 152400 w 1319213"/>
                  <a:gd name="connsiteY27" fmla="*/ 431006 h 1095375"/>
                  <a:gd name="connsiteX28" fmla="*/ 142875 w 1319213"/>
                  <a:gd name="connsiteY28" fmla="*/ 395287 h 1095375"/>
                  <a:gd name="connsiteX29" fmla="*/ 85725 w 1319213"/>
                  <a:gd name="connsiteY29" fmla="*/ 328612 h 1095375"/>
                  <a:gd name="connsiteX30" fmla="*/ 11906 w 1319213"/>
                  <a:gd name="connsiteY30" fmla="*/ 304800 h 1095375"/>
                  <a:gd name="connsiteX31" fmla="*/ 0 w 1319213"/>
                  <a:gd name="connsiteY31" fmla="*/ 283369 h 1095375"/>
                  <a:gd name="connsiteX32" fmla="*/ 23813 w 1319213"/>
                  <a:gd name="connsiteY32" fmla="*/ 259556 h 1095375"/>
                  <a:gd name="connsiteX33" fmla="*/ 83344 w 1319213"/>
                  <a:gd name="connsiteY33" fmla="*/ 264319 h 1095375"/>
                  <a:gd name="connsiteX34" fmla="*/ 95250 w 1319213"/>
                  <a:gd name="connsiteY34" fmla="*/ 247650 h 1095375"/>
                  <a:gd name="connsiteX35" fmla="*/ 104775 w 1319213"/>
                  <a:gd name="connsiteY35" fmla="*/ 226219 h 1095375"/>
                  <a:gd name="connsiteX36" fmla="*/ 73819 w 1319213"/>
                  <a:gd name="connsiteY36" fmla="*/ 204787 h 1095375"/>
                  <a:gd name="connsiteX37" fmla="*/ 78581 w 1319213"/>
                  <a:gd name="connsiteY37" fmla="*/ 171450 h 1095375"/>
                  <a:gd name="connsiteX38" fmla="*/ 119063 w 1319213"/>
                  <a:gd name="connsiteY38" fmla="*/ 171450 h 1095375"/>
                  <a:gd name="connsiteX39" fmla="*/ 161925 w 1319213"/>
                  <a:gd name="connsiteY39" fmla="*/ 142875 h 1095375"/>
                  <a:gd name="connsiteX40" fmla="*/ 173831 w 1319213"/>
                  <a:gd name="connsiteY40" fmla="*/ 133350 h 1095375"/>
                  <a:gd name="connsiteX41" fmla="*/ 200025 w 1319213"/>
                  <a:gd name="connsiteY41" fmla="*/ 133350 h 1095375"/>
                  <a:gd name="connsiteX42" fmla="*/ 190500 w 1319213"/>
                  <a:gd name="connsiteY42" fmla="*/ 78581 h 1095375"/>
                  <a:gd name="connsiteX43" fmla="*/ 180975 w 1319213"/>
                  <a:gd name="connsiteY43" fmla="*/ 45244 h 1095375"/>
                  <a:gd name="connsiteX44" fmla="*/ 180975 w 1319213"/>
                  <a:gd name="connsiteY44" fmla="*/ 14287 h 1095375"/>
                  <a:gd name="connsiteX45" fmla="*/ 226219 w 1319213"/>
                  <a:gd name="connsiteY45" fmla="*/ 4762 h 1095375"/>
                  <a:gd name="connsiteX46" fmla="*/ 259556 w 1319213"/>
                  <a:gd name="connsiteY46" fmla="*/ 0 h 1095375"/>
                  <a:gd name="connsiteX47" fmla="*/ 264319 w 1319213"/>
                  <a:gd name="connsiteY47" fmla="*/ 28575 h 1095375"/>
                  <a:gd name="connsiteX48" fmla="*/ 273844 w 1319213"/>
                  <a:gd name="connsiteY48" fmla="*/ 64294 h 1095375"/>
                  <a:gd name="connsiteX49" fmla="*/ 292894 w 1319213"/>
                  <a:gd name="connsiteY49" fmla="*/ 66675 h 1095375"/>
                  <a:gd name="connsiteX50" fmla="*/ 264319 w 1319213"/>
                  <a:gd name="connsiteY50" fmla="*/ 97631 h 1095375"/>
                  <a:gd name="connsiteX51" fmla="*/ 307181 w 1319213"/>
                  <a:gd name="connsiteY51" fmla="*/ 114300 h 1095375"/>
                  <a:gd name="connsiteX52" fmla="*/ 314325 w 1319213"/>
                  <a:gd name="connsiteY52" fmla="*/ 138112 h 1095375"/>
                  <a:gd name="connsiteX53" fmla="*/ 342900 w 1319213"/>
                  <a:gd name="connsiteY53" fmla="*/ 119062 h 1095375"/>
                  <a:gd name="connsiteX54" fmla="*/ 373856 w 1319213"/>
                  <a:gd name="connsiteY54" fmla="*/ 126206 h 1095375"/>
                  <a:gd name="connsiteX55" fmla="*/ 392906 w 1319213"/>
                  <a:gd name="connsiteY55" fmla="*/ 97631 h 1095375"/>
                  <a:gd name="connsiteX56" fmla="*/ 419100 w 1319213"/>
                  <a:gd name="connsiteY56" fmla="*/ 126206 h 1095375"/>
                  <a:gd name="connsiteX57" fmla="*/ 416719 w 1319213"/>
                  <a:gd name="connsiteY57" fmla="*/ 150019 h 1095375"/>
                  <a:gd name="connsiteX58" fmla="*/ 457200 w 1319213"/>
                  <a:gd name="connsiteY58" fmla="*/ 216694 h 1095375"/>
                  <a:gd name="connsiteX59" fmla="*/ 488156 w 1319213"/>
                  <a:gd name="connsiteY59" fmla="*/ 259556 h 1095375"/>
                  <a:gd name="connsiteX60" fmla="*/ 497681 w 1319213"/>
                  <a:gd name="connsiteY60" fmla="*/ 235744 h 1095375"/>
                  <a:gd name="connsiteX61" fmla="*/ 519113 w 1319213"/>
                  <a:gd name="connsiteY61" fmla="*/ 273844 h 1095375"/>
                  <a:gd name="connsiteX62" fmla="*/ 538163 w 1319213"/>
                  <a:gd name="connsiteY62" fmla="*/ 292894 h 1095375"/>
                  <a:gd name="connsiteX63" fmla="*/ 557213 w 1319213"/>
                  <a:gd name="connsiteY63" fmla="*/ 309562 h 1095375"/>
                  <a:gd name="connsiteX64" fmla="*/ 561975 w 1319213"/>
                  <a:gd name="connsiteY64" fmla="*/ 333375 h 1095375"/>
                  <a:gd name="connsiteX65" fmla="*/ 592931 w 1319213"/>
                  <a:gd name="connsiteY65" fmla="*/ 302419 h 1095375"/>
                  <a:gd name="connsiteX66" fmla="*/ 602456 w 1319213"/>
                  <a:gd name="connsiteY66" fmla="*/ 261937 h 1095375"/>
                  <a:gd name="connsiteX67" fmla="*/ 631031 w 1319213"/>
                  <a:gd name="connsiteY67" fmla="*/ 278606 h 1095375"/>
                  <a:gd name="connsiteX68" fmla="*/ 661988 w 1319213"/>
                  <a:gd name="connsiteY68" fmla="*/ 259556 h 1095375"/>
                  <a:gd name="connsiteX69" fmla="*/ 652463 w 1319213"/>
                  <a:gd name="connsiteY69" fmla="*/ 238125 h 1095375"/>
                  <a:gd name="connsiteX70" fmla="*/ 676275 w 1319213"/>
                  <a:gd name="connsiteY70" fmla="*/ 233362 h 1095375"/>
                  <a:gd name="connsiteX71" fmla="*/ 692944 w 1319213"/>
                  <a:gd name="connsiteY71" fmla="*/ 209550 h 1095375"/>
                  <a:gd name="connsiteX72" fmla="*/ 719138 w 1319213"/>
                  <a:gd name="connsiteY72" fmla="*/ 223837 h 1095375"/>
                  <a:gd name="connsiteX73" fmla="*/ 745331 w 1319213"/>
                  <a:gd name="connsiteY73" fmla="*/ 183356 h 1095375"/>
                  <a:gd name="connsiteX74" fmla="*/ 742950 w 1319213"/>
                  <a:gd name="connsiteY74" fmla="*/ 161925 h 1095375"/>
                  <a:gd name="connsiteX75" fmla="*/ 781050 w 1319213"/>
                  <a:gd name="connsiteY75" fmla="*/ 164306 h 1095375"/>
                  <a:gd name="connsiteX76" fmla="*/ 859631 w 1319213"/>
                  <a:gd name="connsiteY76" fmla="*/ 152400 h 1095375"/>
                  <a:gd name="connsiteX77" fmla="*/ 890588 w 1319213"/>
                  <a:gd name="connsiteY77" fmla="*/ 145256 h 1095375"/>
                  <a:gd name="connsiteX78" fmla="*/ 904875 w 1319213"/>
                  <a:gd name="connsiteY78" fmla="*/ 119062 h 1095375"/>
                  <a:gd name="connsiteX79" fmla="*/ 895350 w 1319213"/>
                  <a:gd name="connsiteY79" fmla="*/ 83344 h 1095375"/>
                  <a:gd name="connsiteX80" fmla="*/ 921544 w 1319213"/>
                  <a:gd name="connsiteY80" fmla="*/ 61912 h 1095375"/>
                  <a:gd name="connsiteX81" fmla="*/ 950119 w 1319213"/>
                  <a:gd name="connsiteY81" fmla="*/ 92869 h 1095375"/>
                  <a:gd name="connsiteX82" fmla="*/ 981075 w 1319213"/>
                  <a:gd name="connsiteY82" fmla="*/ 126206 h 1095375"/>
                  <a:gd name="connsiteX83" fmla="*/ 1000125 w 1319213"/>
                  <a:gd name="connsiteY83" fmla="*/ 157162 h 1095375"/>
                  <a:gd name="connsiteX84" fmla="*/ 1004888 w 1319213"/>
                  <a:gd name="connsiteY84" fmla="*/ 190500 h 1095375"/>
                  <a:gd name="connsiteX85" fmla="*/ 959644 w 1319213"/>
                  <a:gd name="connsiteY85" fmla="*/ 190500 h 1095375"/>
                  <a:gd name="connsiteX86" fmla="*/ 914400 w 1319213"/>
                  <a:gd name="connsiteY86" fmla="*/ 180975 h 1095375"/>
                  <a:gd name="connsiteX87" fmla="*/ 914400 w 1319213"/>
                  <a:gd name="connsiteY87" fmla="*/ 180975 h 1095375"/>
                  <a:gd name="connsiteX88" fmla="*/ 895350 w 1319213"/>
                  <a:gd name="connsiteY88" fmla="*/ 214312 h 1095375"/>
                  <a:gd name="connsiteX89" fmla="*/ 885825 w 1319213"/>
                  <a:gd name="connsiteY89" fmla="*/ 250031 h 1095375"/>
                  <a:gd name="connsiteX90" fmla="*/ 852488 w 1319213"/>
                  <a:gd name="connsiteY90" fmla="*/ 290512 h 1095375"/>
                  <a:gd name="connsiteX91" fmla="*/ 888206 w 1319213"/>
                  <a:gd name="connsiteY91" fmla="*/ 316706 h 1095375"/>
                  <a:gd name="connsiteX92" fmla="*/ 897731 w 1319213"/>
                  <a:gd name="connsiteY92" fmla="*/ 369094 h 1095375"/>
                  <a:gd name="connsiteX93" fmla="*/ 947738 w 1319213"/>
                  <a:gd name="connsiteY93" fmla="*/ 416719 h 1095375"/>
                  <a:gd name="connsiteX94" fmla="*/ 985838 w 1319213"/>
                  <a:gd name="connsiteY94" fmla="*/ 440531 h 1095375"/>
                  <a:gd name="connsiteX95" fmla="*/ 985838 w 1319213"/>
                  <a:gd name="connsiteY95" fmla="*/ 464344 h 1095375"/>
                  <a:gd name="connsiteX96" fmla="*/ 964406 w 1319213"/>
                  <a:gd name="connsiteY96" fmla="*/ 469106 h 1095375"/>
                  <a:gd name="connsiteX97" fmla="*/ 954881 w 1319213"/>
                  <a:gd name="connsiteY97" fmla="*/ 488156 h 1095375"/>
                  <a:gd name="connsiteX98" fmla="*/ 954881 w 1319213"/>
                  <a:gd name="connsiteY98" fmla="*/ 488156 h 1095375"/>
                  <a:gd name="connsiteX99" fmla="*/ 892969 w 1319213"/>
                  <a:gd name="connsiteY99" fmla="*/ 471487 h 1095375"/>
                  <a:gd name="connsiteX100" fmla="*/ 838200 w 1319213"/>
                  <a:gd name="connsiteY100" fmla="*/ 445294 h 1095375"/>
                  <a:gd name="connsiteX101" fmla="*/ 823913 w 1319213"/>
                  <a:gd name="connsiteY101" fmla="*/ 485775 h 1095375"/>
                  <a:gd name="connsiteX102" fmla="*/ 802481 w 1319213"/>
                  <a:gd name="connsiteY102" fmla="*/ 490537 h 1095375"/>
                  <a:gd name="connsiteX103" fmla="*/ 826294 w 1319213"/>
                  <a:gd name="connsiteY103" fmla="*/ 547687 h 1095375"/>
                  <a:gd name="connsiteX104" fmla="*/ 912019 w 1319213"/>
                  <a:gd name="connsiteY104" fmla="*/ 578644 h 1095375"/>
                  <a:gd name="connsiteX105" fmla="*/ 997744 w 1319213"/>
                  <a:gd name="connsiteY105" fmla="*/ 623887 h 1095375"/>
                  <a:gd name="connsiteX106" fmla="*/ 995363 w 1319213"/>
                  <a:gd name="connsiteY106" fmla="*/ 704850 h 1095375"/>
                  <a:gd name="connsiteX107" fmla="*/ 1028700 w 1319213"/>
                  <a:gd name="connsiteY107" fmla="*/ 690562 h 1095375"/>
                  <a:gd name="connsiteX108" fmla="*/ 1083469 w 1319213"/>
                  <a:gd name="connsiteY108" fmla="*/ 735806 h 1095375"/>
                  <a:gd name="connsiteX109" fmla="*/ 1145381 w 1319213"/>
                  <a:gd name="connsiteY109" fmla="*/ 697706 h 1095375"/>
                  <a:gd name="connsiteX110" fmla="*/ 1207294 w 1319213"/>
                  <a:gd name="connsiteY110" fmla="*/ 750094 h 1095375"/>
                  <a:gd name="connsiteX111" fmla="*/ 1262063 w 1319213"/>
                  <a:gd name="connsiteY111" fmla="*/ 785812 h 1095375"/>
                  <a:gd name="connsiteX112" fmla="*/ 1283494 w 1319213"/>
                  <a:gd name="connsiteY112" fmla="*/ 788194 h 1095375"/>
                  <a:gd name="connsiteX113" fmla="*/ 1319213 w 1319213"/>
                  <a:gd name="connsiteY113" fmla="*/ 897731 h 1095375"/>
                  <a:gd name="connsiteX114" fmla="*/ 1297781 w 1319213"/>
                  <a:gd name="connsiteY114" fmla="*/ 914400 h 1095375"/>
                  <a:gd name="connsiteX115" fmla="*/ 1293019 w 1319213"/>
                  <a:gd name="connsiteY115" fmla="*/ 933450 h 1095375"/>
                  <a:gd name="connsiteX116" fmla="*/ 1293019 w 1319213"/>
                  <a:gd name="connsiteY116" fmla="*/ 933450 h 1095375"/>
                  <a:gd name="connsiteX117" fmla="*/ 1243013 w 1319213"/>
                  <a:gd name="connsiteY117" fmla="*/ 947737 h 1095375"/>
                  <a:gd name="connsiteX118" fmla="*/ 1245394 w 1319213"/>
                  <a:gd name="connsiteY118" fmla="*/ 1031081 h 1095375"/>
                  <a:gd name="connsiteX119" fmla="*/ 1190625 w 1319213"/>
                  <a:gd name="connsiteY119" fmla="*/ 1078706 h 109537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</a:cxnLst>
                <a:rect l="l" t="t" r="r" b="b"/>
                <a:pathLst>
                  <a:path w="1319213" h="1095375">
                    <a:moveTo>
                      <a:pt x="1190625" y="1078706"/>
                    </a:moveTo>
                    <a:lnTo>
                      <a:pt x="1121569" y="1052512"/>
                    </a:lnTo>
                    <a:lnTo>
                      <a:pt x="1102519" y="1059656"/>
                    </a:lnTo>
                    <a:cubicBezTo>
                      <a:pt x="1093919" y="1062783"/>
                      <a:pt x="1097325" y="1060087"/>
                      <a:pt x="1092994" y="1064419"/>
                    </a:cubicBezTo>
                    <a:lnTo>
                      <a:pt x="1090613" y="1095375"/>
                    </a:lnTo>
                    <a:lnTo>
                      <a:pt x="1090613" y="1095375"/>
                    </a:lnTo>
                    <a:lnTo>
                      <a:pt x="990600" y="1045369"/>
                    </a:lnTo>
                    <a:lnTo>
                      <a:pt x="942975" y="1045369"/>
                    </a:lnTo>
                    <a:lnTo>
                      <a:pt x="904875" y="1038225"/>
                    </a:lnTo>
                    <a:lnTo>
                      <a:pt x="866775" y="1062037"/>
                    </a:lnTo>
                    <a:lnTo>
                      <a:pt x="823913" y="1092994"/>
                    </a:lnTo>
                    <a:lnTo>
                      <a:pt x="802481" y="1062037"/>
                    </a:lnTo>
                    <a:lnTo>
                      <a:pt x="781050" y="997744"/>
                    </a:lnTo>
                    <a:lnTo>
                      <a:pt x="711994" y="954881"/>
                    </a:lnTo>
                    <a:lnTo>
                      <a:pt x="685800" y="950119"/>
                    </a:lnTo>
                    <a:lnTo>
                      <a:pt x="664369" y="971550"/>
                    </a:lnTo>
                    <a:lnTo>
                      <a:pt x="621506" y="919162"/>
                    </a:lnTo>
                    <a:lnTo>
                      <a:pt x="592931" y="933450"/>
                    </a:lnTo>
                    <a:lnTo>
                      <a:pt x="542925" y="852487"/>
                    </a:lnTo>
                    <a:lnTo>
                      <a:pt x="457200" y="754856"/>
                    </a:lnTo>
                    <a:lnTo>
                      <a:pt x="383381" y="726281"/>
                    </a:lnTo>
                    <a:lnTo>
                      <a:pt x="395288" y="690562"/>
                    </a:lnTo>
                    <a:lnTo>
                      <a:pt x="378619" y="652462"/>
                    </a:lnTo>
                    <a:lnTo>
                      <a:pt x="342900" y="602456"/>
                    </a:lnTo>
                    <a:lnTo>
                      <a:pt x="266700" y="545306"/>
                    </a:lnTo>
                    <a:lnTo>
                      <a:pt x="226219" y="521494"/>
                    </a:lnTo>
                    <a:lnTo>
                      <a:pt x="197644" y="545306"/>
                    </a:lnTo>
                    <a:lnTo>
                      <a:pt x="152400" y="431006"/>
                    </a:lnTo>
                    <a:lnTo>
                      <a:pt x="142875" y="395287"/>
                    </a:lnTo>
                    <a:lnTo>
                      <a:pt x="85725" y="328612"/>
                    </a:lnTo>
                    <a:lnTo>
                      <a:pt x="11906" y="304800"/>
                    </a:lnTo>
                    <a:lnTo>
                      <a:pt x="0" y="283369"/>
                    </a:lnTo>
                    <a:lnTo>
                      <a:pt x="23813" y="259556"/>
                    </a:lnTo>
                    <a:lnTo>
                      <a:pt x="83344" y="264319"/>
                    </a:lnTo>
                    <a:lnTo>
                      <a:pt x="95250" y="247650"/>
                    </a:lnTo>
                    <a:lnTo>
                      <a:pt x="104775" y="226219"/>
                    </a:lnTo>
                    <a:lnTo>
                      <a:pt x="73819" y="204787"/>
                    </a:lnTo>
                    <a:lnTo>
                      <a:pt x="78581" y="171450"/>
                    </a:lnTo>
                    <a:lnTo>
                      <a:pt x="119063" y="171450"/>
                    </a:lnTo>
                    <a:lnTo>
                      <a:pt x="161925" y="142875"/>
                    </a:lnTo>
                    <a:lnTo>
                      <a:pt x="173831" y="133350"/>
                    </a:lnTo>
                    <a:lnTo>
                      <a:pt x="200025" y="133350"/>
                    </a:lnTo>
                    <a:lnTo>
                      <a:pt x="190500" y="78581"/>
                    </a:lnTo>
                    <a:lnTo>
                      <a:pt x="180975" y="45244"/>
                    </a:lnTo>
                    <a:lnTo>
                      <a:pt x="180975" y="14287"/>
                    </a:lnTo>
                    <a:lnTo>
                      <a:pt x="226219" y="4762"/>
                    </a:lnTo>
                    <a:lnTo>
                      <a:pt x="259556" y="0"/>
                    </a:lnTo>
                    <a:lnTo>
                      <a:pt x="264319" y="28575"/>
                    </a:lnTo>
                    <a:lnTo>
                      <a:pt x="273844" y="64294"/>
                    </a:lnTo>
                    <a:lnTo>
                      <a:pt x="292894" y="66675"/>
                    </a:lnTo>
                    <a:lnTo>
                      <a:pt x="264319" y="97631"/>
                    </a:lnTo>
                    <a:lnTo>
                      <a:pt x="307181" y="114300"/>
                    </a:lnTo>
                    <a:lnTo>
                      <a:pt x="314325" y="138112"/>
                    </a:lnTo>
                    <a:lnTo>
                      <a:pt x="342900" y="119062"/>
                    </a:lnTo>
                    <a:lnTo>
                      <a:pt x="373856" y="126206"/>
                    </a:lnTo>
                    <a:lnTo>
                      <a:pt x="392906" y="97631"/>
                    </a:lnTo>
                    <a:lnTo>
                      <a:pt x="419100" y="126206"/>
                    </a:lnTo>
                    <a:lnTo>
                      <a:pt x="416719" y="150019"/>
                    </a:lnTo>
                    <a:lnTo>
                      <a:pt x="457200" y="216694"/>
                    </a:lnTo>
                    <a:lnTo>
                      <a:pt x="488156" y="259556"/>
                    </a:lnTo>
                    <a:lnTo>
                      <a:pt x="497681" y="235744"/>
                    </a:lnTo>
                    <a:lnTo>
                      <a:pt x="519113" y="273844"/>
                    </a:lnTo>
                    <a:lnTo>
                      <a:pt x="538163" y="292894"/>
                    </a:lnTo>
                    <a:lnTo>
                      <a:pt x="557213" y="309562"/>
                    </a:lnTo>
                    <a:lnTo>
                      <a:pt x="561975" y="333375"/>
                    </a:lnTo>
                    <a:lnTo>
                      <a:pt x="592931" y="302419"/>
                    </a:lnTo>
                    <a:lnTo>
                      <a:pt x="602456" y="261937"/>
                    </a:lnTo>
                    <a:lnTo>
                      <a:pt x="631031" y="278606"/>
                    </a:lnTo>
                    <a:lnTo>
                      <a:pt x="661988" y="259556"/>
                    </a:lnTo>
                    <a:lnTo>
                      <a:pt x="652463" y="238125"/>
                    </a:lnTo>
                    <a:lnTo>
                      <a:pt x="676275" y="233362"/>
                    </a:lnTo>
                    <a:lnTo>
                      <a:pt x="692944" y="209550"/>
                    </a:lnTo>
                    <a:lnTo>
                      <a:pt x="719138" y="223837"/>
                    </a:lnTo>
                    <a:lnTo>
                      <a:pt x="745331" y="183356"/>
                    </a:lnTo>
                    <a:lnTo>
                      <a:pt x="742950" y="161925"/>
                    </a:lnTo>
                    <a:lnTo>
                      <a:pt x="781050" y="164306"/>
                    </a:lnTo>
                    <a:lnTo>
                      <a:pt x="859631" y="152400"/>
                    </a:lnTo>
                    <a:lnTo>
                      <a:pt x="890588" y="145256"/>
                    </a:lnTo>
                    <a:lnTo>
                      <a:pt x="904875" y="119062"/>
                    </a:lnTo>
                    <a:lnTo>
                      <a:pt x="895350" y="83344"/>
                    </a:lnTo>
                    <a:lnTo>
                      <a:pt x="921544" y="61912"/>
                    </a:lnTo>
                    <a:lnTo>
                      <a:pt x="950119" y="92869"/>
                    </a:lnTo>
                    <a:lnTo>
                      <a:pt x="981075" y="126206"/>
                    </a:lnTo>
                    <a:lnTo>
                      <a:pt x="1000125" y="157162"/>
                    </a:lnTo>
                    <a:lnTo>
                      <a:pt x="1004888" y="190500"/>
                    </a:lnTo>
                    <a:lnTo>
                      <a:pt x="959644" y="190500"/>
                    </a:lnTo>
                    <a:lnTo>
                      <a:pt x="914400" y="180975"/>
                    </a:lnTo>
                    <a:lnTo>
                      <a:pt x="914400" y="180975"/>
                    </a:lnTo>
                    <a:lnTo>
                      <a:pt x="895350" y="214312"/>
                    </a:lnTo>
                    <a:lnTo>
                      <a:pt x="885825" y="250031"/>
                    </a:lnTo>
                    <a:lnTo>
                      <a:pt x="852488" y="290512"/>
                    </a:lnTo>
                    <a:lnTo>
                      <a:pt x="888206" y="316706"/>
                    </a:lnTo>
                    <a:lnTo>
                      <a:pt x="897731" y="369094"/>
                    </a:lnTo>
                    <a:lnTo>
                      <a:pt x="947738" y="416719"/>
                    </a:lnTo>
                    <a:lnTo>
                      <a:pt x="985838" y="440531"/>
                    </a:lnTo>
                    <a:lnTo>
                      <a:pt x="985838" y="464344"/>
                    </a:lnTo>
                    <a:cubicBezTo>
                      <a:pt x="978694" y="465931"/>
                      <a:pt x="970639" y="465271"/>
                      <a:pt x="964406" y="469106"/>
                    </a:cubicBezTo>
                    <a:cubicBezTo>
                      <a:pt x="954001" y="475509"/>
                      <a:pt x="954881" y="480223"/>
                      <a:pt x="954881" y="488156"/>
                    </a:cubicBezTo>
                    <a:lnTo>
                      <a:pt x="954881" y="488156"/>
                    </a:lnTo>
                    <a:lnTo>
                      <a:pt x="892969" y="471487"/>
                    </a:lnTo>
                    <a:lnTo>
                      <a:pt x="838200" y="445294"/>
                    </a:lnTo>
                    <a:lnTo>
                      <a:pt x="823913" y="485775"/>
                    </a:lnTo>
                    <a:lnTo>
                      <a:pt x="802481" y="490537"/>
                    </a:lnTo>
                    <a:lnTo>
                      <a:pt x="826294" y="547687"/>
                    </a:lnTo>
                    <a:lnTo>
                      <a:pt x="912019" y="578644"/>
                    </a:lnTo>
                    <a:lnTo>
                      <a:pt x="997744" y="623887"/>
                    </a:lnTo>
                    <a:cubicBezTo>
                      <a:pt x="996950" y="650875"/>
                      <a:pt x="996157" y="677862"/>
                      <a:pt x="995363" y="704850"/>
                    </a:cubicBezTo>
                    <a:lnTo>
                      <a:pt x="1028700" y="690562"/>
                    </a:lnTo>
                    <a:lnTo>
                      <a:pt x="1083469" y="735806"/>
                    </a:lnTo>
                    <a:lnTo>
                      <a:pt x="1145381" y="697706"/>
                    </a:lnTo>
                    <a:lnTo>
                      <a:pt x="1207294" y="750094"/>
                    </a:lnTo>
                    <a:lnTo>
                      <a:pt x="1262063" y="785812"/>
                    </a:lnTo>
                    <a:lnTo>
                      <a:pt x="1283494" y="788194"/>
                    </a:lnTo>
                    <a:lnTo>
                      <a:pt x="1319213" y="897731"/>
                    </a:lnTo>
                    <a:lnTo>
                      <a:pt x="1297781" y="914400"/>
                    </a:lnTo>
                    <a:lnTo>
                      <a:pt x="1293019" y="933450"/>
                    </a:lnTo>
                    <a:lnTo>
                      <a:pt x="1293019" y="933450"/>
                    </a:lnTo>
                    <a:lnTo>
                      <a:pt x="1243013" y="947737"/>
                    </a:lnTo>
                    <a:cubicBezTo>
                      <a:pt x="1243807" y="975518"/>
                      <a:pt x="1244600" y="1003300"/>
                      <a:pt x="1245394" y="1031081"/>
                    </a:cubicBezTo>
                    <a:lnTo>
                      <a:pt x="1190625" y="1078706"/>
                    </a:ln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lIns="66542" tIns="33270" rIns="66542" bIns="33270"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3" name="Figura a mano libera 142"/>
              <p:cNvSpPr/>
              <p:nvPr/>
            </p:nvSpPr>
            <p:spPr bwMode="auto">
              <a:xfrm>
                <a:off x="8703008" y="3361448"/>
                <a:ext cx="547533" cy="611418"/>
              </a:xfrm>
              <a:custGeom>
                <a:avLst/>
                <a:gdLst>
                  <a:gd name="connsiteX0" fmla="*/ 673894 w 692944"/>
                  <a:gd name="connsiteY0" fmla="*/ 564357 h 845344"/>
                  <a:gd name="connsiteX1" fmla="*/ 692944 w 692944"/>
                  <a:gd name="connsiteY1" fmla="*/ 535782 h 845344"/>
                  <a:gd name="connsiteX2" fmla="*/ 681037 w 692944"/>
                  <a:gd name="connsiteY2" fmla="*/ 509588 h 845344"/>
                  <a:gd name="connsiteX3" fmla="*/ 626269 w 692944"/>
                  <a:gd name="connsiteY3" fmla="*/ 531019 h 845344"/>
                  <a:gd name="connsiteX4" fmla="*/ 595312 w 692944"/>
                  <a:gd name="connsiteY4" fmla="*/ 490538 h 845344"/>
                  <a:gd name="connsiteX5" fmla="*/ 564356 w 692944"/>
                  <a:gd name="connsiteY5" fmla="*/ 478632 h 845344"/>
                  <a:gd name="connsiteX6" fmla="*/ 554831 w 692944"/>
                  <a:gd name="connsiteY6" fmla="*/ 492919 h 845344"/>
                  <a:gd name="connsiteX7" fmla="*/ 554831 w 692944"/>
                  <a:gd name="connsiteY7" fmla="*/ 492919 h 845344"/>
                  <a:gd name="connsiteX8" fmla="*/ 528637 w 692944"/>
                  <a:gd name="connsiteY8" fmla="*/ 478632 h 845344"/>
                  <a:gd name="connsiteX9" fmla="*/ 507206 w 692944"/>
                  <a:gd name="connsiteY9" fmla="*/ 445294 h 845344"/>
                  <a:gd name="connsiteX10" fmla="*/ 509587 w 692944"/>
                  <a:gd name="connsiteY10" fmla="*/ 409575 h 845344"/>
                  <a:gd name="connsiteX11" fmla="*/ 504825 w 692944"/>
                  <a:gd name="connsiteY11" fmla="*/ 369094 h 845344"/>
                  <a:gd name="connsiteX12" fmla="*/ 490537 w 692944"/>
                  <a:gd name="connsiteY12" fmla="*/ 328613 h 845344"/>
                  <a:gd name="connsiteX13" fmla="*/ 490537 w 692944"/>
                  <a:gd name="connsiteY13" fmla="*/ 328613 h 845344"/>
                  <a:gd name="connsiteX14" fmla="*/ 481012 w 692944"/>
                  <a:gd name="connsiteY14" fmla="*/ 300038 h 845344"/>
                  <a:gd name="connsiteX15" fmla="*/ 478631 w 692944"/>
                  <a:gd name="connsiteY15" fmla="*/ 273844 h 845344"/>
                  <a:gd name="connsiteX16" fmla="*/ 454819 w 692944"/>
                  <a:gd name="connsiteY16" fmla="*/ 252413 h 845344"/>
                  <a:gd name="connsiteX17" fmla="*/ 457200 w 692944"/>
                  <a:gd name="connsiteY17" fmla="*/ 235744 h 845344"/>
                  <a:gd name="connsiteX18" fmla="*/ 452437 w 692944"/>
                  <a:gd name="connsiteY18" fmla="*/ 204788 h 845344"/>
                  <a:gd name="connsiteX19" fmla="*/ 452437 w 692944"/>
                  <a:gd name="connsiteY19" fmla="*/ 190500 h 845344"/>
                  <a:gd name="connsiteX20" fmla="*/ 428625 w 692944"/>
                  <a:gd name="connsiteY20" fmla="*/ 166688 h 845344"/>
                  <a:gd name="connsiteX21" fmla="*/ 428625 w 692944"/>
                  <a:gd name="connsiteY21" fmla="*/ 166688 h 845344"/>
                  <a:gd name="connsiteX22" fmla="*/ 445294 w 692944"/>
                  <a:gd name="connsiteY22" fmla="*/ 142875 h 845344"/>
                  <a:gd name="connsiteX23" fmla="*/ 440531 w 692944"/>
                  <a:gd name="connsiteY23" fmla="*/ 123825 h 845344"/>
                  <a:gd name="connsiteX24" fmla="*/ 383381 w 692944"/>
                  <a:gd name="connsiteY24" fmla="*/ 126207 h 845344"/>
                  <a:gd name="connsiteX25" fmla="*/ 383381 w 692944"/>
                  <a:gd name="connsiteY25" fmla="*/ 126207 h 845344"/>
                  <a:gd name="connsiteX26" fmla="*/ 345281 w 692944"/>
                  <a:gd name="connsiteY26" fmla="*/ 130969 h 845344"/>
                  <a:gd name="connsiteX27" fmla="*/ 319087 w 692944"/>
                  <a:gd name="connsiteY27" fmla="*/ 90488 h 845344"/>
                  <a:gd name="connsiteX28" fmla="*/ 304800 w 692944"/>
                  <a:gd name="connsiteY28" fmla="*/ 59532 h 845344"/>
                  <a:gd name="connsiteX29" fmla="*/ 276225 w 692944"/>
                  <a:gd name="connsiteY29" fmla="*/ 52388 h 845344"/>
                  <a:gd name="connsiteX30" fmla="*/ 271462 w 692944"/>
                  <a:gd name="connsiteY30" fmla="*/ 71438 h 845344"/>
                  <a:gd name="connsiteX31" fmla="*/ 250031 w 692944"/>
                  <a:gd name="connsiteY31" fmla="*/ 69057 h 845344"/>
                  <a:gd name="connsiteX32" fmla="*/ 211931 w 692944"/>
                  <a:gd name="connsiteY32" fmla="*/ 54769 h 845344"/>
                  <a:gd name="connsiteX33" fmla="*/ 245269 w 692944"/>
                  <a:gd name="connsiteY33" fmla="*/ 50007 h 845344"/>
                  <a:gd name="connsiteX34" fmla="*/ 247650 w 692944"/>
                  <a:gd name="connsiteY34" fmla="*/ 47625 h 845344"/>
                  <a:gd name="connsiteX35" fmla="*/ 230981 w 692944"/>
                  <a:gd name="connsiteY35" fmla="*/ 28575 h 845344"/>
                  <a:gd name="connsiteX36" fmla="*/ 257175 w 692944"/>
                  <a:gd name="connsiteY36" fmla="*/ 0 h 845344"/>
                  <a:gd name="connsiteX37" fmla="*/ 200025 w 692944"/>
                  <a:gd name="connsiteY37" fmla="*/ 26194 h 845344"/>
                  <a:gd name="connsiteX38" fmla="*/ 166687 w 692944"/>
                  <a:gd name="connsiteY38" fmla="*/ 9525 h 845344"/>
                  <a:gd name="connsiteX39" fmla="*/ 150019 w 692944"/>
                  <a:gd name="connsiteY39" fmla="*/ 42863 h 845344"/>
                  <a:gd name="connsiteX40" fmla="*/ 121444 w 692944"/>
                  <a:gd name="connsiteY40" fmla="*/ 83344 h 845344"/>
                  <a:gd name="connsiteX41" fmla="*/ 107156 w 692944"/>
                  <a:gd name="connsiteY41" fmla="*/ 83344 h 845344"/>
                  <a:gd name="connsiteX42" fmla="*/ 119062 w 692944"/>
                  <a:gd name="connsiteY42" fmla="*/ 104775 h 845344"/>
                  <a:gd name="connsiteX43" fmla="*/ 126206 w 692944"/>
                  <a:gd name="connsiteY43" fmla="*/ 107157 h 845344"/>
                  <a:gd name="connsiteX44" fmla="*/ 97631 w 692944"/>
                  <a:gd name="connsiteY44" fmla="*/ 111919 h 845344"/>
                  <a:gd name="connsiteX45" fmla="*/ 69056 w 692944"/>
                  <a:gd name="connsiteY45" fmla="*/ 133350 h 845344"/>
                  <a:gd name="connsiteX46" fmla="*/ 100012 w 692944"/>
                  <a:gd name="connsiteY46" fmla="*/ 145257 h 845344"/>
                  <a:gd name="connsiteX47" fmla="*/ 114300 w 692944"/>
                  <a:gd name="connsiteY47" fmla="*/ 176213 h 845344"/>
                  <a:gd name="connsiteX48" fmla="*/ 133350 w 692944"/>
                  <a:gd name="connsiteY48" fmla="*/ 197644 h 845344"/>
                  <a:gd name="connsiteX49" fmla="*/ 154781 w 692944"/>
                  <a:gd name="connsiteY49" fmla="*/ 228600 h 845344"/>
                  <a:gd name="connsiteX50" fmla="*/ 133350 w 692944"/>
                  <a:gd name="connsiteY50" fmla="*/ 247650 h 845344"/>
                  <a:gd name="connsiteX51" fmla="*/ 95250 w 692944"/>
                  <a:gd name="connsiteY51" fmla="*/ 261938 h 845344"/>
                  <a:gd name="connsiteX52" fmla="*/ 83344 w 692944"/>
                  <a:gd name="connsiteY52" fmla="*/ 233363 h 845344"/>
                  <a:gd name="connsiteX53" fmla="*/ 45244 w 692944"/>
                  <a:gd name="connsiteY53" fmla="*/ 290513 h 845344"/>
                  <a:gd name="connsiteX54" fmla="*/ 0 w 692944"/>
                  <a:gd name="connsiteY54" fmla="*/ 323850 h 845344"/>
                  <a:gd name="connsiteX55" fmla="*/ 0 w 692944"/>
                  <a:gd name="connsiteY55" fmla="*/ 338138 h 845344"/>
                  <a:gd name="connsiteX56" fmla="*/ 4762 w 692944"/>
                  <a:gd name="connsiteY56" fmla="*/ 361950 h 845344"/>
                  <a:gd name="connsiteX57" fmla="*/ 4762 w 692944"/>
                  <a:gd name="connsiteY57" fmla="*/ 361950 h 845344"/>
                  <a:gd name="connsiteX58" fmla="*/ 35719 w 692944"/>
                  <a:gd name="connsiteY58" fmla="*/ 392907 h 845344"/>
                  <a:gd name="connsiteX59" fmla="*/ 35719 w 692944"/>
                  <a:gd name="connsiteY59" fmla="*/ 423863 h 845344"/>
                  <a:gd name="connsiteX60" fmla="*/ 33337 w 692944"/>
                  <a:gd name="connsiteY60" fmla="*/ 473869 h 845344"/>
                  <a:gd name="connsiteX61" fmla="*/ 33337 w 692944"/>
                  <a:gd name="connsiteY61" fmla="*/ 473869 h 845344"/>
                  <a:gd name="connsiteX62" fmla="*/ 16669 w 692944"/>
                  <a:gd name="connsiteY62" fmla="*/ 507207 h 845344"/>
                  <a:gd name="connsiteX63" fmla="*/ 14287 w 692944"/>
                  <a:gd name="connsiteY63" fmla="*/ 528638 h 845344"/>
                  <a:gd name="connsiteX64" fmla="*/ 9525 w 692944"/>
                  <a:gd name="connsiteY64" fmla="*/ 566738 h 845344"/>
                  <a:gd name="connsiteX65" fmla="*/ 35719 w 692944"/>
                  <a:gd name="connsiteY65" fmla="*/ 573882 h 845344"/>
                  <a:gd name="connsiteX66" fmla="*/ 11906 w 692944"/>
                  <a:gd name="connsiteY66" fmla="*/ 614363 h 845344"/>
                  <a:gd name="connsiteX67" fmla="*/ 52387 w 692944"/>
                  <a:gd name="connsiteY67" fmla="*/ 616744 h 845344"/>
                  <a:gd name="connsiteX68" fmla="*/ 57150 w 692944"/>
                  <a:gd name="connsiteY68" fmla="*/ 645319 h 845344"/>
                  <a:gd name="connsiteX69" fmla="*/ 61912 w 692944"/>
                  <a:gd name="connsiteY69" fmla="*/ 628650 h 845344"/>
                  <a:gd name="connsiteX70" fmla="*/ 114300 w 692944"/>
                  <a:gd name="connsiteY70" fmla="*/ 640557 h 845344"/>
                  <a:gd name="connsiteX71" fmla="*/ 140494 w 692944"/>
                  <a:gd name="connsiteY71" fmla="*/ 607219 h 845344"/>
                  <a:gd name="connsiteX72" fmla="*/ 164306 w 692944"/>
                  <a:gd name="connsiteY72" fmla="*/ 640557 h 845344"/>
                  <a:gd name="connsiteX73" fmla="*/ 185737 w 692944"/>
                  <a:gd name="connsiteY73" fmla="*/ 716757 h 845344"/>
                  <a:gd name="connsiteX74" fmla="*/ 226219 w 692944"/>
                  <a:gd name="connsiteY74" fmla="*/ 771525 h 845344"/>
                  <a:gd name="connsiteX75" fmla="*/ 238125 w 692944"/>
                  <a:gd name="connsiteY75" fmla="*/ 745332 h 845344"/>
                  <a:gd name="connsiteX76" fmla="*/ 285750 w 692944"/>
                  <a:gd name="connsiteY76" fmla="*/ 807244 h 845344"/>
                  <a:gd name="connsiteX77" fmla="*/ 304800 w 692944"/>
                  <a:gd name="connsiteY77" fmla="*/ 819150 h 845344"/>
                  <a:gd name="connsiteX78" fmla="*/ 304800 w 692944"/>
                  <a:gd name="connsiteY78" fmla="*/ 845344 h 845344"/>
                  <a:gd name="connsiteX79" fmla="*/ 342900 w 692944"/>
                  <a:gd name="connsiteY79" fmla="*/ 812007 h 845344"/>
                  <a:gd name="connsiteX80" fmla="*/ 354806 w 692944"/>
                  <a:gd name="connsiteY80" fmla="*/ 762000 h 845344"/>
                  <a:gd name="connsiteX81" fmla="*/ 400050 w 692944"/>
                  <a:gd name="connsiteY81" fmla="*/ 790575 h 845344"/>
                  <a:gd name="connsiteX82" fmla="*/ 409575 w 692944"/>
                  <a:gd name="connsiteY82" fmla="*/ 773907 h 845344"/>
                  <a:gd name="connsiteX83" fmla="*/ 404812 w 692944"/>
                  <a:gd name="connsiteY83" fmla="*/ 740569 h 845344"/>
                  <a:gd name="connsiteX84" fmla="*/ 428625 w 692944"/>
                  <a:gd name="connsiteY84" fmla="*/ 733425 h 845344"/>
                  <a:gd name="connsiteX85" fmla="*/ 438150 w 692944"/>
                  <a:gd name="connsiteY85" fmla="*/ 721519 h 845344"/>
                  <a:gd name="connsiteX86" fmla="*/ 481012 w 692944"/>
                  <a:gd name="connsiteY86" fmla="*/ 735807 h 845344"/>
                  <a:gd name="connsiteX87" fmla="*/ 485775 w 692944"/>
                  <a:gd name="connsiteY87" fmla="*/ 669132 h 845344"/>
                  <a:gd name="connsiteX88" fmla="*/ 619125 w 692944"/>
                  <a:gd name="connsiteY88" fmla="*/ 669132 h 845344"/>
                  <a:gd name="connsiteX89" fmla="*/ 654844 w 692944"/>
                  <a:gd name="connsiteY89" fmla="*/ 652463 h 845344"/>
                  <a:gd name="connsiteX90" fmla="*/ 635794 w 692944"/>
                  <a:gd name="connsiteY90" fmla="*/ 626269 h 845344"/>
                  <a:gd name="connsiteX91" fmla="*/ 673894 w 692944"/>
                  <a:gd name="connsiteY91" fmla="*/ 564357 h 8453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</a:cxnLst>
                <a:rect l="l" t="t" r="r" b="b"/>
                <a:pathLst>
                  <a:path w="692944" h="845344">
                    <a:moveTo>
                      <a:pt x="673894" y="564357"/>
                    </a:moveTo>
                    <a:lnTo>
                      <a:pt x="692944" y="535782"/>
                    </a:lnTo>
                    <a:lnTo>
                      <a:pt x="681037" y="509588"/>
                    </a:lnTo>
                    <a:lnTo>
                      <a:pt x="626269" y="531019"/>
                    </a:lnTo>
                    <a:lnTo>
                      <a:pt x="595312" y="490538"/>
                    </a:lnTo>
                    <a:lnTo>
                      <a:pt x="564356" y="478632"/>
                    </a:lnTo>
                    <a:lnTo>
                      <a:pt x="554831" y="492919"/>
                    </a:lnTo>
                    <a:lnTo>
                      <a:pt x="554831" y="492919"/>
                    </a:lnTo>
                    <a:lnTo>
                      <a:pt x="528637" y="478632"/>
                    </a:lnTo>
                    <a:lnTo>
                      <a:pt x="507206" y="445294"/>
                    </a:lnTo>
                    <a:lnTo>
                      <a:pt x="509587" y="409575"/>
                    </a:lnTo>
                    <a:lnTo>
                      <a:pt x="504825" y="369094"/>
                    </a:lnTo>
                    <a:lnTo>
                      <a:pt x="490537" y="328613"/>
                    </a:lnTo>
                    <a:lnTo>
                      <a:pt x="490537" y="328613"/>
                    </a:lnTo>
                    <a:lnTo>
                      <a:pt x="481012" y="300038"/>
                    </a:lnTo>
                    <a:lnTo>
                      <a:pt x="478631" y="273844"/>
                    </a:lnTo>
                    <a:lnTo>
                      <a:pt x="454819" y="252413"/>
                    </a:lnTo>
                    <a:lnTo>
                      <a:pt x="457200" y="235744"/>
                    </a:lnTo>
                    <a:lnTo>
                      <a:pt x="452437" y="204788"/>
                    </a:lnTo>
                    <a:lnTo>
                      <a:pt x="452437" y="190500"/>
                    </a:lnTo>
                    <a:lnTo>
                      <a:pt x="428625" y="166688"/>
                    </a:lnTo>
                    <a:lnTo>
                      <a:pt x="428625" y="166688"/>
                    </a:lnTo>
                    <a:lnTo>
                      <a:pt x="445294" y="142875"/>
                    </a:lnTo>
                    <a:lnTo>
                      <a:pt x="440531" y="123825"/>
                    </a:lnTo>
                    <a:lnTo>
                      <a:pt x="383381" y="126207"/>
                    </a:lnTo>
                    <a:lnTo>
                      <a:pt x="383381" y="126207"/>
                    </a:lnTo>
                    <a:lnTo>
                      <a:pt x="345281" y="130969"/>
                    </a:lnTo>
                    <a:lnTo>
                      <a:pt x="319087" y="90488"/>
                    </a:lnTo>
                    <a:lnTo>
                      <a:pt x="304800" y="59532"/>
                    </a:lnTo>
                    <a:lnTo>
                      <a:pt x="276225" y="52388"/>
                    </a:lnTo>
                    <a:lnTo>
                      <a:pt x="271462" y="71438"/>
                    </a:lnTo>
                    <a:lnTo>
                      <a:pt x="250031" y="69057"/>
                    </a:lnTo>
                    <a:lnTo>
                      <a:pt x="211931" y="54769"/>
                    </a:lnTo>
                    <a:cubicBezTo>
                      <a:pt x="217953" y="54167"/>
                      <a:pt x="236640" y="53459"/>
                      <a:pt x="245269" y="50007"/>
                    </a:cubicBezTo>
                    <a:cubicBezTo>
                      <a:pt x="246311" y="49590"/>
                      <a:pt x="246856" y="48419"/>
                      <a:pt x="247650" y="47625"/>
                    </a:cubicBezTo>
                    <a:lnTo>
                      <a:pt x="230981" y="28575"/>
                    </a:lnTo>
                    <a:lnTo>
                      <a:pt x="257175" y="0"/>
                    </a:lnTo>
                    <a:lnTo>
                      <a:pt x="200025" y="26194"/>
                    </a:lnTo>
                    <a:lnTo>
                      <a:pt x="166687" y="9525"/>
                    </a:lnTo>
                    <a:lnTo>
                      <a:pt x="150019" y="42863"/>
                    </a:lnTo>
                    <a:lnTo>
                      <a:pt x="121444" y="83344"/>
                    </a:lnTo>
                    <a:lnTo>
                      <a:pt x="107156" y="83344"/>
                    </a:lnTo>
                    <a:cubicBezTo>
                      <a:pt x="117183" y="103398"/>
                      <a:pt x="111661" y="97374"/>
                      <a:pt x="119062" y="104775"/>
                    </a:cubicBezTo>
                    <a:lnTo>
                      <a:pt x="126206" y="107157"/>
                    </a:lnTo>
                    <a:lnTo>
                      <a:pt x="97631" y="111919"/>
                    </a:lnTo>
                    <a:lnTo>
                      <a:pt x="69056" y="133350"/>
                    </a:lnTo>
                    <a:lnTo>
                      <a:pt x="100012" y="145257"/>
                    </a:lnTo>
                    <a:lnTo>
                      <a:pt x="114300" y="176213"/>
                    </a:lnTo>
                    <a:lnTo>
                      <a:pt x="133350" y="197644"/>
                    </a:lnTo>
                    <a:lnTo>
                      <a:pt x="154781" y="228600"/>
                    </a:lnTo>
                    <a:lnTo>
                      <a:pt x="133350" y="247650"/>
                    </a:lnTo>
                    <a:lnTo>
                      <a:pt x="95250" y="261938"/>
                    </a:lnTo>
                    <a:lnTo>
                      <a:pt x="83344" y="233363"/>
                    </a:lnTo>
                    <a:lnTo>
                      <a:pt x="45244" y="290513"/>
                    </a:lnTo>
                    <a:lnTo>
                      <a:pt x="0" y="323850"/>
                    </a:lnTo>
                    <a:lnTo>
                      <a:pt x="0" y="338138"/>
                    </a:lnTo>
                    <a:lnTo>
                      <a:pt x="4762" y="361950"/>
                    </a:lnTo>
                    <a:lnTo>
                      <a:pt x="4762" y="361950"/>
                    </a:lnTo>
                    <a:lnTo>
                      <a:pt x="35719" y="392907"/>
                    </a:lnTo>
                    <a:lnTo>
                      <a:pt x="35719" y="423863"/>
                    </a:lnTo>
                    <a:lnTo>
                      <a:pt x="33337" y="473869"/>
                    </a:lnTo>
                    <a:lnTo>
                      <a:pt x="33337" y="473869"/>
                    </a:lnTo>
                    <a:lnTo>
                      <a:pt x="16669" y="507207"/>
                    </a:lnTo>
                    <a:lnTo>
                      <a:pt x="14287" y="528638"/>
                    </a:lnTo>
                    <a:lnTo>
                      <a:pt x="9525" y="566738"/>
                    </a:lnTo>
                    <a:lnTo>
                      <a:pt x="35719" y="573882"/>
                    </a:lnTo>
                    <a:lnTo>
                      <a:pt x="11906" y="614363"/>
                    </a:lnTo>
                    <a:lnTo>
                      <a:pt x="52387" y="616744"/>
                    </a:lnTo>
                    <a:lnTo>
                      <a:pt x="57150" y="645319"/>
                    </a:lnTo>
                    <a:lnTo>
                      <a:pt x="61912" y="628650"/>
                    </a:lnTo>
                    <a:lnTo>
                      <a:pt x="114300" y="640557"/>
                    </a:lnTo>
                    <a:lnTo>
                      <a:pt x="140494" y="607219"/>
                    </a:lnTo>
                    <a:lnTo>
                      <a:pt x="164306" y="640557"/>
                    </a:lnTo>
                    <a:lnTo>
                      <a:pt x="185737" y="716757"/>
                    </a:lnTo>
                    <a:lnTo>
                      <a:pt x="226219" y="771525"/>
                    </a:lnTo>
                    <a:lnTo>
                      <a:pt x="238125" y="745332"/>
                    </a:lnTo>
                    <a:lnTo>
                      <a:pt x="285750" y="807244"/>
                    </a:lnTo>
                    <a:lnTo>
                      <a:pt x="304800" y="819150"/>
                    </a:lnTo>
                    <a:lnTo>
                      <a:pt x="304800" y="845344"/>
                    </a:lnTo>
                    <a:lnTo>
                      <a:pt x="342900" y="812007"/>
                    </a:lnTo>
                    <a:lnTo>
                      <a:pt x="354806" y="762000"/>
                    </a:lnTo>
                    <a:lnTo>
                      <a:pt x="400050" y="790575"/>
                    </a:lnTo>
                    <a:lnTo>
                      <a:pt x="409575" y="773907"/>
                    </a:lnTo>
                    <a:lnTo>
                      <a:pt x="404812" y="740569"/>
                    </a:lnTo>
                    <a:lnTo>
                      <a:pt x="428625" y="733425"/>
                    </a:lnTo>
                    <a:lnTo>
                      <a:pt x="438150" y="721519"/>
                    </a:lnTo>
                    <a:lnTo>
                      <a:pt x="481012" y="735807"/>
                    </a:lnTo>
                    <a:lnTo>
                      <a:pt x="485775" y="669132"/>
                    </a:lnTo>
                    <a:lnTo>
                      <a:pt x="619125" y="669132"/>
                    </a:lnTo>
                    <a:lnTo>
                      <a:pt x="654844" y="652463"/>
                    </a:lnTo>
                    <a:lnTo>
                      <a:pt x="635794" y="626269"/>
                    </a:lnTo>
                    <a:lnTo>
                      <a:pt x="673894" y="564357"/>
                    </a:ln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lIns="66542" tIns="33270" rIns="66542" bIns="33270"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4" name="Figura a mano libera 143"/>
              <p:cNvSpPr/>
              <p:nvPr/>
            </p:nvSpPr>
            <p:spPr bwMode="auto">
              <a:xfrm>
                <a:off x="8785792" y="3197043"/>
                <a:ext cx="711647" cy="616853"/>
              </a:xfrm>
              <a:custGeom>
                <a:avLst/>
                <a:gdLst>
                  <a:gd name="connsiteX0" fmla="*/ 40481 w 902494"/>
                  <a:gd name="connsiteY0" fmla="*/ 221456 h 852487"/>
                  <a:gd name="connsiteX1" fmla="*/ 71437 w 902494"/>
                  <a:gd name="connsiteY1" fmla="*/ 200025 h 852487"/>
                  <a:gd name="connsiteX2" fmla="*/ 121444 w 902494"/>
                  <a:gd name="connsiteY2" fmla="*/ 176212 h 852487"/>
                  <a:gd name="connsiteX3" fmla="*/ 145256 w 902494"/>
                  <a:gd name="connsiteY3" fmla="*/ 166687 h 852487"/>
                  <a:gd name="connsiteX4" fmla="*/ 116681 w 902494"/>
                  <a:gd name="connsiteY4" fmla="*/ 130968 h 852487"/>
                  <a:gd name="connsiteX5" fmla="*/ 66675 w 902494"/>
                  <a:gd name="connsiteY5" fmla="*/ 135731 h 852487"/>
                  <a:gd name="connsiteX6" fmla="*/ 42862 w 902494"/>
                  <a:gd name="connsiteY6" fmla="*/ 138112 h 852487"/>
                  <a:gd name="connsiteX7" fmla="*/ 0 w 902494"/>
                  <a:gd name="connsiteY7" fmla="*/ 138112 h 852487"/>
                  <a:gd name="connsiteX8" fmla="*/ 23812 w 902494"/>
                  <a:gd name="connsiteY8" fmla="*/ 88106 h 852487"/>
                  <a:gd name="connsiteX9" fmla="*/ 47625 w 902494"/>
                  <a:gd name="connsiteY9" fmla="*/ 23812 h 852487"/>
                  <a:gd name="connsiteX10" fmla="*/ 80962 w 902494"/>
                  <a:gd name="connsiteY10" fmla="*/ 28575 h 852487"/>
                  <a:gd name="connsiteX11" fmla="*/ 123825 w 902494"/>
                  <a:gd name="connsiteY11" fmla="*/ 11906 h 852487"/>
                  <a:gd name="connsiteX12" fmla="*/ 161925 w 902494"/>
                  <a:gd name="connsiteY12" fmla="*/ 0 h 852487"/>
                  <a:gd name="connsiteX13" fmla="*/ 190500 w 902494"/>
                  <a:gd name="connsiteY13" fmla="*/ 33337 h 852487"/>
                  <a:gd name="connsiteX14" fmla="*/ 216694 w 902494"/>
                  <a:gd name="connsiteY14" fmla="*/ 28575 h 852487"/>
                  <a:gd name="connsiteX15" fmla="*/ 235744 w 902494"/>
                  <a:gd name="connsiteY15" fmla="*/ 61912 h 852487"/>
                  <a:gd name="connsiteX16" fmla="*/ 235744 w 902494"/>
                  <a:gd name="connsiteY16" fmla="*/ 61912 h 852487"/>
                  <a:gd name="connsiteX17" fmla="*/ 273844 w 902494"/>
                  <a:gd name="connsiteY17" fmla="*/ 97631 h 852487"/>
                  <a:gd name="connsiteX18" fmla="*/ 302419 w 902494"/>
                  <a:gd name="connsiteY18" fmla="*/ 95250 h 852487"/>
                  <a:gd name="connsiteX19" fmla="*/ 316706 w 902494"/>
                  <a:gd name="connsiteY19" fmla="*/ 59531 h 852487"/>
                  <a:gd name="connsiteX20" fmla="*/ 340519 w 902494"/>
                  <a:gd name="connsiteY20" fmla="*/ 50006 h 852487"/>
                  <a:gd name="connsiteX21" fmla="*/ 359569 w 902494"/>
                  <a:gd name="connsiteY21" fmla="*/ 23812 h 852487"/>
                  <a:gd name="connsiteX22" fmla="*/ 352425 w 902494"/>
                  <a:gd name="connsiteY22" fmla="*/ 0 h 852487"/>
                  <a:gd name="connsiteX23" fmla="*/ 378619 w 902494"/>
                  <a:gd name="connsiteY23" fmla="*/ 9525 h 852487"/>
                  <a:gd name="connsiteX24" fmla="*/ 402431 w 902494"/>
                  <a:gd name="connsiteY24" fmla="*/ 19050 h 852487"/>
                  <a:gd name="connsiteX25" fmla="*/ 461962 w 902494"/>
                  <a:gd name="connsiteY25" fmla="*/ 71437 h 852487"/>
                  <a:gd name="connsiteX26" fmla="*/ 521494 w 902494"/>
                  <a:gd name="connsiteY26" fmla="*/ 126206 h 852487"/>
                  <a:gd name="connsiteX27" fmla="*/ 590550 w 902494"/>
                  <a:gd name="connsiteY27" fmla="*/ 169068 h 852487"/>
                  <a:gd name="connsiteX28" fmla="*/ 635794 w 902494"/>
                  <a:gd name="connsiteY28" fmla="*/ 211931 h 852487"/>
                  <a:gd name="connsiteX29" fmla="*/ 707231 w 902494"/>
                  <a:gd name="connsiteY29" fmla="*/ 226218 h 852487"/>
                  <a:gd name="connsiteX30" fmla="*/ 738187 w 902494"/>
                  <a:gd name="connsiteY30" fmla="*/ 252412 h 852487"/>
                  <a:gd name="connsiteX31" fmla="*/ 781050 w 902494"/>
                  <a:gd name="connsiteY31" fmla="*/ 273843 h 852487"/>
                  <a:gd name="connsiteX32" fmla="*/ 778669 w 902494"/>
                  <a:gd name="connsiteY32" fmla="*/ 345281 h 852487"/>
                  <a:gd name="connsiteX33" fmla="*/ 823912 w 902494"/>
                  <a:gd name="connsiteY33" fmla="*/ 431006 h 852487"/>
                  <a:gd name="connsiteX34" fmla="*/ 859631 w 902494"/>
                  <a:gd name="connsiteY34" fmla="*/ 531018 h 852487"/>
                  <a:gd name="connsiteX35" fmla="*/ 883444 w 902494"/>
                  <a:gd name="connsiteY35" fmla="*/ 597693 h 852487"/>
                  <a:gd name="connsiteX36" fmla="*/ 902494 w 902494"/>
                  <a:gd name="connsiteY36" fmla="*/ 692943 h 852487"/>
                  <a:gd name="connsiteX37" fmla="*/ 895350 w 902494"/>
                  <a:gd name="connsiteY37" fmla="*/ 723900 h 852487"/>
                  <a:gd name="connsiteX38" fmla="*/ 833437 w 902494"/>
                  <a:gd name="connsiteY38" fmla="*/ 735806 h 852487"/>
                  <a:gd name="connsiteX39" fmla="*/ 788194 w 902494"/>
                  <a:gd name="connsiteY39" fmla="*/ 762000 h 852487"/>
                  <a:gd name="connsiteX40" fmla="*/ 742950 w 902494"/>
                  <a:gd name="connsiteY40" fmla="*/ 776287 h 852487"/>
                  <a:gd name="connsiteX41" fmla="*/ 716756 w 902494"/>
                  <a:gd name="connsiteY41" fmla="*/ 773906 h 852487"/>
                  <a:gd name="connsiteX42" fmla="*/ 690562 w 902494"/>
                  <a:gd name="connsiteY42" fmla="*/ 812006 h 852487"/>
                  <a:gd name="connsiteX43" fmla="*/ 652462 w 902494"/>
                  <a:gd name="connsiteY43" fmla="*/ 835818 h 852487"/>
                  <a:gd name="connsiteX44" fmla="*/ 616744 w 902494"/>
                  <a:gd name="connsiteY44" fmla="*/ 852487 h 852487"/>
                  <a:gd name="connsiteX45" fmla="*/ 571500 w 902494"/>
                  <a:gd name="connsiteY45" fmla="*/ 788193 h 852487"/>
                  <a:gd name="connsiteX46" fmla="*/ 590550 w 902494"/>
                  <a:gd name="connsiteY46" fmla="*/ 762000 h 852487"/>
                  <a:gd name="connsiteX47" fmla="*/ 571500 w 902494"/>
                  <a:gd name="connsiteY47" fmla="*/ 721518 h 852487"/>
                  <a:gd name="connsiteX48" fmla="*/ 528637 w 902494"/>
                  <a:gd name="connsiteY48" fmla="*/ 742950 h 852487"/>
                  <a:gd name="connsiteX49" fmla="*/ 495300 w 902494"/>
                  <a:gd name="connsiteY49" fmla="*/ 716756 h 852487"/>
                  <a:gd name="connsiteX50" fmla="*/ 454819 w 902494"/>
                  <a:gd name="connsiteY50" fmla="*/ 692943 h 852487"/>
                  <a:gd name="connsiteX51" fmla="*/ 438150 w 902494"/>
                  <a:gd name="connsiteY51" fmla="*/ 709612 h 852487"/>
                  <a:gd name="connsiteX52" fmla="*/ 407194 w 902494"/>
                  <a:gd name="connsiteY52" fmla="*/ 669131 h 852487"/>
                  <a:gd name="connsiteX53" fmla="*/ 411956 w 902494"/>
                  <a:gd name="connsiteY53" fmla="*/ 592931 h 852487"/>
                  <a:gd name="connsiteX54" fmla="*/ 378619 w 902494"/>
                  <a:gd name="connsiteY54" fmla="*/ 519112 h 852487"/>
                  <a:gd name="connsiteX55" fmla="*/ 385762 w 902494"/>
                  <a:gd name="connsiteY55" fmla="*/ 483393 h 852487"/>
                  <a:gd name="connsiteX56" fmla="*/ 357187 w 902494"/>
                  <a:gd name="connsiteY56" fmla="*/ 469106 h 852487"/>
                  <a:gd name="connsiteX57" fmla="*/ 357187 w 902494"/>
                  <a:gd name="connsiteY57" fmla="*/ 409575 h 852487"/>
                  <a:gd name="connsiteX58" fmla="*/ 330994 w 902494"/>
                  <a:gd name="connsiteY58" fmla="*/ 378618 h 852487"/>
                  <a:gd name="connsiteX59" fmla="*/ 350044 w 902494"/>
                  <a:gd name="connsiteY59" fmla="*/ 347662 h 852487"/>
                  <a:gd name="connsiteX60" fmla="*/ 340519 w 902494"/>
                  <a:gd name="connsiteY60" fmla="*/ 330993 h 852487"/>
                  <a:gd name="connsiteX61" fmla="*/ 314325 w 902494"/>
                  <a:gd name="connsiteY61" fmla="*/ 340518 h 852487"/>
                  <a:gd name="connsiteX62" fmla="*/ 238125 w 902494"/>
                  <a:gd name="connsiteY62" fmla="*/ 342900 h 852487"/>
                  <a:gd name="connsiteX63" fmla="*/ 207169 w 902494"/>
                  <a:gd name="connsiteY63" fmla="*/ 280987 h 852487"/>
                  <a:gd name="connsiteX64" fmla="*/ 169069 w 902494"/>
                  <a:gd name="connsiteY64" fmla="*/ 261937 h 852487"/>
                  <a:gd name="connsiteX65" fmla="*/ 169069 w 902494"/>
                  <a:gd name="connsiteY65" fmla="*/ 280987 h 852487"/>
                  <a:gd name="connsiteX66" fmla="*/ 142875 w 902494"/>
                  <a:gd name="connsiteY66" fmla="*/ 288131 h 852487"/>
                  <a:gd name="connsiteX67" fmla="*/ 102394 w 902494"/>
                  <a:gd name="connsiteY67" fmla="*/ 271462 h 852487"/>
                  <a:gd name="connsiteX68" fmla="*/ 150019 w 902494"/>
                  <a:gd name="connsiteY68" fmla="*/ 271462 h 852487"/>
                  <a:gd name="connsiteX69" fmla="*/ 140494 w 902494"/>
                  <a:gd name="connsiteY69" fmla="*/ 247650 h 852487"/>
                  <a:gd name="connsiteX70" fmla="*/ 147637 w 902494"/>
                  <a:gd name="connsiteY70" fmla="*/ 214312 h 852487"/>
                  <a:gd name="connsiteX71" fmla="*/ 128587 w 902494"/>
                  <a:gd name="connsiteY71" fmla="*/ 235743 h 852487"/>
                  <a:gd name="connsiteX72" fmla="*/ 92869 w 902494"/>
                  <a:gd name="connsiteY72" fmla="*/ 238125 h 852487"/>
                  <a:gd name="connsiteX73" fmla="*/ 40481 w 902494"/>
                  <a:gd name="connsiteY73" fmla="*/ 221456 h 85248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</a:cxnLst>
                <a:rect l="l" t="t" r="r" b="b"/>
                <a:pathLst>
                  <a:path w="902494" h="852487">
                    <a:moveTo>
                      <a:pt x="40481" y="221456"/>
                    </a:moveTo>
                    <a:lnTo>
                      <a:pt x="71437" y="200025"/>
                    </a:lnTo>
                    <a:lnTo>
                      <a:pt x="121444" y="176212"/>
                    </a:lnTo>
                    <a:lnTo>
                      <a:pt x="145256" y="166687"/>
                    </a:lnTo>
                    <a:lnTo>
                      <a:pt x="116681" y="130968"/>
                    </a:lnTo>
                    <a:lnTo>
                      <a:pt x="66675" y="135731"/>
                    </a:lnTo>
                    <a:lnTo>
                      <a:pt x="42862" y="138112"/>
                    </a:lnTo>
                    <a:lnTo>
                      <a:pt x="0" y="138112"/>
                    </a:lnTo>
                    <a:lnTo>
                      <a:pt x="23812" y="88106"/>
                    </a:lnTo>
                    <a:lnTo>
                      <a:pt x="47625" y="23812"/>
                    </a:lnTo>
                    <a:lnTo>
                      <a:pt x="80962" y="28575"/>
                    </a:lnTo>
                    <a:lnTo>
                      <a:pt x="123825" y="11906"/>
                    </a:lnTo>
                    <a:lnTo>
                      <a:pt x="161925" y="0"/>
                    </a:lnTo>
                    <a:lnTo>
                      <a:pt x="190500" y="33337"/>
                    </a:lnTo>
                    <a:lnTo>
                      <a:pt x="216694" y="28575"/>
                    </a:lnTo>
                    <a:lnTo>
                      <a:pt x="235744" y="61912"/>
                    </a:lnTo>
                    <a:lnTo>
                      <a:pt x="235744" y="61912"/>
                    </a:lnTo>
                    <a:lnTo>
                      <a:pt x="273844" y="97631"/>
                    </a:lnTo>
                    <a:lnTo>
                      <a:pt x="302419" y="95250"/>
                    </a:lnTo>
                    <a:lnTo>
                      <a:pt x="316706" y="59531"/>
                    </a:lnTo>
                    <a:cubicBezTo>
                      <a:pt x="337418" y="51764"/>
                      <a:pt x="329690" y="55419"/>
                      <a:pt x="340519" y="50006"/>
                    </a:cubicBezTo>
                    <a:lnTo>
                      <a:pt x="359569" y="23812"/>
                    </a:lnTo>
                    <a:lnTo>
                      <a:pt x="352425" y="0"/>
                    </a:lnTo>
                    <a:lnTo>
                      <a:pt x="378619" y="9525"/>
                    </a:lnTo>
                    <a:lnTo>
                      <a:pt x="402431" y="19050"/>
                    </a:lnTo>
                    <a:lnTo>
                      <a:pt x="461962" y="71437"/>
                    </a:lnTo>
                    <a:lnTo>
                      <a:pt x="521494" y="126206"/>
                    </a:lnTo>
                    <a:lnTo>
                      <a:pt x="590550" y="169068"/>
                    </a:lnTo>
                    <a:lnTo>
                      <a:pt x="635794" y="211931"/>
                    </a:lnTo>
                    <a:lnTo>
                      <a:pt x="707231" y="226218"/>
                    </a:lnTo>
                    <a:lnTo>
                      <a:pt x="738187" y="252412"/>
                    </a:lnTo>
                    <a:lnTo>
                      <a:pt x="781050" y="273843"/>
                    </a:lnTo>
                    <a:cubicBezTo>
                      <a:pt x="780256" y="297656"/>
                      <a:pt x="779463" y="321468"/>
                      <a:pt x="778669" y="345281"/>
                    </a:cubicBezTo>
                    <a:lnTo>
                      <a:pt x="823912" y="431006"/>
                    </a:lnTo>
                    <a:lnTo>
                      <a:pt x="859631" y="531018"/>
                    </a:lnTo>
                    <a:lnTo>
                      <a:pt x="883444" y="597693"/>
                    </a:lnTo>
                    <a:lnTo>
                      <a:pt x="902494" y="692943"/>
                    </a:lnTo>
                    <a:lnTo>
                      <a:pt x="895350" y="723900"/>
                    </a:lnTo>
                    <a:lnTo>
                      <a:pt x="833437" y="735806"/>
                    </a:lnTo>
                    <a:lnTo>
                      <a:pt x="788194" y="762000"/>
                    </a:lnTo>
                    <a:lnTo>
                      <a:pt x="742950" y="776287"/>
                    </a:lnTo>
                    <a:lnTo>
                      <a:pt x="716756" y="773906"/>
                    </a:lnTo>
                    <a:lnTo>
                      <a:pt x="690562" y="812006"/>
                    </a:lnTo>
                    <a:lnTo>
                      <a:pt x="652462" y="835818"/>
                    </a:lnTo>
                    <a:lnTo>
                      <a:pt x="616744" y="852487"/>
                    </a:lnTo>
                    <a:lnTo>
                      <a:pt x="571500" y="788193"/>
                    </a:lnTo>
                    <a:lnTo>
                      <a:pt x="590550" y="762000"/>
                    </a:lnTo>
                    <a:lnTo>
                      <a:pt x="571500" y="721518"/>
                    </a:lnTo>
                    <a:lnTo>
                      <a:pt x="528637" y="742950"/>
                    </a:lnTo>
                    <a:lnTo>
                      <a:pt x="495300" y="716756"/>
                    </a:lnTo>
                    <a:lnTo>
                      <a:pt x="454819" y="692943"/>
                    </a:lnTo>
                    <a:lnTo>
                      <a:pt x="438150" y="709612"/>
                    </a:lnTo>
                    <a:lnTo>
                      <a:pt x="407194" y="669131"/>
                    </a:lnTo>
                    <a:lnTo>
                      <a:pt x="411956" y="592931"/>
                    </a:lnTo>
                    <a:lnTo>
                      <a:pt x="378619" y="519112"/>
                    </a:lnTo>
                    <a:lnTo>
                      <a:pt x="385762" y="483393"/>
                    </a:lnTo>
                    <a:lnTo>
                      <a:pt x="357187" y="469106"/>
                    </a:lnTo>
                    <a:lnTo>
                      <a:pt x="357187" y="409575"/>
                    </a:lnTo>
                    <a:lnTo>
                      <a:pt x="330994" y="378618"/>
                    </a:lnTo>
                    <a:lnTo>
                      <a:pt x="350044" y="347662"/>
                    </a:lnTo>
                    <a:lnTo>
                      <a:pt x="340519" y="330993"/>
                    </a:lnTo>
                    <a:cubicBezTo>
                      <a:pt x="315631" y="338460"/>
                      <a:pt x="322566" y="332277"/>
                      <a:pt x="314325" y="340518"/>
                    </a:cubicBezTo>
                    <a:lnTo>
                      <a:pt x="238125" y="342900"/>
                    </a:lnTo>
                    <a:lnTo>
                      <a:pt x="207169" y="280987"/>
                    </a:lnTo>
                    <a:lnTo>
                      <a:pt x="169069" y="261937"/>
                    </a:lnTo>
                    <a:lnTo>
                      <a:pt x="169069" y="280987"/>
                    </a:lnTo>
                    <a:lnTo>
                      <a:pt x="142875" y="288131"/>
                    </a:lnTo>
                    <a:lnTo>
                      <a:pt x="102394" y="271462"/>
                    </a:lnTo>
                    <a:lnTo>
                      <a:pt x="150019" y="271462"/>
                    </a:lnTo>
                    <a:lnTo>
                      <a:pt x="140494" y="247650"/>
                    </a:lnTo>
                    <a:lnTo>
                      <a:pt x="147637" y="214312"/>
                    </a:lnTo>
                    <a:lnTo>
                      <a:pt x="128587" y="235743"/>
                    </a:lnTo>
                    <a:lnTo>
                      <a:pt x="92869" y="238125"/>
                    </a:lnTo>
                    <a:lnTo>
                      <a:pt x="40481" y="221456"/>
                    </a:lnTo>
                    <a:close/>
                  </a:path>
                </a:pathLst>
              </a:custGeom>
              <a:solidFill>
                <a:srgbClr val="FFFFFF">
                  <a:lumMod val="95000"/>
                </a:srgbClr>
              </a:solidFill>
              <a:ln w="9525" cap="flat" cmpd="sng" algn="ctr">
                <a:solidFill>
                  <a:srgbClr val="FFFFFF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lIns="66542" tIns="33270" rIns="66542" bIns="33270"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45" name="Rettangolo 144"/>
              <p:cNvSpPr/>
              <p:nvPr/>
            </p:nvSpPr>
            <p:spPr>
              <a:xfrm>
                <a:off x="7318606" y="3028522"/>
                <a:ext cx="531771" cy="68869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algn="ctr" defTabSz="932962">
                  <a:defRPr/>
                </a:pPr>
                <a:r>
                  <a:rPr lang="it-IT" sz="918" kern="0">
                    <a:solidFill>
                      <a:srgbClr val="000000"/>
                    </a:solidFill>
                  </a:rPr>
                  <a:t>Genova</a:t>
                </a:r>
              </a:p>
            </p:txBody>
          </p:sp>
          <p:sp>
            <p:nvSpPr>
              <p:cNvPr id="146" name="Rettangolo 145"/>
              <p:cNvSpPr/>
              <p:nvPr/>
            </p:nvSpPr>
            <p:spPr>
              <a:xfrm>
                <a:off x="6947398" y="2271609"/>
                <a:ext cx="531771" cy="68869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algn="ctr" defTabSz="932962">
                  <a:defRPr/>
                </a:pPr>
                <a:r>
                  <a:rPr lang="it-IT" sz="918" kern="0">
                    <a:solidFill>
                      <a:srgbClr val="000000"/>
                    </a:solidFill>
                  </a:rPr>
                  <a:t>Milano</a:t>
                </a:r>
              </a:p>
            </p:txBody>
          </p:sp>
          <p:sp>
            <p:nvSpPr>
              <p:cNvPr id="147" name="Rettangolo 146"/>
              <p:cNvSpPr/>
              <p:nvPr/>
            </p:nvSpPr>
            <p:spPr>
              <a:xfrm>
                <a:off x="8947956" y="2587400"/>
                <a:ext cx="531771" cy="68869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algn="ctr" defTabSz="932962">
                  <a:defRPr/>
                </a:pPr>
                <a:r>
                  <a:rPr lang="it-IT" sz="918" kern="0">
                    <a:solidFill>
                      <a:srgbClr val="000000"/>
                    </a:solidFill>
                  </a:rPr>
                  <a:t>Venezia</a:t>
                </a:r>
              </a:p>
            </p:txBody>
          </p:sp>
          <p:sp>
            <p:nvSpPr>
              <p:cNvPr id="150" name="Rettangolo 149"/>
              <p:cNvSpPr/>
              <p:nvPr/>
            </p:nvSpPr>
            <p:spPr>
              <a:xfrm>
                <a:off x="8677031" y="4297519"/>
                <a:ext cx="531771" cy="131056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defTabSz="932962">
                  <a:defRPr/>
                </a:pPr>
                <a:r>
                  <a:rPr lang="it-IT" sz="918" kern="0">
                    <a:solidFill>
                      <a:srgbClr val="000000"/>
                    </a:solidFill>
                  </a:rPr>
                  <a:t>Roma</a:t>
                </a:r>
              </a:p>
            </p:txBody>
          </p:sp>
          <p:sp>
            <p:nvSpPr>
              <p:cNvPr id="151" name="Rettangolo 150"/>
              <p:cNvSpPr/>
              <p:nvPr/>
            </p:nvSpPr>
            <p:spPr>
              <a:xfrm>
                <a:off x="9937387" y="4026735"/>
                <a:ext cx="531771" cy="131056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algn="ctr" defTabSz="932962">
                  <a:defRPr/>
                </a:pPr>
                <a:r>
                  <a:rPr lang="it-IT" sz="918" kern="0">
                    <a:solidFill>
                      <a:srgbClr val="000000"/>
                    </a:solidFill>
                  </a:rPr>
                  <a:t>Termoli</a:t>
                </a:r>
              </a:p>
            </p:txBody>
          </p:sp>
          <p:sp>
            <p:nvSpPr>
              <p:cNvPr id="152" name="Rettangolo 151"/>
              <p:cNvSpPr/>
              <p:nvPr/>
            </p:nvSpPr>
            <p:spPr>
              <a:xfrm>
                <a:off x="9117729" y="4691781"/>
                <a:ext cx="531771" cy="131056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defTabSz="932962">
                  <a:defRPr/>
                </a:pPr>
                <a:r>
                  <a:rPr lang="it-IT" sz="918" kern="0">
                    <a:solidFill>
                      <a:srgbClr val="000000"/>
                    </a:solidFill>
                  </a:rPr>
                  <a:t>Napoli</a:t>
                </a:r>
              </a:p>
            </p:txBody>
          </p:sp>
          <p:sp>
            <p:nvSpPr>
              <p:cNvPr id="153" name="Rettangolo 152"/>
              <p:cNvSpPr/>
              <p:nvPr/>
            </p:nvSpPr>
            <p:spPr>
              <a:xfrm>
                <a:off x="9609771" y="3765290"/>
                <a:ext cx="531771" cy="131056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defTabSz="932962">
                  <a:defRPr/>
                </a:pPr>
                <a:r>
                  <a:rPr lang="it-IT" sz="918" kern="0">
                    <a:solidFill>
                      <a:srgbClr val="000000"/>
                    </a:solidFill>
                  </a:rPr>
                  <a:t>Pescara</a:t>
                </a:r>
              </a:p>
            </p:txBody>
          </p:sp>
          <p:sp>
            <p:nvSpPr>
              <p:cNvPr id="154" name="Rettangolo 153"/>
              <p:cNvSpPr/>
              <p:nvPr/>
            </p:nvSpPr>
            <p:spPr>
              <a:xfrm>
                <a:off x="10450659" y="6123441"/>
                <a:ext cx="545252" cy="159219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defTabSz="932962">
                  <a:defRPr/>
                </a:pPr>
                <a:r>
                  <a:rPr lang="it-IT" sz="918" kern="0">
                    <a:solidFill>
                      <a:srgbClr val="000000"/>
                    </a:solidFill>
                  </a:rPr>
                  <a:t>Reggio Calabria</a:t>
                </a:r>
              </a:p>
            </p:txBody>
          </p:sp>
          <p:sp>
            <p:nvSpPr>
              <p:cNvPr id="155" name="Rettangolo 154"/>
              <p:cNvSpPr/>
              <p:nvPr/>
            </p:nvSpPr>
            <p:spPr>
              <a:xfrm>
                <a:off x="9756718" y="5801026"/>
                <a:ext cx="531771" cy="131056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defTabSz="932962">
                  <a:defRPr/>
                </a:pPr>
                <a:r>
                  <a:rPr lang="it-IT" sz="918" kern="0">
                    <a:solidFill>
                      <a:srgbClr val="000000"/>
                    </a:solidFill>
                  </a:rPr>
                  <a:t>Messina </a:t>
                </a:r>
              </a:p>
            </p:txBody>
          </p:sp>
          <p:sp>
            <p:nvSpPr>
              <p:cNvPr id="156" name="Rettangolo 155"/>
              <p:cNvSpPr/>
              <p:nvPr/>
            </p:nvSpPr>
            <p:spPr>
              <a:xfrm>
                <a:off x="9911145" y="6378409"/>
                <a:ext cx="531771" cy="131056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defTabSz="932962">
                  <a:defRPr/>
                </a:pPr>
                <a:r>
                  <a:rPr lang="it-IT" sz="918" kern="0">
                    <a:solidFill>
                      <a:srgbClr val="000000"/>
                    </a:solidFill>
                  </a:rPr>
                  <a:t>Catania</a:t>
                </a:r>
              </a:p>
            </p:txBody>
          </p:sp>
          <p:sp>
            <p:nvSpPr>
              <p:cNvPr id="157" name="Rettangolo 156"/>
              <p:cNvSpPr/>
              <p:nvPr/>
            </p:nvSpPr>
            <p:spPr>
              <a:xfrm>
                <a:off x="8947958" y="5812964"/>
                <a:ext cx="531771" cy="131056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defTabSz="932962">
                  <a:defRPr/>
                </a:pPr>
                <a:r>
                  <a:rPr lang="it-IT" sz="918" kern="0">
                    <a:solidFill>
                      <a:srgbClr val="000000"/>
                    </a:solidFill>
                  </a:rPr>
                  <a:t>Palermo</a:t>
                </a:r>
              </a:p>
            </p:txBody>
          </p:sp>
          <p:sp>
            <p:nvSpPr>
              <p:cNvPr id="161" name="Figura a mano libera 160"/>
              <p:cNvSpPr/>
              <p:nvPr/>
            </p:nvSpPr>
            <p:spPr>
              <a:xfrm>
                <a:off x="9939850" y="4874129"/>
                <a:ext cx="579876" cy="1157219"/>
              </a:xfrm>
              <a:custGeom>
                <a:avLst/>
                <a:gdLst>
                  <a:gd name="connsiteX0" fmla="*/ 0 w 518125"/>
                  <a:gd name="connsiteY0" fmla="*/ 0 h 1085850"/>
                  <a:gd name="connsiteX1" fmla="*/ 228600 w 518125"/>
                  <a:gd name="connsiteY1" fmla="*/ 104775 h 1085850"/>
                  <a:gd name="connsiteX2" fmla="*/ 400050 w 518125"/>
                  <a:gd name="connsiteY2" fmla="*/ 333375 h 1085850"/>
                  <a:gd name="connsiteX3" fmla="*/ 514350 w 518125"/>
                  <a:gd name="connsiteY3" fmla="*/ 647700 h 1085850"/>
                  <a:gd name="connsiteX4" fmla="*/ 466725 w 518125"/>
                  <a:gd name="connsiteY4" fmla="*/ 895350 h 1085850"/>
                  <a:gd name="connsiteX5" fmla="*/ 238125 w 518125"/>
                  <a:gd name="connsiteY5" fmla="*/ 1085850 h 1085850"/>
                  <a:gd name="connsiteX0" fmla="*/ 0 w 514673"/>
                  <a:gd name="connsiteY0" fmla="*/ 0 h 1085850"/>
                  <a:gd name="connsiteX1" fmla="*/ 228600 w 514673"/>
                  <a:gd name="connsiteY1" fmla="*/ 104775 h 1085850"/>
                  <a:gd name="connsiteX2" fmla="*/ 400050 w 514673"/>
                  <a:gd name="connsiteY2" fmla="*/ 333375 h 1085850"/>
                  <a:gd name="connsiteX3" fmla="*/ 514350 w 514673"/>
                  <a:gd name="connsiteY3" fmla="*/ 647700 h 1085850"/>
                  <a:gd name="connsiteX4" fmla="*/ 427648 w 514673"/>
                  <a:gd name="connsiteY4" fmla="*/ 864088 h 1085850"/>
                  <a:gd name="connsiteX5" fmla="*/ 238125 w 514673"/>
                  <a:gd name="connsiteY5" fmla="*/ 1085850 h 1085850"/>
                  <a:gd name="connsiteX0" fmla="*/ 0 w 506917"/>
                  <a:gd name="connsiteY0" fmla="*/ 0 h 1085850"/>
                  <a:gd name="connsiteX1" fmla="*/ 228600 w 506917"/>
                  <a:gd name="connsiteY1" fmla="*/ 104775 h 1085850"/>
                  <a:gd name="connsiteX2" fmla="*/ 400050 w 506917"/>
                  <a:gd name="connsiteY2" fmla="*/ 333375 h 1085850"/>
                  <a:gd name="connsiteX3" fmla="*/ 506534 w 506917"/>
                  <a:gd name="connsiteY3" fmla="*/ 624254 h 1085850"/>
                  <a:gd name="connsiteX4" fmla="*/ 427648 w 506917"/>
                  <a:gd name="connsiteY4" fmla="*/ 864088 h 1085850"/>
                  <a:gd name="connsiteX5" fmla="*/ 238125 w 506917"/>
                  <a:gd name="connsiteY5" fmla="*/ 1085850 h 1085850"/>
                  <a:gd name="connsiteX0" fmla="*/ 0 w 506591"/>
                  <a:gd name="connsiteY0" fmla="*/ 0 h 1085850"/>
                  <a:gd name="connsiteX1" fmla="*/ 228600 w 506591"/>
                  <a:gd name="connsiteY1" fmla="*/ 104775 h 1085850"/>
                  <a:gd name="connsiteX2" fmla="*/ 400050 w 506591"/>
                  <a:gd name="connsiteY2" fmla="*/ 333375 h 1085850"/>
                  <a:gd name="connsiteX3" fmla="*/ 506534 w 506591"/>
                  <a:gd name="connsiteY3" fmla="*/ 624254 h 1085850"/>
                  <a:gd name="connsiteX4" fmla="*/ 412018 w 506591"/>
                  <a:gd name="connsiteY4" fmla="*/ 840642 h 1085850"/>
                  <a:gd name="connsiteX5" fmla="*/ 238125 w 506591"/>
                  <a:gd name="connsiteY5" fmla="*/ 1085850 h 1085850"/>
                  <a:gd name="connsiteX0" fmla="*/ 0 w 507254"/>
                  <a:gd name="connsiteY0" fmla="*/ 0 h 1085850"/>
                  <a:gd name="connsiteX1" fmla="*/ 228600 w 507254"/>
                  <a:gd name="connsiteY1" fmla="*/ 104775 h 1085850"/>
                  <a:gd name="connsiteX2" fmla="*/ 400050 w 507254"/>
                  <a:gd name="connsiteY2" fmla="*/ 333375 h 1085850"/>
                  <a:gd name="connsiteX3" fmla="*/ 506534 w 507254"/>
                  <a:gd name="connsiteY3" fmla="*/ 624254 h 1085850"/>
                  <a:gd name="connsiteX4" fmla="*/ 435464 w 507254"/>
                  <a:gd name="connsiteY4" fmla="*/ 856272 h 1085850"/>
                  <a:gd name="connsiteX5" fmla="*/ 238125 w 507254"/>
                  <a:gd name="connsiteY5" fmla="*/ 1085850 h 10858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507254" h="1085850">
                    <a:moveTo>
                      <a:pt x="0" y="0"/>
                    </a:moveTo>
                    <a:cubicBezTo>
                      <a:pt x="80962" y="24606"/>
                      <a:pt x="161925" y="49213"/>
                      <a:pt x="228600" y="104775"/>
                    </a:cubicBezTo>
                    <a:cubicBezTo>
                      <a:pt x="295275" y="160337"/>
                      <a:pt x="353728" y="246795"/>
                      <a:pt x="400050" y="333375"/>
                    </a:cubicBezTo>
                    <a:cubicBezTo>
                      <a:pt x="446372" y="419955"/>
                      <a:pt x="500632" y="537105"/>
                      <a:pt x="506534" y="624254"/>
                    </a:cubicBezTo>
                    <a:cubicBezTo>
                      <a:pt x="512436" y="711403"/>
                      <a:pt x="481502" y="783247"/>
                      <a:pt x="435464" y="856272"/>
                    </a:cubicBezTo>
                    <a:cubicBezTo>
                      <a:pt x="389427" y="929297"/>
                      <a:pt x="329406" y="1027112"/>
                      <a:pt x="238125" y="1085850"/>
                    </a:cubicBezTo>
                  </a:path>
                </a:pathLst>
              </a:custGeom>
              <a:noFill/>
              <a:ln w="28575" cap="flat" cmpd="sng" algn="ctr">
                <a:solidFill>
                  <a:srgbClr val="DC002E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4" name="Figura a mano libera 163"/>
              <p:cNvSpPr/>
              <p:nvPr/>
            </p:nvSpPr>
            <p:spPr>
              <a:xfrm>
                <a:off x="9972515" y="4204160"/>
                <a:ext cx="217773" cy="172568"/>
              </a:xfrm>
              <a:custGeom>
                <a:avLst/>
                <a:gdLst>
                  <a:gd name="connsiteX0" fmla="*/ 0 w 1504950"/>
                  <a:gd name="connsiteY0" fmla="*/ 0 h 1000125"/>
                  <a:gd name="connsiteX1" fmla="*/ 342900 w 1504950"/>
                  <a:gd name="connsiteY1" fmla="*/ 247650 h 1000125"/>
                  <a:gd name="connsiteX2" fmla="*/ 533400 w 1504950"/>
                  <a:gd name="connsiteY2" fmla="*/ 409575 h 1000125"/>
                  <a:gd name="connsiteX3" fmla="*/ 923925 w 1504950"/>
                  <a:gd name="connsiteY3" fmla="*/ 590550 h 1000125"/>
                  <a:gd name="connsiteX4" fmla="*/ 1428750 w 1504950"/>
                  <a:gd name="connsiteY4" fmla="*/ 866775 h 1000125"/>
                  <a:gd name="connsiteX5" fmla="*/ 1504950 w 1504950"/>
                  <a:gd name="connsiteY5" fmla="*/ 1000125 h 1000125"/>
                  <a:gd name="connsiteX0" fmla="*/ 0 w 1504950"/>
                  <a:gd name="connsiteY0" fmla="*/ 0 h 1000125"/>
                  <a:gd name="connsiteX1" fmla="*/ 342900 w 1504950"/>
                  <a:gd name="connsiteY1" fmla="*/ 247650 h 1000125"/>
                  <a:gd name="connsiteX2" fmla="*/ 533400 w 1504950"/>
                  <a:gd name="connsiteY2" fmla="*/ 409575 h 1000125"/>
                  <a:gd name="connsiteX3" fmla="*/ 923925 w 1504950"/>
                  <a:gd name="connsiteY3" fmla="*/ 590550 h 1000125"/>
                  <a:gd name="connsiteX4" fmla="*/ 1504950 w 1504950"/>
                  <a:gd name="connsiteY4" fmla="*/ 1000125 h 1000125"/>
                  <a:gd name="connsiteX0" fmla="*/ 0 w 923925"/>
                  <a:gd name="connsiteY0" fmla="*/ 0 h 590550"/>
                  <a:gd name="connsiteX1" fmla="*/ 342900 w 923925"/>
                  <a:gd name="connsiteY1" fmla="*/ 247650 h 590550"/>
                  <a:gd name="connsiteX2" fmla="*/ 533400 w 923925"/>
                  <a:gd name="connsiteY2" fmla="*/ 409575 h 590550"/>
                  <a:gd name="connsiteX3" fmla="*/ 923925 w 923925"/>
                  <a:gd name="connsiteY3" fmla="*/ 590550 h 590550"/>
                  <a:gd name="connsiteX0" fmla="*/ 0 w 533400"/>
                  <a:gd name="connsiteY0" fmla="*/ 0 h 409575"/>
                  <a:gd name="connsiteX1" fmla="*/ 342900 w 533400"/>
                  <a:gd name="connsiteY1" fmla="*/ 247650 h 409575"/>
                  <a:gd name="connsiteX2" fmla="*/ 533400 w 533400"/>
                  <a:gd name="connsiteY2" fmla="*/ 409575 h 409575"/>
                  <a:gd name="connsiteX0" fmla="*/ 0 w 190500"/>
                  <a:gd name="connsiteY0" fmla="*/ 0 h 161925"/>
                  <a:gd name="connsiteX1" fmla="*/ 190500 w 190500"/>
                  <a:gd name="connsiteY1" fmla="*/ 161925 h 1619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90500" h="161925">
                    <a:moveTo>
                      <a:pt x="0" y="0"/>
                    </a:moveTo>
                    <a:cubicBezTo>
                      <a:pt x="88900" y="68262"/>
                      <a:pt x="93663" y="104775"/>
                      <a:pt x="190500" y="161925"/>
                    </a:cubicBezTo>
                  </a:path>
                </a:pathLst>
              </a:custGeom>
              <a:noFill/>
              <a:ln w="28575" cap="flat" cmpd="sng" algn="ctr">
                <a:solidFill>
                  <a:srgbClr val="DC002E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5" name="Rettangolo 164"/>
              <p:cNvSpPr/>
              <p:nvPr/>
            </p:nvSpPr>
            <p:spPr>
              <a:xfrm>
                <a:off x="10691072" y="4386417"/>
                <a:ext cx="531771" cy="131056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defTabSz="932962">
                  <a:defRPr/>
                </a:pPr>
                <a:r>
                  <a:rPr lang="it-IT" sz="918" kern="0">
                    <a:solidFill>
                      <a:srgbClr val="000000"/>
                    </a:solidFill>
                  </a:rPr>
                  <a:t>Bari</a:t>
                </a:r>
              </a:p>
            </p:txBody>
          </p:sp>
          <p:sp>
            <p:nvSpPr>
              <p:cNvPr id="166" name="Figura a mano libera 165"/>
              <p:cNvSpPr/>
              <p:nvPr/>
            </p:nvSpPr>
            <p:spPr>
              <a:xfrm>
                <a:off x="9939849" y="6011712"/>
                <a:ext cx="165513" cy="273311"/>
              </a:xfrm>
              <a:custGeom>
                <a:avLst/>
                <a:gdLst>
                  <a:gd name="connsiteX0" fmla="*/ 0 w 133350"/>
                  <a:gd name="connsiteY0" fmla="*/ 266700 h 266700"/>
                  <a:gd name="connsiteX1" fmla="*/ 66675 w 133350"/>
                  <a:gd name="connsiteY1" fmla="*/ 114300 h 266700"/>
                  <a:gd name="connsiteX2" fmla="*/ 133350 w 133350"/>
                  <a:gd name="connsiteY2" fmla="*/ 0 h 2667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33350" h="266700">
                    <a:moveTo>
                      <a:pt x="0" y="266700"/>
                    </a:moveTo>
                    <a:cubicBezTo>
                      <a:pt x="22225" y="212725"/>
                      <a:pt x="44450" y="158750"/>
                      <a:pt x="66675" y="114300"/>
                    </a:cubicBezTo>
                    <a:cubicBezTo>
                      <a:pt x="88900" y="69850"/>
                      <a:pt x="119063" y="19050"/>
                      <a:pt x="133350" y="0"/>
                    </a:cubicBezTo>
                  </a:path>
                </a:pathLst>
              </a:custGeom>
              <a:noFill/>
              <a:ln w="28575" cap="flat" cmpd="sng" algn="ctr">
                <a:solidFill>
                  <a:srgbClr val="DC002E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69" name="Figura a mano libera 168"/>
              <p:cNvSpPr/>
              <p:nvPr/>
            </p:nvSpPr>
            <p:spPr>
              <a:xfrm>
                <a:off x="7622251" y="2412792"/>
                <a:ext cx="412080" cy="35139"/>
              </a:xfrm>
              <a:custGeom>
                <a:avLst/>
                <a:gdLst>
                  <a:gd name="connsiteX0" fmla="*/ 0 w 266700"/>
                  <a:gd name="connsiteY0" fmla="*/ 0 h 9525"/>
                  <a:gd name="connsiteX1" fmla="*/ 266700 w 266700"/>
                  <a:gd name="connsiteY1" fmla="*/ 9525 h 9525"/>
                  <a:gd name="connsiteX0" fmla="*/ 0 w 13516"/>
                  <a:gd name="connsiteY0" fmla="*/ 0 h 34615"/>
                  <a:gd name="connsiteX1" fmla="*/ 13516 w 13516"/>
                  <a:gd name="connsiteY1" fmla="*/ 34615 h 3461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3516" h="34615">
                    <a:moveTo>
                      <a:pt x="0" y="0"/>
                    </a:moveTo>
                    <a:cubicBezTo>
                      <a:pt x="3333" y="3333"/>
                      <a:pt x="10183" y="31282"/>
                      <a:pt x="13516" y="34615"/>
                    </a:cubicBezTo>
                  </a:path>
                </a:pathLst>
              </a:custGeom>
              <a:noFill/>
              <a:ln w="28575" cap="flat" cmpd="sng" algn="ctr">
                <a:solidFill>
                  <a:srgbClr val="DC002E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1" name="Rettangolo 170"/>
              <p:cNvSpPr/>
              <p:nvPr/>
            </p:nvSpPr>
            <p:spPr>
              <a:xfrm>
                <a:off x="10727295" y="4986143"/>
                <a:ext cx="531771" cy="131056"/>
              </a:xfrm>
              <a:prstGeom prst="rect">
                <a:avLst/>
              </a:prstGeom>
              <a:noFill/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lIns="0" tIns="0" rIns="0" bIns="0" rtlCol="0" anchor="ctr"/>
              <a:lstStyle/>
              <a:p>
                <a:pPr defTabSz="932962">
                  <a:defRPr/>
                </a:pPr>
                <a:r>
                  <a:rPr lang="it-IT" sz="918" kern="0">
                    <a:solidFill>
                      <a:srgbClr val="000000"/>
                    </a:solidFill>
                  </a:rPr>
                  <a:t>Taranto</a:t>
                </a:r>
              </a:p>
            </p:txBody>
          </p:sp>
          <p:sp>
            <p:nvSpPr>
              <p:cNvPr id="173" name="Figura a mano libera 172"/>
              <p:cNvSpPr/>
              <p:nvPr/>
            </p:nvSpPr>
            <p:spPr>
              <a:xfrm>
                <a:off x="7300048" y="1871416"/>
                <a:ext cx="327771" cy="546060"/>
              </a:xfrm>
              <a:custGeom>
                <a:avLst/>
                <a:gdLst>
                  <a:gd name="connsiteX0" fmla="*/ 0 w 336550"/>
                  <a:gd name="connsiteY0" fmla="*/ 0 h 247650"/>
                  <a:gd name="connsiteX1" fmla="*/ 139700 w 336550"/>
                  <a:gd name="connsiteY1" fmla="*/ 139700 h 247650"/>
                  <a:gd name="connsiteX2" fmla="*/ 336550 w 336550"/>
                  <a:gd name="connsiteY2" fmla="*/ 247650 h 2476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36550" h="247650">
                    <a:moveTo>
                      <a:pt x="0" y="0"/>
                    </a:moveTo>
                    <a:cubicBezTo>
                      <a:pt x="41804" y="49212"/>
                      <a:pt x="83608" y="98425"/>
                      <a:pt x="139700" y="139700"/>
                    </a:cubicBezTo>
                    <a:cubicBezTo>
                      <a:pt x="195792" y="180975"/>
                      <a:pt x="266171" y="214312"/>
                      <a:pt x="336550" y="247650"/>
                    </a:cubicBezTo>
                  </a:path>
                </a:pathLst>
              </a:custGeom>
              <a:noFill/>
              <a:ln w="28575" cap="flat" cmpd="sng" algn="ctr">
                <a:solidFill>
                  <a:srgbClr val="7F7F7F"/>
                </a:solidFill>
                <a:prstDash val="solid"/>
                <a:miter lim="800000"/>
                <a:headEnd type="triangle"/>
              </a:ln>
              <a:effectLst/>
            </p:spPr>
            <p:txBody>
              <a:bodyPr rtlCol="0"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4" name="Figura a mano libera 173"/>
              <p:cNvSpPr/>
              <p:nvPr/>
            </p:nvSpPr>
            <p:spPr>
              <a:xfrm>
                <a:off x="7628461" y="1984367"/>
                <a:ext cx="52265" cy="415970"/>
              </a:xfrm>
              <a:custGeom>
                <a:avLst/>
                <a:gdLst>
                  <a:gd name="connsiteX0" fmla="*/ 0 w 58982"/>
                  <a:gd name="connsiteY0" fmla="*/ 387350 h 387350"/>
                  <a:gd name="connsiteX1" fmla="*/ 38100 w 58982"/>
                  <a:gd name="connsiteY1" fmla="*/ 266700 h 387350"/>
                  <a:gd name="connsiteX2" fmla="*/ 57150 w 58982"/>
                  <a:gd name="connsiteY2" fmla="*/ 88900 h 387350"/>
                  <a:gd name="connsiteX3" fmla="*/ 57150 w 58982"/>
                  <a:gd name="connsiteY3" fmla="*/ 0 h 3873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58982" h="387350">
                    <a:moveTo>
                      <a:pt x="0" y="387350"/>
                    </a:moveTo>
                    <a:cubicBezTo>
                      <a:pt x="14287" y="351896"/>
                      <a:pt x="28575" y="316442"/>
                      <a:pt x="38100" y="266700"/>
                    </a:cubicBezTo>
                    <a:cubicBezTo>
                      <a:pt x="47625" y="216958"/>
                      <a:pt x="53975" y="133350"/>
                      <a:pt x="57150" y="88900"/>
                    </a:cubicBezTo>
                    <a:cubicBezTo>
                      <a:pt x="60325" y="44450"/>
                      <a:pt x="58737" y="22225"/>
                      <a:pt x="57150" y="0"/>
                    </a:cubicBezTo>
                  </a:path>
                </a:pathLst>
              </a:custGeom>
              <a:noFill/>
              <a:ln w="28575" cap="flat" cmpd="sng" algn="ctr">
                <a:solidFill>
                  <a:srgbClr val="7F7F7F"/>
                </a:solidFill>
                <a:prstDash val="solid"/>
                <a:miter lim="800000"/>
                <a:tailEnd type="triangle"/>
              </a:ln>
              <a:effectLst/>
            </p:spPr>
            <p:txBody>
              <a:bodyPr rtlCol="0"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5" name="Figura a mano libera 174"/>
              <p:cNvSpPr/>
              <p:nvPr/>
            </p:nvSpPr>
            <p:spPr>
              <a:xfrm>
                <a:off x="8374029" y="1564004"/>
                <a:ext cx="41755" cy="908106"/>
              </a:xfrm>
              <a:custGeom>
                <a:avLst/>
                <a:gdLst>
                  <a:gd name="connsiteX0" fmla="*/ 0 w 57657"/>
                  <a:gd name="connsiteY0" fmla="*/ 0 h 323850"/>
                  <a:gd name="connsiteX1" fmla="*/ 50800 w 57657"/>
                  <a:gd name="connsiteY1" fmla="*/ 184150 h 323850"/>
                  <a:gd name="connsiteX2" fmla="*/ 57150 w 57657"/>
                  <a:gd name="connsiteY2" fmla="*/ 323850 h 323850"/>
                  <a:gd name="connsiteX0" fmla="*/ 0 w 31750"/>
                  <a:gd name="connsiteY0" fmla="*/ 0 h 330200"/>
                  <a:gd name="connsiteX1" fmla="*/ 25400 w 31750"/>
                  <a:gd name="connsiteY1" fmla="*/ 190500 h 330200"/>
                  <a:gd name="connsiteX2" fmla="*/ 31750 w 31750"/>
                  <a:gd name="connsiteY2" fmla="*/ 330200 h 330200"/>
                  <a:gd name="connsiteX0" fmla="*/ 16007 w 41825"/>
                  <a:gd name="connsiteY0" fmla="*/ 0 h 561040"/>
                  <a:gd name="connsiteX1" fmla="*/ 41407 w 41825"/>
                  <a:gd name="connsiteY1" fmla="*/ 190500 h 561040"/>
                  <a:gd name="connsiteX2" fmla="*/ 0 w 41825"/>
                  <a:gd name="connsiteY2" fmla="*/ 561040 h 561040"/>
                  <a:gd name="connsiteX0" fmla="*/ 0 w 26646"/>
                  <a:gd name="connsiteY0" fmla="*/ 0 h 867153"/>
                  <a:gd name="connsiteX1" fmla="*/ 25400 w 26646"/>
                  <a:gd name="connsiteY1" fmla="*/ 190500 h 867153"/>
                  <a:gd name="connsiteX2" fmla="*/ 17423 w 26646"/>
                  <a:gd name="connsiteY2" fmla="*/ 867153 h 867153"/>
                  <a:gd name="connsiteX0" fmla="*/ 0 w 36526"/>
                  <a:gd name="connsiteY0" fmla="*/ 0 h 852099"/>
                  <a:gd name="connsiteX1" fmla="*/ 25400 w 36526"/>
                  <a:gd name="connsiteY1" fmla="*/ 190500 h 852099"/>
                  <a:gd name="connsiteX2" fmla="*/ 36526 w 36526"/>
                  <a:gd name="connsiteY2" fmla="*/ 852099 h 8520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6526" h="852099">
                    <a:moveTo>
                      <a:pt x="0" y="0"/>
                    </a:moveTo>
                    <a:cubicBezTo>
                      <a:pt x="20637" y="65087"/>
                      <a:pt x="20108" y="135467"/>
                      <a:pt x="25400" y="190500"/>
                    </a:cubicBezTo>
                    <a:cubicBezTo>
                      <a:pt x="30692" y="245533"/>
                      <a:pt x="36526" y="852099"/>
                      <a:pt x="36526" y="852099"/>
                    </a:cubicBezTo>
                  </a:path>
                </a:pathLst>
              </a:custGeom>
              <a:noFill/>
              <a:ln w="28575" cap="flat" cmpd="sng" algn="ctr">
                <a:solidFill>
                  <a:srgbClr val="DC002E"/>
                </a:solidFill>
                <a:prstDash val="solid"/>
                <a:miter lim="800000"/>
                <a:headEnd type="triangle"/>
              </a:ln>
              <a:effectLst/>
            </p:spPr>
            <p:txBody>
              <a:bodyPr rtlCol="0"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6" name="Figura a mano libera 175"/>
              <p:cNvSpPr/>
              <p:nvPr/>
            </p:nvSpPr>
            <p:spPr>
              <a:xfrm>
                <a:off x="6770515" y="2919486"/>
                <a:ext cx="806971" cy="311176"/>
              </a:xfrm>
              <a:custGeom>
                <a:avLst/>
                <a:gdLst>
                  <a:gd name="connsiteX0" fmla="*/ 0 w 323850"/>
                  <a:gd name="connsiteY0" fmla="*/ 76200 h 76200"/>
                  <a:gd name="connsiteX1" fmla="*/ 190500 w 323850"/>
                  <a:gd name="connsiteY1" fmla="*/ 50800 h 76200"/>
                  <a:gd name="connsiteX2" fmla="*/ 323850 w 323850"/>
                  <a:gd name="connsiteY2" fmla="*/ 0 h 76200"/>
                  <a:gd name="connsiteX0" fmla="*/ 0 w 705908"/>
                  <a:gd name="connsiteY0" fmla="*/ 291986 h 291986"/>
                  <a:gd name="connsiteX1" fmla="*/ 190500 w 705908"/>
                  <a:gd name="connsiteY1" fmla="*/ 266586 h 291986"/>
                  <a:gd name="connsiteX2" fmla="*/ 705908 w 705908"/>
                  <a:gd name="connsiteY2" fmla="*/ 0 h 2919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05908" h="291986">
                    <a:moveTo>
                      <a:pt x="0" y="291986"/>
                    </a:moveTo>
                    <a:cubicBezTo>
                      <a:pt x="68262" y="285636"/>
                      <a:pt x="136525" y="279286"/>
                      <a:pt x="190500" y="266586"/>
                    </a:cubicBezTo>
                    <a:cubicBezTo>
                      <a:pt x="244475" y="253886"/>
                      <a:pt x="666220" y="19050"/>
                      <a:pt x="705908" y="0"/>
                    </a:cubicBezTo>
                  </a:path>
                </a:pathLst>
              </a:custGeom>
              <a:noFill/>
              <a:ln w="28575" cap="flat" cmpd="sng" algn="ctr">
                <a:solidFill>
                  <a:srgbClr val="7F7F7F"/>
                </a:solidFill>
                <a:prstDash val="solid"/>
                <a:miter lim="800000"/>
                <a:headEnd type="triangle"/>
              </a:ln>
              <a:effectLst/>
            </p:spPr>
            <p:txBody>
              <a:bodyPr rtlCol="0"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7" name="Figura a mano libera 176"/>
              <p:cNvSpPr/>
              <p:nvPr/>
            </p:nvSpPr>
            <p:spPr>
              <a:xfrm>
                <a:off x="9335365" y="1854640"/>
                <a:ext cx="68334" cy="228445"/>
              </a:xfrm>
              <a:custGeom>
                <a:avLst/>
                <a:gdLst>
                  <a:gd name="connsiteX0" fmla="*/ 58216 w 58216"/>
                  <a:gd name="connsiteY0" fmla="*/ 0 h 463550"/>
                  <a:gd name="connsiteX1" fmla="*/ 1066 w 58216"/>
                  <a:gd name="connsiteY1" fmla="*/ 215900 h 463550"/>
                  <a:gd name="connsiteX2" fmla="*/ 26466 w 58216"/>
                  <a:gd name="connsiteY2" fmla="*/ 463550 h 463550"/>
                  <a:gd name="connsiteX0" fmla="*/ 60578 w 60578"/>
                  <a:gd name="connsiteY0" fmla="*/ 0 h 400050"/>
                  <a:gd name="connsiteX1" fmla="*/ 3428 w 60578"/>
                  <a:gd name="connsiteY1" fmla="*/ 215900 h 400050"/>
                  <a:gd name="connsiteX2" fmla="*/ 16128 w 60578"/>
                  <a:gd name="connsiteY2" fmla="*/ 400050 h 400050"/>
                  <a:gd name="connsiteX0" fmla="*/ 60578 w 60578"/>
                  <a:gd name="connsiteY0" fmla="*/ 0 h 410529"/>
                  <a:gd name="connsiteX1" fmla="*/ 3428 w 60578"/>
                  <a:gd name="connsiteY1" fmla="*/ 215900 h 410529"/>
                  <a:gd name="connsiteX2" fmla="*/ 16128 w 60578"/>
                  <a:gd name="connsiteY2" fmla="*/ 400050 h 410529"/>
                  <a:gd name="connsiteX3" fmla="*/ 16128 w 60578"/>
                  <a:gd name="connsiteY3" fmla="*/ 387350 h 410529"/>
                  <a:gd name="connsiteX0" fmla="*/ 88900 w 88900"/>
                  <a:gd name="connsiteY0" fmla="*/ 0 h 470014"/>
                  <a:gd name="connsiteX1" fmla="*/ 31750 w 88900"/>
                  <a:gd name="connsiteY1" fmla="*/ 215900 h 470014"/>
                  <a:gd name="connsiteX2" fmla="*/ 44450 w 88900"/>
                  <a:gd name="connsiteY2" fmla="*/ 400050 h 470014"/>
                  <a:gd name="connsiteX3" fmla="*/ 0 w 88900"/>
                  <a:gd name="connsiteY3" fmla="*/ 469900 h 470014"/>
                  <a:gd name="connsiteX0" fmla="*/ 60579 w 60579"/>
                  <a:gd name="connsiteY0" fmla="*/ 0 h 400050"/>
                  <a:gd name="connsiteX1" fmla="*/ 3429 w 60579"/>
                  <a:gd name="connsiteY1" fmla="*/ 215900 h 400050"/>
                  <a:gd name="connsiteX2" fmla="*/ 16129 w 60579"/>
                  <a:gd name="connsiteY2" fmla="*/ 400050 h 400050"/>
                  <a:gd name="connsiteX0" fmla="*/ 57150 w 57150"/>
                  <a:gd name="connsiteY0" fmla="*/ 0 h 215900"/>
                  <a:gd name="connsiteX1" fmla="*/ 0 w 57150"/>
                  <a:gd name="connsiteY1" fmla="*/ 215900 h 215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57150" h="215900">
                    <a:moveTo>
                      <a:pt x="57150" y="0"/>
                    </a:moveTo>
                    <a:cubicBezTo>
                      <a:pt x="31221" y="69321"/>
                      <a:pt x="7408" y="149225"/>
                      <a:pt x="0" y="215900"/>
                    </a:cubicBezTo>
                  </a:path>
                </a:pathLst>
              </a:custGeom>
              <a:noFill/>
              <a:ln w="28575" cap="flat" cmpd="sng" algn="ctr">
                <a:solidFill>
                  <a:srgbClr val="7F7F7F"/>
                </a:solidFill>
                <a:prstDash val="solid"/>
                <a:miter lim="800000"/>
                <a:headEnd type="triangle"/>
              </a:ln>
              <a:effectLst/>
            </p:spPr>
            <p:txBody>
              <a:bodyPr rtlCol="0"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79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867530" y="4822701"/>
                <a:ext cx="82309" cy="76732"/>
              </a:xfrm>
              <a:prstGeom prst="ellipse">
                <a:avLst/>
              </a:prstGeom>
              <a:solidFill>
                <a:srgbClr val="DC002E"/>
              </a:solidFill>
              <a:ln w="190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lIns="0" rIns="0" anchor="ctr"/>
              <a:lstStyle/>
              <a:p>
                <a:pPr algn="ctr" defTabSz="1243919">
                  <a:defRPr/>
                </a:pPr>
                <a:endParaRPr lang="en-US" sz="918" kern="0" spc="-153">
                  <a:solidFill>
                    <a:srgbClr val="FFFFFF"/>
                  </a:solidFill>
                </a:endParaRPr>
              </a:p>
            </p:txBody>
          </p:sp>
          <p:sp>
            <p:nvSpPr>
              <p:cNvPr id="181" name="Figura a mano libera 180"/>
              <p:cNvSpPr/>
              <p:nvPr/>
            </p:nvSpPr>
            <p:spPr>
              <a:xfrm>
                <a:off x="8975223" y="3906818"/>
                <a:ext cx="580729" cy="283190"/>
              </a:xfrm>
              <a:custGeom>
                <a:avLst/>
                <a:gdLst>
                  <a:gd name="connsiteX0" fmla="*/ 0 w 508000"/>
                  <a:gd name="connsiteY0" fmla="*/ 265724 h 265724"/>
                  <a:gd name="connsiteX1" fmla="*/ 234461 w 508000"/>
                  <a:gd name="connsiteY1" fmla="*/ 109416 h 265724"/>
                  <a:gd name="connsiteX2" fmla="*/ 508000 w 508000"/>
                  <a:gd name="connsiteY2" fmla="*/ 0 h 26572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08000" h="265724">
                    <a:moveTo>
                      <a:pt x="0" y="265724"/>
                    </a:moveTo>
                    <a:cubicBezTo>
                      <a:pt x="74897" y="209713"/>
                      <a:pt x="149794" y="153703"/>
                      <a:pt x="234461" y="109416"/>
                    </a:cubicBezTo>
                    <a:cubicBezTo>
                      <a:pt x="319128" y="65129"/>
                      <a:pt x="413564" y="32564"/>
                      <a:pt x="508000" y="0"/>
                    </a:cubicBezTo>
                  </a:path>
                </a:pathLst>
              </a:custGeom>
              <a:noFill/>
              <a:ln w="28575" cap="flat" cmpd="sng" algn="ctr">
                <a:solidFill>
                  <a:srgbClr val="DC002E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3" name="Figura a mano libera 182"/>
              <p:cNvSpPr/>
              <p:nvPr/>
            </p:nvSpPr>
            <p:spPr>
              <a:xfrm>
                <a:off x="8945203" y="3373758"/>
                <a:ext cx="369525" cy="816248"/>
              </a:xfrm>
              <a:custGeom>
                <a:avLst/>
                <a:gdLst>
                  <a:gd name="connsiteX0" fmla="*/ 11186 w 300355"/>
                  <a:gd name="connsiteY0" fmla="*/ 773724 h 773724"/>
                  <a:gd name="connsiteX1" fmla="*/ 34632 w 300355"/>
                  <a:gd name="connsiteY1" fmla="*/ 336062 h 773724"/>
                  <a:gd name="connsiteX2" fmla="*/ 300355 w 300355"/>
                  <a:gd name="connsiteY2" fmla="*/ 0 h 773724"/>
                  <a:gd name="connsiteX0" fmla="*/ 1692 w 290861"/>
                  <a:gd name="connsiteY0" fmla="*/ 773724 h 773724"/>
                  <a:gd name="connsiteX1" fmla="*/ 95477 w 290861"/>
                  <a:gd name="connsiteY1" fmla="*/ 359509 h 773724"/>
                  <a:gd name="connsiteX2" fmla="*/ 290861 w 290861"/>
                  <a:gd name="connsiteY2" fmla="*/ 0 h 773724"/>
                  <a:gd name="connsiteX0" fmla="*/ 1823 w 322254"/>
                  <a:gd name="connsiteY0" fmla="*/ 765908 h 765908"/>
                  <a:gd name="connsiteX1" fmla="*/ 95608 w 322254"/>
                  <a:gd name="connsiteY1" fmla="*/ 351693 h 765908"/>
                  <a:gd name="connsiteX2" fmla="*/ 322254 w 322254"/>
                  <a:gd name="connsiteY2" fmla="*/ 0 h 765908"/>
                  <a:gd name="connsiteX0" fmla="*/ 2815 w 323246"/>
                  <a:gd name="connsiteY0" fmla="*/ 765908 h 765908"/>
                  <a:gd name="connsiteX1" fmla="*/ 73153 w 323246"/>
                  <a:gd name="connsiteY1" fmla="*/ 351693 h 765908"/>
                  <a:gd name="connsiteX2" fmla="*/ 323246 w 323246"/>
                  <a:gd name="connsiteY2" fmla="*/ 0 h 76590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323246" h="765908">
                    <a:moveTo>
                      <a:pt x="2815" y="765908"/>
                    </a:moveTo>
                    <a:cubicBezTo>
                      <a:pt x="-9560" y="611554"/>
                      <a:pt x="19748" y="479344"/>
                      <a:pt x="73153" y="351693"/>
                    </a:cubicBezTo>
                    <a:cubicBezTo>
                      <a:pt x="126558" y="224042"/>
                      <a:pt x="214482" y="103554"/>
                      <a:pt x="323246" y="0"/>
                    </a:cubicBezTo>
                  </a:path>
                </a:pathLst>
              </a:custGeom>
              <a:noFill/>
              <a:ln w="28575" cap="flat" cmpd="sng" algn="ctr">
                <a:solidFill>
                  <a:srgbClr val="DC002E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4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882897" y="4186223"/>
                <a:ext cx="123462" cy="115099"/>
              </a:xfrm>
              <a:prstGeom prst="ellipse">
                <a:avLst/>
              </a:prstGeom>
              <a:solidFill>
                <a:srgbClr val="DC002E"/>
              </a:solidFill>
              <a:ln w="190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lIns="0" rIns="0" anchor="ctr"/>
              <a:lstStyle/>
              <a:p>
                <a:pPr algn="ctr" defTabSz="1243919">
                  <a:defRPr/>
                </a:pPr>
                <a:endParaRPr lang="en-US" sz="918" kern="0" spc="-153">
                  <a:solidFill>
                    <a:srgbClr val="FFFFFF"/>
                  </a:solidFill>
                </a:endParaRPr>
              </a:p>
            </p:txBody>
          </p:sp>
          <p:sp>
            <p:nvSpPr>
              <p:cNvPr id="185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206223" y="3343496"/>
                <a:ext cx="123462" cy="115099"/>
              </a:xfrm>
              <a:prstGeom prst="ellipse">
                <a:avLst/>
              </a:prstGeom>
              <a:solidFill>
                <a:srgbClr val="DC002E"/>
              </a:solidFill>
              <a:ln w="190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lIns="0" rIns="0" anchor="ctr"/>
              <a:lstStyle/>
              <a:p>
                <a:pPr algn="ctr" defTabSz="1243919">
                  <a:defRPr/>
                </a:pPr>
                <a:endParaRPr lang="en-US" sz="918" kern="0" spc="-153">
                  <a:solidFill>
                    <a:srgbClr val="FFFFFF"/>
                  </a:solidFill>
                </a:endParaRPr>
              </a:p>
            </p:txBody>
          </p:sp>
          <p:sp>
            <p:nvSpPr>
              <p:cNvPr id="187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887851" y="6274980"/>
                <a:ext cx="82309" cy="76732"/>
              </a:xfrm>
              <a:prstGeom prst="ellipse">
                <a:avLst/>
              </a:prstGeom>
              <a:solidFill>
                <a:srgbClr val="DC002E"/>
              </a:solidFill>
              <a:ln w="190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lIns="0" rIns="0" anchor="ctr"/>
              <a:lstStyle/>
              <a:p>
                <a:pPr algn="ctr" defTabSz="1243919">
                  <a:defRPr/>
                </a:pPr>
                <a:endParaRPr lang="en-US" sz="918" kern="0" spc="-153">
                  <a:solidFill>
                    <a:srgbClr val="FFFFFF"/>
                  </a:solidFill>
                </a:endParaRPr>
              </a:p>
            </p:txBody>
          </p:sp>
          <p:sp>
            <p:nvSpPr>
              <p:cNvPr id="188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553405" y="3882244"/>
                <a:ext cx="82309" cy="76732"/>
              </a:xfrm>
              <a:prstGeom prst="ellipse">
                <a:avLst/>
              </a:prstGeom>
              <a:solidFill>
                <a:srgbClr val="DC002E"/>
              </a:solidFill>
              <a:ln w="190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lIns="0" rIns="0" anchor="ctr"/>
              <a:lstStyle/>
              <a:p>
                <a:pPr algn="ctr" defTabSz="1243919">
                  <a:defRPr/>
                </a:pPr>
                <a:endParaRPr lang="en-US" sz="918" kern="0" spc="-153">
                  <a:solidFill>
                    <a:srgbClr val="FFFFFF"/>
                  </a:solidFill>
                </a:endParaRPr>
              </a:p>
            </p:txBody>
          </p:sp>
          <p:sp>
            <p:nvSpPr>
              <p:cNvPr id="189" name="Figura a mano libera 188"/>
              <p:cNvSpPr/>
              <p:nvPr/>
            </p:nvSpPr>
            <p:spPr>
              <a:xfrm>
                <a:off x="9188682" y="6071088"/>
                <a:ext cx="698138" cy="269337"/>
              </a:xfrm>
              <a:custGeom>
                <a:avLst/>
                <a:gdLst>
                  <a:gd name="connsiteX0" fmla="*/ 0 w 701040"/>
                  <a:gd name="connsiteY0" fmla="*/ 0 h 288813"/>
                  <a:gd name="connsiteX1" fmla="*/ 251460 w 701040"/>
                  <a:gd name="connsiteY1" fmla="*/ 45720 h 288813"/>
                  <a:gd name="connsiteX2" fmla="*/ 358140 w 701040"/>
                  <a:gd name="connsiteY2" fmla="*/ 259080 h 288813"/>
                  <a:gd name="connsiteX3" fmla="*/ 701040 w 701040"/>
                  <a:gd name="connsiteY3" fmla="*/ 281940 h 288813"/>
                  <a:gd name="connsiteX0" fmla="*/ 0 w 701040"/>
                  <a:gd name="connsiteY0" fmla="*/ 0 h 288813"/>
                  <a:gd name="connsiteX1" fmla="*/ 151795 w 701040"/>
                  <a:gd name="connsiteY1" fmla="*/ 83768 h 288813"/>
                  <a:gd name="connsiteX2" fmla="*/ 358140 w 701040"/>
                  <a:gd name="connsiteY2" fmla="*/ 259080 h 288813"/>
                  <a:gd name="connsiteX3" fmla="*/ 701040 w 701040"/>
                  <a:gd name="connsiteY3" fmla="*/ 281940 h 288813"/>
                  <a:gd name="connsiteX0" fmla="*/ 0 w 549245"/>
                  <a:gd name="connsiteY0" fmla="*/ 0 h 205045"/>
                  <a:gd name="connsiteX1" fmla="*/ 206345 w 549245"/>
                  <a:gd name="connsiteY1" fmla="*/ 175312 h 205045"/>
                  <a:gd name="connsiteX2" fmla="*/ 549245 w 549245"/>
                  <a:gd name="connsiteY2" fmla="*/ 198172 h 205045"/>
                  <a:gd name="connsiteX0" fmla="*/ 0 w 618244"/>
                  <a:gd name="connsiteY0" fmla="*/ 0 h 265922"/>
                  <a:gd name="connsiteX1" fmla="*/ 275344 w 618244"/>
                  <a:gd name="connsiteY1" fmla="*/ 236189 h 265922"/>
                  <a:gd name="connsiteX2" fmla="*/ 618244 w 618244"/>
                  <a:gd name="connsiteY2" fmla="*/ 259049 h 265922"/>
                  <a:gd name="connsiteX0" fmla="*/ 0 w 587578"/>
                  <a:gd name="connsiteY0" fmla="*/ 0 h 235484"/>
                  <a:gd name="connsiteX1" fmla="*/ 244678 w 587578"/>
                  <a:gd name="connsiteY1" fmla="*/ 205751 h 235484"/>
                  <a:gd name="connsiteX2" fmla="*/ 587578 w 587578"/>
                  <a:gd name="connsiteY2" fmla="*/ 228611 h 235484"/>
                  <a:gd name="connsiteX0" fmla="*/ 0 w 587578"/>
                  <a:gd name="connsiteY0" fmla="*/ 0 h 258313"/>
                  <a:gd name="connsiteX1" fmla="*/ 244678 w 587578"/>
                  <a:gd name="connsiteY1" fmla="*/ 228580 h 258313"/>
                  <a:gd name="connsiteX2" fmla="*/ 587578 w 587578"/>
                  <a:gd name="connsiteY2" fmla="*/ 251440 h 258313"/>
                  <a:gd name="connsiteX0" fmla="*/ 21404 w 608982"/>
                  <a:gd name="connsiteY0" fmla="*/ 30960 h 289273"/>
                  <a:gd name="connsiteX1" fmla="*/ 17245 w 608982"/>
                  <a:gd name="connsiteY1" fmla="*/ 13832 h 289273"/>
                  <a:gd name="connsiteX2" fmla="*/ 266082 w 608982"/>
                  <a:gd name="connsiteY2" fmla="*/ 259540 h 289273"/>
                  <a:gd name="connsiteX3" fmla="*/ 608982 w 608982"/>
                  <a:gd name="connsiteY3" fmla="*/ 282400 h 289273"/>
                  <a:gd name="connsiteX0" fmla="*/ 2 w 587580"/>
                  <a:gd name="connsiteY0" fmla="*/ 351765 h 610078"/>
                  <a:gd name="connsiteX1" fmla="*/ 251861 w 587580"/>
                  <a:gd name="connsiteY1" fmla="*/ 2654 h 610078"/>
                  <a:gd name="connsiteX2" fmla="*/ 244680 w 587580"/>
                  <a:gd name="connsiteY2" fmla="*/ 580345 h 610078"/>
                  <a:gd name="connsiteX3" fmla="*/ 587580 w 587580"/>
                  <a:gd name="connsiteY3" fmla="*/ 603205 h 610078"/>
                  <a:gd name="connsiteX0" fmla="*/ 1 w 735283"/>
                  <a:gd name="connsiteY0" fmla="*/ 325738 h 610260"/>
                  <a:gd name="connsiteX1" fmla="*/ 399564 w 735283"/>
                  <a:gd name="connsiteY1" fmla="*/ 2836 h 610260"/>
                  <a:gd name="connsiteX2" fmla="*/ 392383 w 735283"/>
                  <a:gd name="connsiteY2" fmla="*/ 580527 h 610260"/>
                  <a:gd name="connsiteX3" fmla="*/ 735283 w 735283"/>
                  <a:gd name="connsiteY3" fmla="*/ 603387 h 610260"/>
                  <a:gd name="connsiteX0" fmla="*/ 1 w 735283"/>
                  <a:gd name="connsiteY0" fmla="*/ 2900 h 287422"/>
                  <a:gd name="connsiteX1" fmla="*/ 261708 w 735283"/>
                  <a:gd name="connsiteY1" fmla="*/ 29451 h 287422"/>
                  <a:gd name="connsiteX2" fmla="*/ 392383 w 735283"/>
                  <a:gd name="connsiteY2" fmla="*/ 257689 h 287422"/>
                  <a:gd name="connsiteX3" fmla="*/ 735283 w 735283"/>
                  <a:gd name="connsiteY3" fmla="*/ 280549 h 2874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35283" h="287422">
                    <a:moveTo>
                      <a:pt x="1" y="2900"/>
                    </a:moveTo>
                    <a:cubicBezTo>
                      <a:pt x="-692" y="46"/>
                      <a:pt x="220928" y="-8646"/>
                      <a:pt x="261708" y="29451"/>
                    </a:cubicBezTo>
                    <a:cubicBezTo>
                      <a:pt x="302488" y="67548"/>
                      <a:pt x="293760" y="212928"/>
                      <a:pt x="392383" y="257689"/>
                    </a:cubicBezTo>
                    <a:cubicBezTo>
                      <a:pt x="467313" y="297059"/>
                      <a:pt x="601298" y="288804"/>
                      <a:pt x="735283" y="280549"/>
                    </a:cubicBezTo>
                  </a:path>
                </a:pathLst>
              </a:custGeom>
              <a:noFill/>
              <a:ln w="28575" cap="flat" cmpd="sng" algn="ctr">
                <a:solidFill>
                  <a:srgbClr val="DC002E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0" name="Figura a mano libera 189"/>
              <p:cNvSpPr/>
              <p:nvPr/>
            </p:nvSpPr>
            <p:spPr>
              <a:xfrm>
                <a:off x="8038134" y="2418826"/>
                <a:ext cx="873042" cy="97262"/>
              </a:xfrm>
              <a:custGeom>
                <a:avLst/>
                <a:gdLst>
                  <a:gd name="connsiteX0" fmla="*/ 0 w 438150"/>
                  <a:gd name="connsiteY0" fmla="*/ 52514 h 126333"/>
                  <a:gd name="connsiteX1" fmla="*/ 142875 w 438150"/>
                  <a:gd name="connsiteY1" fmla="*/ 127 h 126333"/>
                  <a:gd name="connsiteX2" fmla="*/ 297657 w 438150"/>
                  <a:gd name="connsiteY2" fmla="*/ 40608 h 126333"/>
                  <a:gd name="connsiteX3" fmla="*/ 438150 w 438150"/>
                  <a:gd name="connsiteY3" fmla="*/ 126333 h 126333"/>
                  <a:gd name="connsiteX0" fmla="*/ 0 w 509588"/>
                  <a:gd name="connsiteY0" fmla="*/ 92003 h 127722"/>
                  <a:gd name="connsiteX1" fmla="*/ 214313 w 509588"/>
                  <a:gd name="connsiteY1" fmla="*/ 1516 h 127722"/>
                  <a:gd name="connsiteX2" fmla="*/ 369095 w 509588"/>
                  <a:gd name="connsiteY2" fmla="*/ 41997 h 127722"/>
                  <a:gd name="connsiteX3" fmla="*/ 509588 w 509588"/>
                  <a:gd name="connsiteY3" fmla="*/ 127722 h 127722"/>
                  <a:gd name="connsiteX0" fmla="*/ 90280 w 599868"/>
                  <a:gd name="connsiteY0" fmla="*/ 92003 h 127722"/>
                  <a:gd name="connsiteX1" fmla="*/ 304593 w 599868"/>
                  <a:gd name="connsiteY1" fmla="*/ 1516 h 127722"/>
                  <a:gd name="connsiteX2" fmla="*/ 459375 w 599868"/>
                  <a:gd name="connsiteY2" fmla="*/ 41997 h 127722"/>
                  <a:gd name="connsiteX3" fmla="*/ 599868 w 599868"/>
                  <a:gd name="connsiteY3" fmla="*/ 127722 h 127722"/>
                  <a:gd name="connsiteX0" fmla="*/ 93097 w 602685"/>
                  <a:gd name="connsiteY0" fmla="*/ 55835 h 91554"/>
                  <a:gd name="connsiteX1" fmla="*/ 288360 w 602685"/>
                  <a:gd name="connsiteY1" fmla="*/ 12973 h 91554"/>
                  <a:gd name="connsiteX2" fmla="*/ 462192 w 602685"/>
                  <a:gd name="connsiteY2" fmla="*/ 5829 h 91554"/>
                  <a:gd name="connsiteX3" fmla="*/ 602685 w 602685"/>
                  <a:gd name="connsiteY3" fmla="*/ 91554 h 91554"/>
                  <a:gd name="connsiteX0" fmla="*/ 95632 w 586170"/>
                  <a:gd name="connsiteY0" fmla="*/ 45990 h 91234"/>
                  <a:gd name="connsiteX1" fmla="*/ 271845 w 586170"/>
                  <a:gd name="connsiteY1" fmla="*/ 12653 h 91234"/>
                  <a:gd name="connsiteX2" fmla="*/ 445677 w 586170"/>
                  <a:gd name="connsiteY2" fmla="*/ 5509 h 91234"/>
                  <a:gd name="connsiteX3" fmla="*/ 586170 w 586170"/>
                  <a:gd name="connsiteY3" fmla="*/ 91234 h 91234"/>
                  <a:gd name="connsiteX0" fmla="*/ 96287 w 582063"/>
                  <a:gd name="connsiteY0" fmla="*/ 41078 h 91084"/>
                  <a:gd name="connsiteX1" fmla="*/ 267738 w 582063"/>
                  <a:gd name="connsiteY1" fmla="*/ 12503 h 91084"/>
                  <a:gd name="connsiteX2" fmla="*/ 441570 w 582063"/>
                  <a:gd name="connsiteY2" fmla="*/ 5359 h 91084"/>
                  <a:gd name="connsiteX3" fmla="*/ 582063 w 582063"/>
                  <a:gd name="connsiteY3" fmla="*/ 91084 h 91084"/>
                  <a:gd name="connsiteX0" fmla="*/ 112521 w 598297"/>
                  <a:gd name="connsiteY0" fmla="*/ 36621 h 86627"/>
                  <a:gd name="connsiteX1" fmla="*/ 198247 w 598297"/>
                  <a:gd name="connsiteY1" fmla="*/ 41383 h 86627"/>
                  <a:gd name="connsiteX2" fmla="*/ 457804 w 598297"/>
                  <a:gd name="connsiteY2" fmla="*/ 902 h 86627"/>
                  <a:gd name="connsiteX3" fmla="*/ 598297 w 598297"/>
                  <a:gd name="connsiteY3" fmla="*/ 86627 h 86627"/>
                  <a:gd name="connsiteX0" fmla="*/ 74481 w 865057"/>
                  <a:gd name="connsiteY0" fmla="*/ 5622 h 93728"/>
                  <a:gd name="connsiteX1" fmla="*/ 465007 w 865057"/>
                  <a:gd name="connsiteY1" fmla="*/ 48484 h 93728"/>
                  <a:gd name="connsiteX2" fmla="*/ 724564 w 865057"/>
                  <a:gd name="connsiteY2" fmla="*/ 8003 h 93728"/>
                  <a:gd name="connsiteX3" fmla="*/ 865057 w 865057"/>
                  <a:gd name="connsiteY3" fmla="*/ 93728 h 93728"/>
                  <a:gd name="connsiteX0" fmla="*/ 78207 w 825920"/>
                  <a:gd name="connsiteY0" fmla="*/ 31845 h 86613"/>
                  <a:gd name="connsiteX1" fmla="*/ 425870 w 825920"/>
                  <a:gd name="connsiteY1" fmla="*/ 41369 h 86613"/>
                  <a:gd name="connsiteX2" fmla="*/ 685427 w 825920"/>
                  <a:gd name="connsiteY2" fmla="*/ 888 h 86613"/>
                  <a:gd name="connsiteX3" fmla="*/ 825920 w 825920"/>
                  <a:gd name="connsiteY3" fmla="*/ 86613 h 86613"/>
                  <a:gd name="connsiteX0" fmla="*/ 83791 w 774354"/>
                  <a:gd name="connsiteY0" fmla="*/ 12741 h 86559"/>
                  <a:gd name="connsiteX1" fmla="*/ 374304 w 774354"/>
                  <a:gd name="connsiteY1" fmla="*/ 41315 h 86559"/>
                  <a:gd name="connsiteX2" fmla="*/ 633861 w 774354"/>
                  <a:gd name="connsiteY2" fmla="*/ 834 h 86559"/>
                  <a:gd name="connsiteX3" fmla="*/ 774354 w 774354"/>
                  <a:gd name="connsiteY3" fmla="*/ 86559 h 86559"/>
                  <a:gd name="connsiteX0" fmla="*/ 85313 w 761589"/>
                  <a:gd name="connsiteY0" fmla="*/ 31844 h 86612"/>
                  <a:gd name="connsiteX1" fmla="*/ 361539 w 761589"/>
                  <a:gd name="connsiteY1" fmla="*/ 41368 h 86612"/>
                  <a:gd name="connsiteX2" fmla="*/ 621096 w 761589"/>
                  <a:gd name="connsiteY2" fmla="*/ 887 h 86612"/>
                  <a:gd name="connsiteX3" fmla="*/ 761589 w 761589"/>
                  <a:gd name="connsiteY3" fmla="*/ 86612 h 866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761589" h="86612">
                    <a:moveTo>
                      <a:pt x="85313" y="31844"/>
                    </a:moveTo>
                    <a:cubicBezTo>
                      <a:pt x="-187142" y="6642"/>
                      <a:pt x="272242" y="46528"/>
                      <a:pt x="361539" y="41368"/>
                    </a:cubicBezTo>
                    <a:cubicBezTo>
                      <a:pt x="450836" y="36209"/>
                      <a:pt x="554421" y="-6654"/>
                      <a:pt x="621096" y="887"/>
                    </a:cubicBezTo>
                    <a:cubicBezTo>
                      <a:pt x="687771" y="8428"/>
                      <a:pt x="715948" y="54266"/>
                      <a:pt x="761589" y="86612"/>
                    </a:cubicBezTo>
                  </a:path>
                </a:pathLst>
              </a:custGeom>
              <a:noFill/>
              <a:ln w="28575" cap="flat" cmpd="sng" algn="ctr">
                <a:solidFill>
                  <a:srgbClr val="DC002E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2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8850951" y="2484554"/>
                <a:ext cx="123462" cy="115099"/>
              </a:xfrm>
              <a:prstGeom prst="ellipse">
                <a:avLst/>
              </a:prstGeom>
              <a:solidFill>
                <a:srgbClr val="DC002E"/>
              </a:solidFill>
              <a:ln w="190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lIns="0" rIns="0" anchor="ctr"/>
              <a:lstStyle/>
              <a:p>
                <a:pPr algn="ctr" defTabSz="1243919">
                  <a:defRPr/>
                </a:pPr>
                <a:endParaRPr lang="en-US" sz="918" kern="0" spc="-153">
                  <a:solidFill>
                    <a:srgbClr val="FFFFFF"/>
                  </a:solidFill>
                </a:endParaRPr>
              </a:p>
            </p:txBody>
          </p:sp>
          <p:sp>
            <p:nvSpPr>
              <p:cNvPr id="193" name="Figura a mano libera 192"/>
              <p:cNvSpPr/>
              <p:nvPr/>
            </p:nvSpPr>
            <p:spPr>
              <a:xfrm>
                <a:off x="7586975" y="2425172"/>
                <a:ext cx="67684" cy="497373"/>
              </a:xfrm>
              <a:custGeom>
                <a:avLst/>
                <a:gdLst>
                  <a:gd name="connsiteX0" fmla="*/ 47782 w 62069"/>
                  <a:gd name="connsiteY0" fmla="*/ 442912 h 442912"/>
                  <a:gd name="connsiteX1" fmla="*/ 157 w 62069"/>
                  <a:gd name="connsiteY1" fmla="*/ 223837 h 442912"/>
                  <a:gd name="connsiteX2" fmla="*/ 62069 w 62069"/>
                  <a:gd name="connsiteY2" fmla="*/ 0 h 442912"/>
                  <a:gd name="connsiteX0" fmla="*/ 5010 w 59043"/>
                  <a:gd name="connsiteY0" fmla="*/ 442912 h 442912"/>
                  <a:gd name="connsiteX1" fmla="*/ 58985 w 59043"/>
                  <a:gd name="connsiteY1" fmla="*/ 211137 h 442912"/>
                  <a:gd name="connsiteX2" fmla="*/ 19297 w 59043"/>
                  <a:gd name="connsiteY2" fmla="*/ 0 h 44291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59043" h="442912">
                    <a:moveTo>
                      <a:pt x="5010" y="442912"/>
                    </a:moveTo>
                    <a:cubicBezTo>
                      <a:pt x="-19993" y="370284"/>
                      <a:pt x="56604" y="284956"/>
                      <a:pt x="58985" y="211137"/>
                    </a:cubicBezTo>
                    <a:cubicBezTo>
                      <a:pt x="61366" y="137318"/>
                      <a:pt x="-10469" y="75009"/>
                      <a:pt x="19297" y="0"/>
                    </a:cubicBezTo>
                  </a:path>
                </a:pathLst>
              </a:custGeom>
              <a:noFill/>
              <a:ln w="28575" cap="flat" cmpd="sng" algn="ctr">
                <a:solidFill>
                  <a:srgbClr val="DC002E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4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566457" y="2375626"/>
                <a:ext cx="123462" cy="115099"/>
              </a:xfrm>
              <a:prstGeom prst="ellipse">
                <a:avLst/>
              </a:prstGeom>
              <a:solidFill>
                <a:srgbClr val="DC002E"/>
              </a:solidFill>
              <a:ln w="190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lIns="0" rIns="0" anchor="ctr"/>
              <a:lstStyle/>
              <a:p>
                <a:pPr algn="ctr" defTabSz="1243919">
                  <a:defRPr/>
                </a:pPr>
                <a:endParaRPr lang="en-US" sz="918" kern="0" spc="-153">
                  <a:solidFill>
                    <a:srgbClr val="FFFFFF"/>
                  </a:solidFill>
                </a:endParaRPr>
              </a:p>
            </p:txBody>
          </p:sp>
          <p:sp>
            <p:nvSpPr>
              <p:cNvPr id="196" name="Figura a mano libera 195"/>
              <p:cNvSpPr/>
              <p:nvPr/>
            </p:nvSpPr>
            <p:spPr>
              <a:xfrm>
                <a:off x="9705526" y="4504678"/>
                <a:ext cx="982702" cy="143520"/>
              </a:xfrm>
              <a:custGeom>
                <a:avLst/>
                <a:gdLst>
                  <a:gd name="connsiteX0" fmla="*/ 0 w 857250"/>
                  <a:gd name="connsiteY0" fmla="*/ 127805 h 127805"/>
                  <a:gd name="connsiteX1" fmla="*/ 387350 w 857250"/>
                  <a:gd name="connsiteY1" fmla="*/ 805 h 127805"/>
                  <a:gd name="connsiteX2" fmla="*/ 857250 w 857250"/>
                  <a:gd name="connsiteY2" fmla="*/ 83355 h 12780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857250" h="127805">
                    <a:moveTo>
                      <a:pt x="0" y="127805"/>
                    </a:moveTo>
                    <a:cubicBezTo>
                      <a:pt x="122237" y="68009"/>
                      <a:pt x="244475" y="8213"/>
                      <a:pt x="387350" y="805"/>
                    </a:cubicBezTo>
                    <a:cubicBezTo>
                      <a:pt x="530225" y="-6603"/>
                      <a:pt x="693737" y="38376"/>
                      <a:pt x="857250" y="83355"/>
                    </a:cubicBezTo>
                  </a:path>
                </a:pathLst>
              </a:custGeom>
              <a:noFill/>
              <a:ln w="28575" cap="flat" cmpd="sng" algn="ctr">
                <a:solidFill>
                  <a:srgbClr val="DC002E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97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101602" y="5988636"/>
                <a:ext cx="123462" cy="115099"/>
              </a:xfrm>
              <a:prstGeom prst="ellipse">
                <a:avLst/>
              </a:prstGeom>
              <a:solidFill>
                <a:srgbClr val="DC002E"/>
              </a:solidFill>
              <a:ln w="190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lIns="0" rIns="0" anchor="ctr"/>
              <a:lstStyle/>
              <a:p>
                <a:pPr algn="ctr" defTabSz="1243919">
                  <a:defRPr/>
                </a:pPr>
                <a:endParaRPr lang="en-US" sz="918" kern="0" spc="-153">
                  <a:solidFill>
                    <a:srgbClr val="FFFFFF"/>
                  </a:solidFill>
                </a:endParaRPr>
              </a:p>
            </p:txBody>
          </p:sp>
          <p:sp>
            <p:nvSpPr>
              <p:cNvPr id="198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038543" y="5976468"/>
                <a:ext cx="82309" cy="76732"/>
              </a:xfrm>
              <a:prstGeom prst="ellipse">
                <a:avLst/>
              </a:prstGeom>
              <a:solidFill>
                <a:srgbClr val="DC002E"/>
              </a:solidFill>
              <a:ln w="190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lIns="0" rIns="0" anchor="ctr"/>
              <a:lstStyle/>
              <a:p>
                <a:pPr algn="ctr" defTabSz="1243919">
                  <a:defRPr/>
                </a:pPr>
                <a:endParaRPr lang="en-US" sz="918" kern="0" spc="-153">
                  <a:solidFill>
                    <a:srgbClr val="FFFFFF"/>
                  </a:solidFill>
                </a:endParaRPr>
              </a:p>
            </p:txBody>
          </p:sp>
          <p:sp>
            <p:nvSpPr>
              <p:cNvPr id="201" name="Figura a mano libera 200"/>
              <p:cNvSpPr/>
              <p:nvPr/>
            </p:nvSpPr>
            <p:spPr>
              <a:xfrm>
                <a:off x="7390717" y="4361962"/>
                <a:ext cx="280764" cy="651690"/>
              </a:xfrm>
              <a:custGeom>
                <a:avLst/>
                <a:gdLst>
                  <a:gd name="connsiteX0" fmla="*/ 242888 w 244921"/>
                  <a:gd name="connsiteY0" fmla="*/ 580332 h 580332"/>
                  <a:gd name="connsiteX1" fmla="*/ 209550 w 244921"/>
                  <a:gd name="connsiteY1" fmla="*/ 85032 h 580332"/>
                  <a:gd name="connsiteX2" fmla="*/ 0 w 244921"/>
                  <a:gd name="connsiteY2" fmla="*/ 4069 h 5803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44921" h="580332">
                    <a:moveTo>
                      <a:pt x="242888" y="580332"/>
                    </a:moveTo>
                    <a:cubicBezTo>
                      <a:pt x="246459" y="380704"/>
                      <a:pt x="250031" y="181076"/>
                      <a:pt x="209550" y="85032"/>
                    </a:cubicBezTo>
                    <a:cubicBezTo>
                      <a:pt x="169069" y="-11012"/>
                      <a:pt x="84534" y="-3472"/>
                      <a:pt x="0" y="4069"/>
                    </a:cubicBezTo>
                  </a:path>
                </a:pathLst>
              </a:custGeom>
              <a:noFill/>
              <a:ln w="28575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2" name="Figura a mano libera 201"/>
              <p:cNvSpPr/>
              <p:nvPr/>
            </p:nvSpPr>
            <p:spPr>
              <a:xfrm>
                <a:off x="7650952" y="4307703"/>
                <a:ext cx="294811" cy="171139"/>
              </a:xfrm>
              <a:custGeom>
                <a:avLst/>
                <a:gdLst>
                  <a:gd name="connsiteX0" fmla="*/ 0 w 257175"/>
                  <a:gd name="connsiteY0" fmla="*/ 152400 h 152400"/>
                  <a:gd name="connsiteX1" fmla="*/ 61912 w 257175"/>
                  <a:gd name="connsiteY1" fmla="*/ 52387 h 152400"/>
                  <a:gd name="connsiteX2" fmla="*/ 257175 w 257175"/>
                  <a:gd name="connsiteY2" fmla="*/ 0 h 152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257175" h="152400">
                    <a:moveTo>
                      <a:pt x="0" y="152400"/>
                    </a:moveTo>
                    <a:cubicBezTo>
                      <a:pt x="9525" y="115093"/>
                      <a:pt x="19050" y="77787"/>
                      <a:pt x="61912" y="52387"/>
                    </a:cubicBezTo>
                    <a:cubicBezTo>
                      <a:pt x="104774" y="26987"/>
                      <a:pt x="180974" y="13493"/>
                      <a:pt x="257175" y="0"/>
                    </a:cubicBezTo>
                  </a:path>
                </a:pathLst>
              </a:custGeom>
              <a:noFill/>
              <a:ln w="28575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03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9666876" y="4587938"/>
                <a:ext cx="123462" cy="115099"/>
              </a:xfrm>
              <a:prstGeom prst="ellipse">
                <a:avLst/>
              </a:prstGeom>
              <a:solidFill>
                <a:srgbClr val="DC002E"/>
              </a:solidFill>
              <a:ln w="190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lIns="0" rIns="0" anchor="ctr"/>
              <a:lstStyle/>
              <a:p>
                <a:pPr algn="ctr" defTabSz="1243919">
                  <a:defRPr/>
                </a:pPr>
                <a:endParaRPr lang="en-US" sz="918" kern="0" spc="-153">
                  <a:solidFill>
                    <a:srgbClr val="FFFFFF"/>
                  </a:solidFill>
                </a:endParaRPr>
              </a:p>
            </p:txBody>
          </p:sp>
          <p:sp>
            <p:nvSpPr>
              <p:cNvPr id="226" name="Figura a mano libera 225"/>
              <p:cNvSpPr/>
              <p:nvPr/>
            </p:nvSpPr>
            <p:spPr>
              <a:xfrm>
                <a:off x="7139582" y="2665835"/>
                <a:ext cx="469514" cy="251502"/>
              </a:xfrm>
              <a:custGeom>
                <a:avLst/>
                <a:gdLst>
                  <a:gd name="connsiteX0" fmla="*/ 409575 w 409575"/>
                  <a:gd name="connsiteY0" fmla="*/ 219075 h 223963"/>
                  <a:gd name="connsiteX1" fmla="*/ 223838 w 409575"/>
                  <a:gd name="connsiteY1" fmla="*/ 195263 h 223963"/>
                  <a:gd name="connsiteX2" fmla="*/ 0 w 409575"/>
                  <a:gd name="connsiteY2" fmla="*/ 0 h 2239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09575" h="223963">
                    <a:moveTo>
                      <a:pt x="409575" y="219075"/>
                    </a:moveTo>
                    <a:cubicBezTo>
                      <a:pt x="350837" y="225425"/>
                      <a:pt x="292100" y="231775"/>
                      <a:pt x="223838" y="195263"/>
                    </a:cubicBezTo>
                    <a:cubicBezTo>
                      <a:pt x="155576" y="158751"/>
                      <a:pt x="37306" y="31750"/>
                      <a:pt x="0" y="0"/>
                    </a:cubicBezTo>
                  </a:path>
                </a:pathLst>
              </a:custGeom>
              <a:noFill/>
              <a:ln w="28575" cap="flat" cmpd="sng" algn="ctr">
                <a:solidFill>
                  <a:srgbClr val="DC002E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algn="ctr" defTabSz="932962">
                  <a:defRPr/>
                </a:pPr>
                <a:endParaRPr lang="it-IT" sz="918" kern="0">
                  <a:solidFill>
                    <a:srgbClr val="FFFFFF"/>
                  </a:solidFill>
                </a:endParaRPr>
              </a:p>
            </p:txBody>
          </p:sp>
          <p:sp>
            <p:nvSpPr>
              <p:cNvPr id="227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7522243" y="2865035"/>
                <a:ext cx="123462" cy="115099"/>
              </a:xfrm>
              <a:prstGeom prst="ellipse">
                <a:avLst/>
              </a:prstGeom>
              <a:solidFill>
                <a:srgbClr val="DC002E"/>
              </a:solidFill>
              <a:ln w="190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lIns="0" rIns="0" anchor="ctr"/>
              <a:lstStyle/>
              <a:p>
                <a:pPr algn="ctr" defTabSz="1243919">
                  <a:defRPr/>
                </a:pPr>
                <a:endParaRPr lang="en-US" sz="918" kern="0" spc="-153">
                  <a:solidFill>
                    <a:srgbClr val="FFFFFF"/>
                  </a:solidFill>
                </a:endParaRPr>
              </a:p>
            </p:txBody>
          </p:sp>
          <p:sp>
            <p:nvSpPr>
              <p:cNvPr id="229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748226" y="4833744"/>
                <a:ext cx="82309" cy="76732"/>
              </a:xfrm>
              <a:prstGeom prst="ellipse">
                <a:avLst/>
              </a:prstGeom>
              <a:solidFill>
                <a:srgbClr val="DC002E"/>
              </a:solidFill>
              <a:ln w="190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lIns="0" rIns="0" anchor="ctr"/>
              <a:lstStyle/>
              <a:p>
                <a:pPr algn="ctr" defTabSz="1243919">
                  <a:defRPr/>
                </a:pPr>
                <a:endParaRPr lang="en-US" sz="918" kern="0" spc="-153">
                  <a:solidFill>
                    <a:srgbClr val="FFFFFF"/>
                  </a:solidFill>
                </a:endParaRPr>
              </a:p>
            </p:txBody>
          </p:sp>
          <p:sp>
            <p:nvSpPr>
              <p:cNvPr id="230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141542" y="5990099"/>
                <a:ext cx="123462" cy="115099"/>
              </a:xfrm>
              <a:prstGeom prst="ellipse">
                <a:avLst/>
              </a:prstGeom>
              <a:solidFill>
                <a:srgbClr val="DC002E"/>
              </a:solidFill>
              <a:ln w="190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lIns="0" rIns="0" anchor="ctr"/>
              <a:lstStyle/>
              <a:p>
                <a:pPr algn="ctr" defTabSz="1243919">
                  <a:defRPr/>
                </a:pPr>
                <a:endParaRPr lang="en-US" sz="918" kern="0" spc="-153">
                  <a:solidFill>
                    <a:srgbClr val="FFFFFF"/>
                  </a:solidFill>
                </a:endParaRPr>
              </a:p>
            </p:txBody>
          </p:sp>
          <p:sp>
            <p:nvSpPr>
              <p:cNvPr id="233" name="Oval 11">
                <a:extLst>
                  <a:ext uri="{FF2B5EF4-FFF2-40B4-BE49-F238E27FC236}">
                    <a16:creationId xmlns:a16="http://schemas.microsoft.com/office/drawing/2014/main" id="{BD40547F-0298-4C62-AB2B-5ABD6F39AEE4}"/>
                  </a:ext>
                </a:extLst>
              </p:cNvPr>
              <p:cNvSpPr>
                <a:spLocks/>
              </p:cNvSpPr>
              <p:nvPr/>
            </p:nvSpPr>
            <p:spPr>
              <a:xfrm>
                <a:off x="10610430" y="4523132"/>
                <a:ext cx="123462" cy="115099"/>
              </a:xfrm>
              <a:prstGeom prst="ellipse">
                <a:avLst/>
              </a:prstGeom>
              <a:solidFill>
                <a:srgbClr val="DC002E"/>
              </a:solidFill>
              <a:ln w="19050" cap="flat" cmpd="sng" algn="ctr">
                <a:solidFill>
                  <a:srgbClr val="FFFFFF"/>
                </a:solidFill>
                <a:prstDash val="solid"/>
                <a:miter lim="800000"/>
              </a:ln>
              <a:effectLst/>
            </p:spPr>
            <p:txBody>
              <a:bodyPr lIns="0" rIns="0" anchor="ctr"/>
              <a:lstStyle/>
              <a:p>
                <a:pPr algn="ctr" defTabSz="1243919">
                  <a:defRPr/>
                </a:pPr>
                <a:endParaRPr lang="en-US" sz="918" kern="0" spc="-153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21" name="Rettangolo 120"/>
            <p:cNvSpPr/>
            <p:nvPr/>
          </p:nvSpPr>
          <p:spPr>
            <a:xfrm>
              <a:off x="7098105" y="3097348"/>
              <a:ext cx="503580" cy="64652"/>
            </a:xfrm>
            <a:prstGeom prst="rect">
              <a:avLst/>
            </a:prstGeom>
            <a:noFill/>
            <a:ln w="12700" cap="flat" cmpd="sng" algn="ctr">
              <a:noFill/>
              <a:prstDash val="solid"/>
              <a:miter lim="800000"/>
            </a:ln>
            <a:effectLst/>
          </p:spPr>
          <p:txBody>
            <a:bodyPr lIns="0" tIns="0" rIns="0" bIns="0" rtlCol="0" anchor="ctr"/>
            <a:lstStyle/>
            <a:p>
              <a:pPr algn="ctr" defTabSz="932962">
                <a:defRPr/>
              </a:pPr>
              <a:r>
                <a:rPr lang="it-IT" sz="918" kern="0">
                  <a:solidFill>
                    <a:srgbClr val="000000"/>
                  </a:solidFill>
                </a:rPr>
                <a:t>Torino</a:t>
              </a:r>
            </a:p>
          </p:txBody>
        </p:sp>
        <p:sp>
          <p:nvSpPr>
            <p:cNvPr id="122" name="Figura a mano libera 121"/>
            <p:cNvSpPr/>
            <p:nvPr/>
          </p:nvSpPr>
          <p:spPr>
            <a:xfrm>
              <a:off x="7098278" y="2851546"/>
              <a:ext cx="255963" cy="167917"/>
            </a:xfrm>
            <a:custGeom>
              <a:avLst/>
              <a:gdLst>
                <a:gd name="connsiteX0" fmla="*/ 0 w 342900"/>
                <a:gd name="connsiteY0" fmla="*/ 0 h 171450"/>
                <a:gd name="connsiteX1" fmla="*/ 171450 w 342900"/>
                <a:gd name="connsiteY1" fmla="*/ 133350 h 171450"/>
                <a:gd name="connsiteX2" fmla="*/ 342900 w 342900"/>
                <a:gd name="connsiteY2" fmla="*/ 171450 h 171450"/>
                <a:gd name="connsiteX0" fmla="*/ 0 w 171450"/>
                <a:gd name="connsiteY0" fmla="*/ 0 h 133350"/>
                <a:gd name="connsiteX1" fmla="*/ 171450 w 171450"/>
                <a:gd name="connsiteY1" fmla="*/ 133350 h 133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71450" h="133350">
                  <a:moveTo>
                    <a:pt x="0" y="0"/>
                  </a:moveTo>
                  <a:cubicBezTo>
                    <a:pt x="57150" y="52387"/>
                    <a:pt x="114300" y="104775"/>
                    <a:pt x="171450" y="133350"/>
                  </a:cubicBezTo>
                </a:path>
              </a:pathLst>
            </a:custGeom>
            <a:noFill/>
            <a:ln w="28575" cap="flat" cmpd="sng" algn="ctr">
              <a:solidFill>
                <a:srgbClr val="7F7F7F"/>
              </a:solidFill>
              <a:prstDash val="solid"/>
              <a:miter lim="800000"/>
              <a:headEnd type="triangle"/>
            </a:ln>
            <a:effectLst/>
          </p:spPr>
          <p:txBody>
            <a:bodyPr rtlCol="0" anchor="ctr"/>
            <a:lstStyle/>
            <a:p>
              <a:pPr algn="ctr" defTabSz="932962">
                <a:defRPr/>
              </a:pPr>
              <a:endParaRPr lang="it-IT" sz="918" kern="0">
                <a:solidFill>
                  <a:srgbClr val="FFFFFF"/>
                </a:solidFill>
              </a:endParaRPr>
            </a:p>
          </p:txBody>
        </p:sp>
        <p:sp>
          <p:nvSpPr>
            <p:cNvPr id="123" name="Figura a mano libera 122"/>
            <p:cNvSpPr/>
            <p:nvPr/>
          </p:nvSpPr>
          <p:spPr>
            <a:xfrm>
              <a:off x="7348979" y="3016101"/>
              <a:ext cx="274973" cy="71180"/>
            </a:xfrm>
            <a:custGeom>
              <a:avLst/>
              <a:gdLst>
                <a:gd name="connsiteX0" fmla="*/ 0 w 254000"/>
                <a:gd name="connsiteY0" fmla="*/ 0 h 71147"/>
                <a:gd name="connsiteX1" fmla="*/ 146050 w 254000"/>
                <a:gd name="connsiteY1" fmla="*/ 69850 h 71147"/>
                <a:gd name="connsiteX2" fmla="*/ 254000 w 254000"/>
                <a:gd name="connsiteY2" fmla="*/ 44450 h 71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4000" h="71147">
                  <a:moveTo>
                    <a:pt x="0" y="0"/>
                  </a:moveTo>
                  <a:cubicBezTo>
                    <a:pt x="51858" y="31221"/>
                    <a:pt x="103717" y="62442"/>
                    <a:pt x="146050" y="69850"/>
                  </a:cubicBezTo>
                  <a:cubicBezTo>
                    <a:pt x="188383" y="77258"/>
                    <a:pt x="233892" y="50800"/>
                    <a:pt x="254000" y="44450"/>
                  </a:cubicBezTo>
                </a:path>
              </a:pathLst>
            </a:custGeom>
            <a:noFill/>
            <a:ln w="28575" cap="flat" cmpd="sng" algn="ctr">
              <a:solidFill>
                <a:srgbClr val="7F7F7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algn="ctr" defTabSz="932962">
                <a:defRPr/>
              </a:pPr>
              <a:endParaRPr lang="it-IT" sz="918" kern="0">
                <a:solidFill>
                  <a:srgbClr val="FFFFFF"/>
                </a:solidFill>
              </a:endParaRPr>
            </a:p>
          </p:txBody>
        </p:sp>
        <p:sp>
          <p:nvSpPr>
            <p:cNvPr id="124" name="Oval 11">
              <a:extLst>
                <a:ext uri="{FF2B5EF4-FFF2-40B4-BE49-F238E27FC236}">
                  <a16:creationId xmlns:a16="http://schemas.microsoft.com/office/drawing/2014/main" id="{BD40547F-0298-4C62-AB2B-5ABD6F39AEE4}"/>
                </a:ext>
              </a:extLst>
            </p:cNvPr>
            <p:cNvSpPr>
              <a:spLocks/>
            </p:cNvSpPr>
            <p:nvPr/>
          </p:nvSpPr>
          <p:spPr>
            <a:xfrm>
              <a:off x="7591335" y="2992909"/>
              <a:ext cx="116917" cy="108052"/>
            </a:xfrm>
            <a:prstGeom prst="ellipse">
              <a:avLst/>
            </a:prstGeom>
            <a:solidFill>
              <a:srgbClr val="DC002E"/>
            </a:solidFill>
            <a:ln w="19050" cap="flat" cmpd="sng" algn="ctr">
              <a:solidFill>
                <a:srgbClr val="FFFFFF"/>
              </a:solidFill>
              <a:prstDash val="solid"/>
              <a:miter lim="800000"/>
            </a:ln>
            <a:effectLst/>
          </p:spPr>
          <p:txBody>
            <a:bodyPr lIns="0" rIns="0" anchor="ctr"/>
            <a:lstStyle/>
            <a:p>
              <a:pPr algn="ctr" defTabSz="1243919">
                <a:defRPr/>
              </a:pPr>
              <a:endParaRPr lang="en-US" sz="918" kern="0" spc="-153">
                <a:solidFill>
                  <a:srgbClr val="FFFFFF"/>
                </a:solidFill>
              </a:endParaRPr>
            </a:p>
          </p:txBody>
        </p:sp>
      </p:grpSp>
      <p:sp>
        <p:nvSpPr>
          <p:cNvPr id="234" name="Rettangolo 233"/>
          <p:cNvSpPr/>
          <p:nvPr/>
        </p:nvSpPr>
        <p:spPr>
          <a:xfrm>
            <a:off x="6248934" y="4592483"/>
            <a:ext cx="411284" cy="12046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defTabSz="932962">
              <a:defRPr/>
            </a:pPr>
            <a:r>
              <a:rPr lang="it-IT" sz="918" kern="0">
                <a:solidFill>
                  <a:srgbClr val="000000"/>
                </a:solidFill>
              </a:rPr>
              <a:t>Salerno</a:t>
            </a:r>
          </a:p>
        </p:txBody>
      </p:sp>
      <p:sp>
        <p:nvSpPr>
          <p:cNvPr id="240" name="Figura a mano libera 239"/>
          <p:cNvSpPr/>
          <p:nvPr/>
        </p:nvSpPr>
        <p:spPr>
          <a:xfrm>
            <a:off x="7148600" y="4621409"/>
            <a:ext cx="215633" cy="456758"/>
          </a:xfrm>
          <a:custGeom>
            <a:avLst/>
            <a:gdLst>
              <a:gd name="connsiteX0" fmla="*/ 11186 w 300355"/>
              <a:gd name="connsiteY0" fmla="*/ 773724 h 773724"/>
              <a:gd name="connsiteX1" fmla="*/ 34632 w 300355"/>
              <a:gd name="connsiteY1" fmla="*/ 336062 h 773724"/>
              <a:gd name="connsiteX2" fmla="*/ 300355 w 300355"/>
              <a:gd name="connsiteY2" fmla="*/ 0 h 773724"/>
              <a:gd name="connsiteX0" fmla="*/ 1692 w 290861"/>
              <a:gd name="connsiteY0" fmla="*/ 773724 h 773724"/>
              <a:gd name="connsiteX1" fmla="*/ 95477 w 290861"/>
              <a:gd name="connsiteY1" fmla="*/ 359509 h 773724"/>
              <a:gd name="connsiteX2" fmla="*/ 290861 w 290861"/>
              <a:gd name="connsiteY2" fmla="*/ 0 h 773724"/>
              <a:gd name="connsiteX0" fmla="*/ 1823 w 322254"/>
              <a:gd name="connsiteY0" fmla="*/ 765908 h 765908"/>
              <a:gd name="connsiteX1" fmla="*/ 95608 w 322254"/>
              <a:gd name="connsiteY1" fmla="*/ 351693 h 765908"/>
              <a:gd name="connsiteX2" fmla="*/ 322254 w 322254"/>
              <a:gd name="connsiteY2" fmla="*/ 0 h 765908"/>
              <a:gd name="connsiteX0" fmla="*/ 2815 w 323246"/>
              <a:gd name="connsiteY0" fmla="*/ 765908 h 765908"/>
              <a:gd name="connsiteX1" fmla="*/ 73153 w 323246"/>
              <a:gd name="connsiteY1" fmla="*/ 351693 h 765908"/>
              <a:gd name="connsiteX2" fmla="*/ 323246 w 323246"/>
              <a:gd name="connsiteY2" fmla="*/ 0 h 765908"/>
              <a:gd name="connsiteX0" fmla="*/ 6294 w 299275"/>
              <a:gd name="connsiteY0" fmla="*/ 755352 h 755352"/>
              <a:gd name="connsiteX1" fmla="*/ 49182 w 299275"/>
              <a:gd name="connsiteY1" fmla="*/ 351693 h 755352"/>
              <a:gd name="connsiteX2" fmla="*/ 299275 w 299275"/>
              <a:gd name="connsiteY2" fmla="*/ 0 h 755352"/>
              <a:gd name="connsiteX0" fmla="*/ 4007 w 310713"/>
              <a:gd name="connsiteY0" fmla="*/ 759310 h 759310"/>
              <a:gd name="connsiteX1" fmla="*/ 60620 w 310713"/>
              <a:gd name="connsiteY1" fmla="*/ 351693 h 759310"/>
              <a:gd name="connsiteX2" fmla="*/ 310713 w 310713"/>
              <a:gd name="connsiteY2" fmla="*/ 0 h 759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10713" h="759310">
                <a:moveTo>
                  <a:pt x="4007" y="759310"/>
                </a:moveTo>
                <a:cubicBezTo>
                  <a:pt x="-8368" y="604956"/>
                  <a:pt x="7215" y="479344"/>
                  <a:pt x="60620" y="351693"/>
                </a:cubicBezTo>
                <a:cubicBezTo>
                  <a:pt x="114025" y="224042"/>
                  <a:pt x="201949" y="103554"/>
                  <a:pt x="310713" y="0"/>
                </a:cubicBezTo>
              </a:path>
            </a:pathLst>
          </a:custGeom>
          <a:noFill/>
          <a:ln w="28575" cap="flat" cmpd="sng" algn="ctr">
            <a:solidFill>
              <a:srgbClr val="DC002E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32962">
              <a:defRPr/>
            </a:pPr>
            <a:endParaRPr lang="it-IT" sz="918" kern="0">
              <a:solidFill>
                <a:srgbClr val="FFFFFF"/>
              </a:solidFill>
            </a:endParaRPr>
          </a:p>
        </p:txBody>
      </p:sp>
      <p:sp>
        <p:nvSpPr>
          <p:cNvPr id="241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/>
          </p:cNvSpPr>
          <p:nvPr/>
        </p:nvSpPr>
        <p:spPr>
          <a:xfrm>
            <a:off x="7042164" y="5459488"/>
            <a:ext cx="66239" cy="70521"/>
          </a:xfrm>
          <a:prstGeom prst="ellipse">
            <a:avLst/>
          </a:prstGeom>
          <a:solidFill>
            <a:srgbClr val="DC002E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rIns="0" anchor="ctr"/>
          <a:lstStyle/>
          <a:p>
            <a:pPr algn="ctr" defTabSz="1243919">
              <a:defRPr/>
            </a:pPr>
            <a:endParaRPr lang="en-US" sz="918" kern="0" spc="-153">
              <a:solidFill>
                <a:srgbClr val="FFFFFF"/>
              </a:solidFill>
            </a:endParaRPr>
          </a:p>
        </p:txBody>
      </p:sp>
      <p:sp>
        <p:nvSpPr>
          <p:cNvPr id="242" name="Rettangolo 241"/>
          <p:cNvSpPr/>
          <p:nvPr/>
        </p:nvSpPr>
        <p:spPr>
          <a:xfrm>
            <a:off x="7157302" y="5434515"/>
            <a:ext cx="550312" cy="12046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defTabSz="932962">
              <a:defRPr/>
            </a:pPr>
            <a:r>
              <a:rPr lang="it-IT" sz="918" kern="0">
                <a:solidFill>
                  <a:srgbClr val="000000"/>
                </a:solidFill>
              </a:rPr>
              <a:t>Gioia Tauro</a:t>
            </a:r>
          </a:p>
        </p:txBody>
      </p:sp>
      <p:sp>
        <p:nvSpPr>
          <p:cNvPr id="243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/>
          </p:cNvSpPr>
          <p:nvPr/>
        </p:nvSpPr>
        <p:spPr>
          <a:xfrm>
            <a:off x="6677264" y="3920209"/>
            <a:ext cx="66239" cy="70521"/>
          </a:xfrm>
          <a:prstGeom prst="ellipse">
            <a:avLst/>
          </a:prstGeom>
          <a:solidFill>
            <a:srgbClr val="DC002E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rIns="0" anchor="ctr"/>
          <a:lstStyle/>
          <a:p>
            <a:pPr algn="ctr" defTabSz="1243919">
              <a:defRPr/>
            </a:pPr>
            <a:endParaRPr lang="en-US" sz="918" kern="0" spc="-153">
              <a:solidFill>
                <a:srgbClr val="FFFFFF"/>
              </a:solidFill>
            </a:endParaRPr>
          </a:p>
        </p:txBody>
      </p:sp>
      <p:sp>
        <p:nvSpPr>
          <p:cNvPr id="244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/>
          </p:cNvSpPr>
          <p:nvPr/>
        </p:nvSpPr>
        <p:spPr>
          <a:xfrm>
            <a:off x="6893679" y="4099340"/>
            <a:ext cx="66239" cy="70521"/>
          </a:xfrm>
          <a:prstGeom prst="ellipse">
            <a:avLst/>
          </a:prstGeom>
          <a:solidFill>
            <a:srgbClr val="DC002E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rIns="0" anchor="ctr"/>
          <a:lstStyle/>
          <a:p>
            <a:pPr algn="ctr" defTabSz="1243919">
              <a:defRPr/>
            </a:pPr>
            <a:endParaRPr lang="en-US" sz="918" kern="0" spc="-153">
              <a:solidFill>
                <a:srgbClr val="FFFFFF"/>
              </a:solidFill>
            </a:endParaRPr>
          </a:p>
        </p:txBody>
      </p:sp>
      <p:sp>
        <p:nvSpPr>
          <p:cNvPr id="247" name="Rettangolo 246"/>
          <p:cNvSpPr/>
          <p:nvPr/>
        </p:nvSpPr>
        <p:spPr>
          <a:xfrm>
            <a:off x="6915231" y="3981406"/>
            <a:ext cx="427945" cy="12044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algn="ctr" defTabSz="932962">
              <a:defRPr/>
            </a:pPr>
            <a:r>
              <a:rPr lang="it-IT" sz="918" kern="0">
                <a:solidFill>
                  <a:srgbClr val="000000"/>
                </a:solidFill>
              </a:rPr>
              <a:t>Lesina</a:t>
            </a:r>
          </a:p>
        </p:txBody>
      </p:sp>
      <p:sp>
        <p:nvSpPr>
          <p:cNvPr id="248" name="Rettangolo 247"/>
          <p:cNvSpPr/>
          <p:nvPr/>
        </p:nvSpPr>
        <p:spPr>
          <a:xfrm>
            <a:off x="6227544" y="3087431"/>
            <a:ext cx="619342" cy="12877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defTabSz="932962">
              <a:defRPr/>
            </a:pPr>
            <a:r>
              <a:rPr lang="it-IT" sz="918" kern="0">
                <a:solidFill>
                  <a:srgbClr val="000000"/>
                </a:solidFill>
              </a:rPr>
              <a:t>Falconara</a:t>
            </a:r>
          </a:p>
        </p:txBody>
      </p:sp>
      <p:sp>
        <p:nvSpPr>
          <p:cNvPr id="249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/>
          </p:cNvSpPr>
          <p:nvPr/>
        </p:nvSpPr>
        <p:spPr>
          <a:xfrm>
            <a:off x="5437512" y="2323370"/>
            <a:ext cx="99357" cy="105782"/>
          </a:xfrm>
          <a:prstGeom prst="ellipse">
            <a:avLst/>
          </a:prstGeom>
          <a:solidFill>
            <a:srgbClr val="DC002E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rIns="0" anchor="ctr"/>
          <a:lstStyle/>
          <a:p>
            <a:pPr algn="ctr" defTabSz="1243919">
              <a:defRPr/>
            </a:pPr>
            <a:endParaRPr lang="en-US" sz="918" kern="0" spc="-153">
              <a:solidFill>
                <a:srgbClr val="FFFFFF"/>
              </a:solidFill>
            </a:endParaRPr>
          </a:p>
        </p:txBody>
      </p:sp>
      <p:sp>
        <p:nvSpPr>
          <p:cNvPr id="250" name="Rettangolo 249"/>
          <p:cNvSpPr/>
          <p:nvPr/>
        </p:nvSpPr>
        <p:spPr>
          <a:xfrm>
            <a:off x="5315182" y="2449226"/>
            <a:ext cx="427945" cy="6329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algn="ctr" defTabSz="932962">
              <a:defRPr/>
            </a:pPr>
            <a:r>
              <a:rPr lang="it-IT" sz="918" kern="0">
                <a:solidFill>
                  <a:srgbClr val="000000"/>
                </a:solidFill>
              </a:rPr>
              <a:t>Verona</a:t>
            </a:r>
          </a:p>
        </p:txBody>
      </p:sp>
      <p:sp>
        <p:nvSpPr>
          <p:cNvPr id="252" name="Rettangolo 251"/>
          <p:cNvSpPr/>
          <p:nvPr/>
        </p:nvSpPr>
        <p:spPr>
          <a:xfrm>
            <a:off x="6236287" y="2118820"/>
            <a:ext cx="427945" cy="6329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algn="ctr" defTabSz="932962">
              <a:defRPr/>
            </a:pPr>
            <a:r>
              <a:rPr lang="it-IT" sz="918" kern="0">
                <a:solidFill>
                  <a:srgbClr val="000000"/>
                </a:solidFill>
              </a:rPr>
              <a:t>Gorizia</a:t>
            </a:r>
          </a:p>
        </p:txBody>
      </p:sp>
      <p:sp>
        <p:nvSpPr>
          <p:cNvPr id="255" name="Figura a mano libera 254"/>
          <p:cNvSpPr/>
          <p:nvPr/>
        </p:nvSpPr>
        <p:spPr>
          <a:xfrm>
            <a:off x="5080055" y="2678230"/>
            <a:ext cx="136190" cy="295188"/>
          </a:xfrm>
          <a:custGeom>
            <a:avLst/>
            <a:gdLst>
              <a:gd name="connsiteX0" fmla="*/ 47782 w 62069"/>
              <a:gd name="connsiteY0" fmla="*/ 442912 h 442912"/>
              <a:gd name="connsiteX1" fmla="*/ 157 w 62069"/>
              <a:gd name="connsiteY1" fmla="*/ 223837 h 442912"/>
              <a:gd name="connsiteX2" fmla="*/ 62069 w 62069"/>
              <a:gd name="connsiteY2" fmla="*/ 0 h 442912"/>
              <a:gd name="connsiteX0" fmla="*/ 5010 w 59043"/>
              <a:gd name="connsiteY0" fmla="*/ 442912 h 442912"/>
              <a:gd name="connsiteX1" fmla="*/ 58985 w 59043"/>
              <a:gd name="connsiteY1" fmla="*/ 211137 h 442912"/>
              <a:gd name="connsiteX2" fmla="*/ 19297 w 59043"/>
              <a:gd name="connsiteY2" fmla="*/ 0 h 442912"/>
              <a:gd name="connsiteX0" fmla="*/ 42585 w 56872"/>
              <a:gd name="connsiteY0" fmla="*/ 442912 h 442912"/>
              <a:gd name="connsiteX1" fmla="*/ 194 w 56872"/>
              <a:gd name="connsiteY1" fmla="*/ 275741 h 442912"/>
              <a:gd name="connsiteX2" fmla="*/ 56872 w 56872"/>
              <a:gd name="connsiteY2" fmla="*/ 0 h 442912"/>
              <a:gd name="connsiteX0" fmla="*/ 42585 w 92876"/>
              <a:gd name="connsiteY0" fmla="*/ 442912 h 442912"/>
              <a:gd name="connsiteX1" fmla="*/ 194 w 92876"/>
              <a:gd name="connsiteY1" fmla="*/ 275741 h 442912"/>
              <a:gd name="connsiteX2" fmla="*/ 91593 w 92876"/>
              <a:gd name="connsiteY2" fmla="*/ 177023 h 442912"/>
              <a:gd name="connsiteX3" fmla="*/ 56872 w 92876"/>
              <a:gd name="connsiteY3" fmla="*/ 0 h 442912"/>
              <a:gd name="connsiteX0" fmla="*/ 42585 w 56872"/>
              <a:gd name="connsiteY0" fmla="*/ 442912 h 442912"/>
              <a:gd name="connsiteX1" fmla="*/ 194 w 56872"/>
              <a:gd name="connsiteY1" fmla="*/ 275741 h 442912"/>
              <a:gd name="connsiteX2" fmla="*/ 56872 w 56872"/>
              <a:gd name="connsiteY2" fmla="*/ 0 h 442912"/>
              <a:gd name="connsiteX0" fmla="*/ 42585 w 136030"/>
              <a:gd name="connsiteY0" fmla="*/ 313705 h 313705"/>
              <a:gd name="connsiteX1" fmla="*/ 194 w 136030"/>
              <a:gd name="connsiteY1" fmla="*/ 146534 h 313705"/>
              <a:gd name="connsiteX2" fmla="*/ 136030 w 136030"/>
              <a:gd name="connsiteY2" fmla="*/ 0 h 313705"/>
              <a:gd name="connsiteX0" fmla="*/ 42585 w 136030"/>
              <a:gd name="connsiteY0" fmla="*/ 313705 h 313705"/>
              <a:gd name="connsiteX1" fmla="*/ 194 w 136030"/>
              <a:gd name="connsiteY1" fmla="*/ 158839 h 313705"/>
              <a:gd name="connsiteX2" fmla="*/ 136030 w 136030"/>
              <a:gd name="connsiteY2" fmla="*/ 0 h 313705"/>
              <a:gd name="connsiteX0" fmla="*/ 46002 w 136005"/>
              <a:gd name="connsiteY0" fmla="*/ 313705 h 313705"/>
              <a:gd name="connsiteX1" fmla="*/ 169 w 136005"/>
              <a:gd name="connsiteY1" fmla="*/ 158839 h 313705"/>
              <a:gd name="connsiteX2" fmla="*/ 136005 w 136005"/>
              <a:gd name="connsiteY2" fmla="*/ 0 h 313705"/>
              <a:gd name="connsiteX0" fmla="*/ 6734 w 96737"/>
              <a:gd name="connsiteY0" fmla="*/ 313705 h 313705"/>
              <a:gd name="connsiteX1" fmla="*/ 36617 w 96737"/>
              <a:gd name="connsiteY1" fmla="*/ 217290 h 313705"/>
              <a:gd name="connsiteX2" fmla="*/ 96737 w 96737"/>
              <a:gd name="connsiteY2" fmla="*/ 0 h 313705"/>
              <a:gd name="connsiteX0" fmla="*/ 6734 w 38229"/>
              <a:gd name="connsiteY0" fmla="*/ 295247 h 295247"/>
              <a:gd name="connsiteX1" fmla="*/ 36617 w 38229"/>
              <a:gd name="connsiteY1" fmla="*/ 198832 h 295247"/>
              <a:gd name="connsiteX2" fmla="*/ 38229 w 38229"/>
              <a:gd name="connsiteY2" fmla="*/ 0 h 295247"/>
              <a:gd name="connsiteX0" fmla="*/ 8911 w 40406"/>
              <a:gd name="connsiteY0" fmla="*/ 295247 h 295247"/>
              <a:gd name="connsiteX1" fmla="*/ 21586 w 40406"/>
              <a:gd name="connsiteY1" fmla="*/ 152687 h 295247"/>
              <a:gd name="connsiteX2" fmla="*/ 40406 w 40406"/>
              <a:gd name="connsiteY2" fmla="*/ 0 h 295247"/>
              <a:gd name="connsiteX0" fmla="*/ 6000 w 37495"/>
              <a:gd name="connsiteY0" fmla="*/ 295247 h 295247"/>
              <a:gd name="connsiteX1" fmla="*/ 18675 w 37495"/>
              <a:gd name="connsiteY1" fmla="*/ 152687 h 295247"/>
              <a:gd name="connsiteX2" fmla="*/ 37495 w 37495"/>
              <a:gd name="connsiteY2" fmla="*/ 0 h 295247"/>
              <a:gd name="connsiteX0" fmla="*/ 6000 w 147628"/>
              <a:gd name="connsiteY0" fmla="*/ 286018 h 286018"/>
              <a:gd name="connsiteX1" fmla="*/ 18675 w 147628"/>
              <a:gd name="connsiteY1" fmla="*/ 143458 h 286018"/>
              <a:gd name="connsiteX2" fmla="*/ 147628 w 147628"/>
              <a:gd name="connsiteY2" fmla="*/ 0 h 2860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7628" h="286018">
                <a:moveTo>
                  <a:pt x="6000" y="286018"/>
                </a:moveTo>
                <a:cubicBezTo>
                  <a:pt x="-19003" y="213390"/>
                  <a:pt x="43828" y="223430"/>
                  <a:pt x="18675" y="143458"/>
                </a:cubicBezTo>
                <a:cubicBezTo>
                  <a:pt x="21056" y="69639"/>
                  <a:pt x="135820" y="57446"/>
                  <a:pt x="147628" y="0"/>
                </a:cubicBezTo>
              </a:path>
            </a:pathLst>
          </a:custGeom>
          <a:noFill/>
          <a:ln w="28575" cap="flat" cmpd="sng" algn="ctr">
            <a:solidFill>
              <a:srgbClr val="DC002E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32962">
              <a:defRPr/>
            </a:pPr>
            <a:endParaRPr lang="it-IT" sz="918" kern="0">
              <a:solidFill>
                <a:srgbClr val="FFFFFF"/>
              </a:solidFill>
            </a:endParaRPr>
          </a:p>
        </p:txBody>
      </p:sp>
      <p:sp>
        <p:nvSpPr>
          <p:cNvPr id="256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/>
          </p:cNvSpPr>
          <p:nvPr/>
        </p:nvSpPr>
        <p:spPr>
          <a:xfrm>
            <a:off x="5057889" y="2938157"/>
            <a:ext cx="66239" cy="70521"/>
          </a:xfrm>
          <a:prstGeom prst="ellipse">
            <a:avLst/>
          </a:prstGeom>
          <a:solidFill>
            <a:srgbClr val="DC002E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rIns="0" anchor="ctr"/>
          <a:lstStyle/>
          <a:p>
            <a:pPr algn="ctr" defTabSz="1243919">
              <a:defRPr/>
            </a:pPr>
            <a:endParaRPr lang="en-US" sz="918" kern="0" spc="-153">
              <a:solidFill>
                <a:srgbClr val="FFFFFF"/>
              </a:solidFill>
            </a:endParaRPr>
          </a:p>
        </p:txBody>
      </p:sp>
      <p:sp>
        <p:nvSpPr>
          <p:cNvPr id="257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/>
          </p:cNvSpPr>
          <p:nvPr/>
        </p:nvSpPr>
        <p:spPr>
          <a:xfrm>
            <a:off x="5194051" y="2639903"/>
            <a:ext cx="66239" cy="70521"/>
          </a:xfrm>
          <a:prstGeom prst="ellipse">
            <a:avLst/>
          </a:prstGeom>
          <a:solidFill>
            <a:srgbClr val="DC002E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rIns="0" anchor="ctr"/>
          <a:lstStyle/>
          <a:p>
            <a:pPr algn="ctr" defTabSz="1243919">
              <a:defRPr/>
            </a:pPr>
            <a:endParaRPr lang="en-US" sz="918" kern="0" spc="-153">
              <a:solidFill>
                <a:srgbClr val="FFFFFF"/>
              </a:solidFill>
            </a:endParaRPr>
          </a:p>
        </p:txBody>
      </p:sp>
      <p:sp>
        <p:nvSpPr>
          <p:cNvPr id="258" name="Rettangolo 257"/>
          <p:cNvSpPr/>
          <p:nvPr/>
        </p:nvSpPr>
        <p:spPr>
          <a:xfrm>
            <a:off x="4786270" y="3013396"/>
            <a:ext cx="524712" cy="12044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defTabSz="932962">
              <a:defRPr/>
            </a:pPr>
            <a:r>
              <a:rPr lang="it-IT" sz="918" kern="0">
                <a:solidFill>
                  <a:srgbClr val="000000"/>
                </a:solidFill>
              </a:rPr>
              <a:t>La Spezia</a:t>
            </a:r>
          </a:p>
        </p:txBody>
      </p:sp>
      <p:sp>
        <p:nvSpPr>
          <p:cNvPr id="259" name="Rettangolo 258"/>
          <p:cNvSpPr/>
          <p:nvPr/>
        </p:nvSpPr>
        <p:spPr>
          <a:xfrm>
            <a:off x="5285696" y="2611930"/>
            <a:ext cx="524712" cy="12044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defTabSz="932962">
              <a:defRPr/>
            </a:pPr>
            <a:r>
              <a:rPr lang="it-IT" sz="918" kern="0">
                <a:solidFill>
                  <a:srgbClr val="000000"/>
                </a:solidFill>
              </a:rPr>
              <a:t>Parma</a:t>
            </a:r>
          </a:p>
        </p:txBody>
      </p:sp>
      <p:sp>
        <p:nvSpPr>
          <p:cNvPr id="260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/>
          </p:cNvSpPr>
          <p:nvPr/>
        </p:nvSpPr>
        <p:spPr>
          <a:xfrm>
            <a:off x="6430229" y="4234651"/>
            <a:ext cx="66239" cy="70521"/>
          </a:xfrm>
          <a:prstGeom prst="ellipse">
            <a:avLst/>
          </a:prstGeom>
          <a:solidFill>
            <a:srgbClr val="DC002E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rIns="0" anchor="ctr"/>
          <a:lstStyle/>
          <a:p>
            <a:pPr algn="ctr" defTabSz="1243919">
              <a:defRPr/>
            </a:pPr>
            <a:endParaRPr lang="en-US" sz="918" kern="0" spc="-153">
              <a:solidFill>
                <a:srgbClr val="FFFFFF"/>
              </a:solidFill>
            </a:endParaRPr>
          </a:p>
        </p:txBody>
      </p:sp>
      <p:sp>
        <p:nvSpPr>
          <p:cNvPr id="261" name="Rettangolo 260"/>
          <p:cNvSpPr/>
          <p:nvPr/>
        </p:nvSpPr>
        <p:spPr>
          <a:xfrm>
            <a:off x="5763992" y="4229855"/>
            <a:ext cx="765787" cy="120448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defTabSz="932962">
              <a:defRPr/>
            </a:pPr>
            <a:r>
              <a:rPr lang="it-IT" sz="918" kern="0">
                <a:solidFill>
                  <a:srgbClr val="000000"/>
                </a:solidFill>
              </a:rPr>
              <a:t>S.M.C. Vetere</a:t>
            </a:r>
          </a:p>
        </p:txBody>
      </p:sp>
      <p:sp>
        <p:nvSpPr>
          <p:cNvPr id="265" name="Rettangolo 264"/>
          <p:cNvSpPr/>
          <p:nvPr/>
        </p:nvSpPr>
        <p:spPr>
          <a:xfrm>
            <a:off x="5776875" y="2023932"/>
            <a:ext cx="427945" cy="63294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algn="ctr" defTabSz="932962">
              <a:defRPr/>
            </a:pPr>
            <a:r>
              <a:rPr lang="it-IT" sz="918" kern="0">
                <a:solidFill>
                  <a:srgbClr val="000000"/>
                </a:solidFill>
              </a:rPr>
              <a:t>Udine</a:t>
            </a:r>
          </a:p>
        </p:txBody>
      </p:sp>
      <p:sp>
        <p:nvSpPr>
          <p:cNvPr id="266" name="Rettangolo 265"/>
          <p:cNvSpPr/>
          <p:nvPr/>
        </p:nvSpPr>
        <p:spPr>
          <a:xfrm>
            <a:off x="6384705" y="2247535"/>
            <a:ext cx="653916" cy="10704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algn="ctr" defTabSz="932962">
              <a:defRPr/>
            </a:pPr>
            <a:r>
              <a:rPr lang="it-IT" sz="918" kern="0" dirty="0">
                <a:solidFill>
                  <a:srgbClr val="000000"/>
                </a:solidFill>
              </a:rPr>
              <a:t>Villa Opicina</a:t>
            </a:r>
          </a:p>
        </p:txBody>
      </p:sp>
      <p:sp>
        <p:nvSpPr>
          <p:cNvPr id="267" name="Titolo 1">
            <a:extLst>
              <a:ext uri="{FF2B5EF4-FFF2-40B4-BE49-F238E27FC236}">
                <a16:creationId xmlns:a16="http://schemas.microsoft.com/office/drawing/2014/main" id="{BECD5CA9-944A-45F3-B128-17B95EBD10FF}"/>
              </a:ext>
            </a:extLst>
          </p:cNvPr>
          <p:cNvSpPr txBox="1">
            <a:spLocks/>
          </p:cNvSpPr>
          <p:nvPr/>
        </p:nvSpPr>
        <p:spPr bwMode="auto">
          <a:xfrm>
            <a:off x="366261" y="419204"/>
            <a:ext cx="11176620" cy="4600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6800" rIns="90000" bIns="46800" numCol="1" anchor="b" anchorCtr="0" compatLnSpc="1">
            <a:prstTxWarp prst="textNoShape">
              <a:avLst/>
            </a:prstTxWarp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>
                <a:solidFill>
                  <a:srgbClr val="DC002E"/>
                </a:solidFill>
              </a:rPr>
              <a:t>Interventi a supporto del traffico merci in orizzonte di Piano Industriale</a:t>
            </a:r>
          </a:p>
        </p:txBody>
      </p:sp>
      <p:sp>
        <p:nvSpPr>
          <p:cNvPr id="268" name="Segnaposto contenuto 2">
            <a:extLst>
              <a:ext uri="{FF2B5EF4-FFF2-40B4-BE49-F238E27FC236}">
                <a16:creationId xmlns:a16="http://schemas.microsoft.com/office/drawing/2014/main" id="{3F9D87B5-9B86-490A-B7DA-087DFBECDCB9}"/>
              </a:ext>
            </a:extLst>
          </p:cNvPr>
          <p:cNvSpPr txBox="1">
            <a:spLocks/>
          </p:cNvSpPr>
          <p:nvPr/>
        </p:nvSpPr>
        <p:spPr bwMode="auto">
          <a:xfrm>
            <a:off x="366261" y="816085"/>
            <a:ext cx="9515734" cy="39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lang="it-IT" sz="20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stribuzione geografica</a:t>
            </a:r>
          </a:p>
        </p:txBody>
      </p:sp>
      <p:sp>
        <p:nvSpPr>
          <p:cNvPr id="2" name="Figura a mano libera 1"/>
          <p:cNvSpPr/>
          <p:nvPr/>
        </p:nvSpPr>
        <p:spPr>
          <a:xfrm>
            <a:off x="5886451" y="2266950"/>
            <a:ext cx="464344" cy="152400"/>
          </a:xfrm>
          <a:custGeom>
            <a:avLst/>
            <a:gdLst>
              <a:gd name="connsiteX0" fmla="*/ 0 w 461963"/>
              <a:gd name="connsiteY0" fmla="*/ 152400 h 152400"/>
              <a:gd name="connsiteX1" fmla="*/ 242888 w 461963"/>
              <a:gd name="connsiteY1" fmla="*/ 4763 h 152400"/>
              <a:gd name="connsiteX2" fmla="*/ 366713 w 461963"/>
              <a:gd name="connsiteY2" fmla="*/ 0 h 152400"/>
              <a:gd name="connsiteX3" fmla="*/ 461963 w 461963"/>
              <a:gd name="connsiteY3" fmla="*/ 80963 h 152400"/>
              <a:gd name="connsiteX0" fmla="*/ 0 w 464344"/>
              <a:gd name="connsiteY0" fmla="*/ 152400 h 152400"/>
              <a:gd name="connsiteX1" fmla="*/ 242888 w 464344"/>
              <a:gd name="connsiteY1" fmla="*/ 4763 h 152400"/>
              <a:gd name="connsiteX2" fmla="*/ 366713 w 464344"/>
              <a:gd name="connsiteY2" fmla="*/ 0 h 152400"/>
              <a:gd name="connsiteX3" fmla="*/ 464344 w 464344"/>
              <a:gd name="connsiteY3" fmla="*/ 59532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64344" h="152400">
                <a:moveTo>
                  <a:pt x="0" y="152400"/>
                </a:moveTo>
                <a:lnTo>
                  <a:pt x="242888" y="4763"/>
                </a:lnTo>
                <a:lnTo>
                  <a:pt x="366713" y="0"/>
                </a:lnTo>
                <a:lnTo>
                  <a:pt x="464344" y="59532"/>
                </a:lnTo>
              </a:path>
            </a:pathLst>
          </a:custGeom>
          <a:noFill/>
          <a:ln w="28575" cap="flat" cmpd="sng" algn="ctr">
            <a:solidFill>
              <a:srgbClr val="DC002E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32962"/>
            <a:endParaRPr lang="it-IT" sz="918" kern="0">
              <a:solidFill>
                <a:srgbClr val="FFFFFF"/>
              </a:solidFill>
            </a:endParaRPr>
          </a:p>
        </p:txBody>
      </p:sp>
      <p:sp>
        <p:nvSpPr>
          <p:cNvPr id="102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/>
          </p:cNvSpPr>
          <p:nvPr/>
        </p:nvSpPr>
        <p:spPr>
          <a:xfrm>
            <a:off x="6325164" y="2291963"/>
            <a:ext cx="66239" cy="70521"/>
          </a:xfrm>
          <a:prstGeom prst="ellipse">
            <a:avLst/>
          </a:prstGeom>
          <a:solidFill>
            <a:srgbClr val="DC002E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rIns="0" anchor="ctr"/>
          <a:lstStyle/>
          <a:p>
            <a:pPr algn="ctr" defTabSz="1243919">
              <a:defRPr/>
            </a:pPr>
            <a:endParaRPr lang="en-US" sz="918" kern="0" spc="-153">
              <a:solidFill>
                <a:srgbClr val="FFFFFF"/>
              </a:solidFill>
            </a:endParaRPr>
          </a:p>
        </p:txBody>
      </p:sp>
      <p:sp>
        <p:nvSpPr>
          <p:cNvPr id="3" name="Figura a mano libera 2"/>
          <p:cNvSpPr/>
          <p:nvPr/>
        </p:nvSpPr>
        <p:spPr>
          <a:xfrm>
            <a:off x="6229350" y="2076450"/>
            <a:ext cx="3175" cy="193675"/>
          </a:xfrm>
          <a:custGeom>
            <a:avLst/>
            <a:gdLst>
              <a:gd name="connsiteX0" fmla="*/ 3175 w 3175"/>
              <a:gd name="connsiteY0" fmla="*/ 193675 h 193675"/>
              <a:gd name="connsiteX1" fmla="*/ 0 w 3175"/>
              <a:gd name="connsiteY1" fmla="*/ 0 h 193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3175" h="193675">
                <a:moveTo>
                  <a:pt x="3175" y="193675"/>
                </a:moveTo>
                <a:cubicBezTo>
                  <a:pt x="2117" y="129117"/>
                  <a:pt x="1058" y="64558"/>
                  <a:pt x="0" y="0"/>
                </a:cubicBezTo>
              </a:path>
            </a:pathLst>
          </a:custGeom>
          <a:noFill/>
          <a:ln w="28575" cap="flat" cmpd="sng" algn="ctr">
            <a:solidFill>
              <a:srgbClr val="DC002E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932962"/>
            <a:endParaRPr lang="it-IT" sz="918" kern="0">
              <a:solidFill>
                <a:srgbClr val="FFFFFF"/>
              </a:solidFill>
            </a:endParaRPr>
          </a:p>
        </p:txBody>
      </p:sp>
      <p:sp>
        <p:nvSpPr>
          <p:cNvPr id="251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/>
          </p:cNvSpPr>
          <p:nvPr/>
        </p:nvSpPr>
        <p:spPr>
          <a:xfrm>
            <a:off x="6199267" y="2145823"/>
            <a:ext cx="66239" cy="70521"/>
          </a:xfrm>
          <a:prstGeom prst="ellipse">
            <a:avLst/>
          </a:prstGeom>
          <a:solidFill>
            <a:srgbClr val="DC002E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rIns="0" anchor="ctr"/>
          <a:lstStyle/>
          <a:p>
            <a:pPr algn="ctr" defTabSz="1243919">
              <a:defRPr/>
            </a:pPr>
            <a:endParaRPr lang="en-US" sz="918" kern="0" spc="-153">
              <a:solidFill>
                <a:srgbClr val="FFFFFF"/>
              </a:solidFill>
            </a:endParaRPr>
          </a:p>
        </p:txBody>
      </p:sp>
      <p:sp>
        <p:nvSpPr>
          <p:cNvPr id="263" name="Oval 11">
            <a:extLst>
              <a:ext uri="{FF2B5EF4-FFF2-40B4-BE49-F238E27FC236}">
                <a16:creationId xmlns:a16="http://schemas.microsoft.com/office/drawing/2014/main" id="{BD40547F-0298-4C62-AB2B-5ABD6F39AEE4}"/>
              </a:ext>
            </a:extLst>
          </p:cNvPr>
          <p:cNvSpPr>
            <a:spLocks/>
          </p:cNvSpPr>
          <p:nvPr/>
        </p:nvSpPr>
        <p:spPr>
          <a:xfrm>
            <a:off x="6194255" y="2033420"/>
            <a:ext cx="66239" cy="70521"/>
          </a:xfrm>
          <a:prstGeom prst="ellipse">
            <a:avLst/>
          </a:prstGeom>
          <a:solidFill>
            <a:srgbClr val="DC002E"/>
          </a:solidFill>
          <a:ln w="19050" cap="flat" cmpd="sng" algn="ctr">
            <a:solidFill>
              <a:srgbClr val="FFFFFF"/>
            </a:solidFill>
            <a:prstDash val="solid"/>
            <a:miter lim="800000"/>
          </a:ln>
          <a:effectLst/>
        </p:spPr>
        <p:txBody>
          <a:bodyPr lIns="0" rIns="0" anchor="ctr"/>
          <a:lstStyle/>
          <a:p>
            <a:pPr algn="ctr" defTabSz="1243919">
              <a:defRPr/>
            </a:pPr>
            <a:endParaRPr lang="en-US" sz="918" kern="0" spc="-153">
              <a:solidFill>
                <a:srgbClr val="FFFFFF"/>
              </a:solidFill>
            </a:endParaRPr>
          </a:p>
        </p:txBody>
      </p:sp>
      <p:sp>
        <p:nvSpPr>
          <p:cNvPr id="104" name="Rettangolo 103"/>
          <p:cNvSpPr/>
          <p:nvPr/>
        </p:nvSpPr>
        <p:spPr>
          <a:xfrm>
            <a:off x="6194175" y="2352503"/>
            <a:ext cx="653916" cy="10704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/>
          <a:p>
            <a:pPr algn="ctr" defTabSz="932962">
              <a:defRPr/>
            </a:pPr>
            <a:r>
              <a:rPr lang="it-IT" sz="918" kern="0" dirty="0">
                <a:solidFill>
                  <a:srgbClr val="000000"/>
                </a:solidFill>
              </a:rPr>
              <a:t>Trieste</a:t>
            </a:r>
          </a:p>
        </p:txBody>
      </p:sp>
      <p:sp>
        <p:nvSpPr>
          <p:cNvPr id="5" name="CasellaDiTesto 4"/>
          <p:cNvSpPr txBox="1"/>
          <p:nvPr/>
        </p:nvSpPr>
        <p:spPr>
          <a:xfrm>
            <a:off x="49439" y="1138804"/>
            <a:ext cx="3799354" cy="480131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just"/>
            <a:r>
              <a:rPr lang="it-IT" sz="1700" dirty="0"/>
              <a:t>I grandi interventi, tra quelli elencati di seguito, sono finalizzati al </a:t>
            </a:r>
            <a:r>
              <a:rPr lang="it-IT" sz="1700" u="sng" dirty="0"/>
              <a:t>conseguimento di caratteristiche prestazionali adeguate</a:t>
            </a:r>
            <a:r>
              <a:rPr lang="it-IT" sz="1700" dirty="0"/>
              <a:t> al transito di treni merci con standard di </a:t>
            </a:r>
            <a:r>
              <a:rPr lang="it-IT" sz="1700" b="1" dirty="0"/>
              <a:t>modulo 750 metri</a:t>
            </a:r>
            <a:r>
              <a:rPr lang="it-IT" sz="1700" dirty="0"/>
              <a:t>, </a:t>
            </a:r>
            <a:r>
              <a:rPr lang="it-IT" sz="1700" b="1" dirty="0"/>
              <a:t>sagoma P/C 80 </a:t>
            </a:r>
            <a:r>
              <a:rPr lang="it-IT" sz="1700" dirty="0"/>
              <a:t>e </a:t>
            </a:r>
            <a:r>
              <a:rPr lang="it-IT" sz="1700" b="1" dirty="0"/>
              <a:t>massa assiale D4</a:t>
            </a:r>
            <a:r>
              <a:rPr lang="it-IT" sz="1700" dirty="0"/>
              <a:t>, oltre che pesanti fino a </a:t>
            </a:r>
            <a:r>
              <a:rPr lang="it-IT" sz="1700" b="1" dirty="0"/>
              <a:t>2500t</a:t>
            </a:r>
            <a:r>
              <a:rPr lang="it-IT" sz="1700" dirty="0"/>
              <a:t>.</a:t>
            </a:r>
          </a:p>
          <a:p>
            <a:pPr algn="just"/>
            <a:r>
              <a:rPr lang="it-IT" sz="1700" dirty="0"/>
              <a:t>Gli interventi più puntuali sono finalizzati a risolvere, in linea con gli obiettivi di cui sopra, i </a:t>
            </a:r>
            <a:r>
              <a:rPr lang="it-IT" sz="1700" i="1" dirty="0"/>
              <a:t>colli di bottiglia </a:t>
            </a:r>
            <a:r>
              <a:rPr lang="it-IT" sz="1700" dirty="0"/>
              <a:t>sulle direttrici principali.</a:t>
            </a:r>
          </a:p>
          <a:p>
            <a:pPr algn="just"/>
            <a:r>
              <a:rPr lang="it-IT" sz="1700" dirty="0"/>
              <a:t>Il complesso degli interventi a supporto del traffico merci si completa con i </a:t>
            </a:r>
            <a:r>
              <a:rPr lang="it-IT" sz="1700" b="1" dirty="0"/>
              <a:t>piani di adeguamento prestazionale</a:t>
            </a:r>
            <a:r>
              <a:rPr lang="it-IT" sz="1700" dirty="0"/>
              <a:t> (e.g. Adriatica), il </a:t>
            </a:r>
            <a:r>
              <a:rPr lang="it-IT" sz="1700" b="1" dirty="0"/>
              <a:t>potenziamento dei collegamenti con Porti, Terminali e Ultimo Miglio</a:t>
            </a:r>
            <a:r>
              <a:rPr lang="it-IT" sz="1700" dirty="0"/>
              <a:t>, il </a:t>
            </a:r>
            <a:r>
              <a:rPr lang="it-IT" sz="1700" b="1" dirty="0"/>
              <a:t>piano di potenziamento della Trazione Elettrica</a:t>
            </a:r>
            <a:r>
              <a:rPr lang="it-IT" sz="17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941937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1" name="object 52"/>
          <p:cNvSpPr txBox="1"/>
          <p:nvPr/>
        </p:nvSpPr>
        <p:spPr>
          <a:xfrm>
            <a:off x="1687108" y="5152860"/>
            <a:ext cx="2329815" cy="399415"/>
          </a:xfrm>
          <a:prstGeom prst="rect">
            <a:avLst/>
          </a:prstGeom>
        </p:spPr>
        <p:txBody>
          <a:bodyPr vert="horz" wrap="square" lIns="0" tIns="3937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3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80" normalizeH="0" baseline="0" noProof="0">
                <a:ln>
                  <a:noFill/>
                </a:ln>
                <a:solidFill>
                  <a:srgbClr val="2EB8C2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/</a:t>
            </a:r>
            <a:r>
              <a:rPr kumimoji="0" sz="1050" b="0" i="0" u="none" strike="noStrike" kern="1200" cap="none" spc="6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38</a:t>
            </a:r>
            <a:r>
              <a:rPr kumimoji="0" sz="1050" b="0" i="0" u="none" strike="noStrike" kern="1200" cap="none" spc="204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%</a:t>
            </a:r>
            <a:r>
              <a:rPr kumimoji="0" sz="105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 </a:t>
            </a:r>
            <a:r>
              <a:rPr kumimoji="0" sz="1050" b="0" i="0" u="none" strike="noStrike" kern="1200" cap="none" spc="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lin</a:t>
            </a:r>
            <a:r>
              <a:rPr kumimoji="0" sz="1050" b="0" i="0" u="none" strike="noStrike" kern="1200" cap="none" spc="1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ee</a:t>
            </a:r>
            <a:r>
              <a:rPr kumimoji="0" sz="105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 </a:t>
            </a:r>
            <a:r>
              <a:rPr kumimoji="0" sz="1050" b="0" i="0" u="none" strike="noStrike" kern="1200" cap="none" spc="-15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T</a:t>
            </a:r>
            <a:r>
              <a:rPr kumimoji="0" sz="105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E</a:t>
            </a:r>
            <a:r>
              <a:rPr kumimoji="0" sz="1050" b="0" i="0" u="none" strike="noStrike" kern="1200" cap="none" spc="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N</a:t>
            </a:r>
            <a:r>
              <a:rPr kumimoji="0" sz="1050" b="0" i="0" u="none" strike="noStrike" kern="1200" cap="none" spc="-6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-</a:t>
            </a:r>
            <a:r>
              <a:rPr kumimoji="0" sz="1050" b="0" i="0" u="none" strike="noStrike" kern="1200" cap="none" spc="-13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T</a:t>
            </a:r>
            <a:r>
              <a:rPr kumimoji="0" sz="105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 </a:t>
            </a:r>
            <a:r>
              <a:rPr kumimoji="0" sz="1050" b="0" i="0" u="none" strike="noStrike" kern="1200" cap="none" spc="-8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</a:t>
            </a:r>
            <a:r>
              <a:rPr kumimoji="0" sz="1050" b="0" i="0" u="none" strike="noStrike" kern="1200" cap="none" spc="-5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o</a:t>
            </a:r>
            <a:r>
              <a:rPr kumimoji="0" sz="1050" b="0" i="0" u="none" strike="noStrike" kern="1200" cap="none" spc="-4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r</a:t>
            </a:r>
            <a:r>
              <a:rPr kumimoji="0" sz="1050" b="0" i="0" u="none" strike="noStrike" kern="1200" cap="none" spc="1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e</a:t>
            </a:r>
            <a:r>
              <a:rPr kumimoji="0" sz="105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 </a:t>
            </a:r>
            <a:r>
              <a:rPr kumimoji="0" sz="1050" b="0" i="0" u="none" strike="noStrike" kern="1200" cap="none" spc="6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M</a:t>
            </a:r>
            <a:r>
              <a:rPr kumimoji="0" sz="1050" b="0" i="0" u="none" strike="noStrike" kern="1200" cap="none" spc="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e</a:t>
            </a:r>
            <a:r>
              <a:rPr kumimoji="0" sz="1050" b="0" i="0" u="none" strike="noStrike" kern="1200" cap="none" spc="-7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r</a:t>
            </a:r>
            <a:r>
              <a:rPr kumimoji="0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i</a:t>
            </a: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110" normalizeH="0" baseline="0" noProof="0">
                <a:ln>
                  <a:noFill/>
                </a:ln>
                <a:solidFill>
                  <a:srgbClr val="2EB8C2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/</a:t>
            </a:r>
            <a:r>
              <a:rPr kumimoji="0" sz="1050" b="0" i="0" u="none" strike="noStrike" kern="1200" cap="none" spc="1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30%</a:t>
            </a:r>
            <a:r>
              <a:rPr kumimoji="0" sz="105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 </a:t>
            </a:r>
            <a:r>
              <a:rPr kumimoji="0" sz="105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linee</a:t>
            </a:r>
            <a:r>
              <a:rPr kumimoji="0" sz="105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 </a:t>
            </a:r>
            <a:r>
              <a:rPr kumimoji="0" sz="1050" b="0" i="0" u="none" strike="noStrike" kern="1200" cap="none" spc="-6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TEN-T</a:t>
            </a:r>
            <a:r>
              <a:rPr kumimoji="0" sz="105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 comprehensive</a:t>
            </a:r>
            <a:r>
              <a:rPr kumimoji="0" sz="105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 </a:t>
            </a:r>
            <a:r>
              <a:rPr kumimoji="0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rilevanti</a:t>
            </a:r>
          </a:p>
        </p:txBody>
      </p:sp>
      <p:grpSp>
        <p:nvGrpSpPr>
          <p:cNvPr id="552" name="object 53"/>
          <p:cNvGrpSpPr/>
          <p:nvPr/>
        </p:nvGrpSpPr>
        <p:grpSpPr>
          <a:xfrm>
            <a:off x="629884" y="5016779"/>
            <a:ext cx="4546045" cy="1520723"/>
            <a:chOff x="394047" y="4375594"/>
            <a:chExt cx="4546045" cy="1520723"/>
          </a:xfrm>
        </p:grpSpPr>
        <p:sp>
          <p:nvSpPr>
            <p:cNvPr id="553" name="object 54"/>
            <p:cNvSpPr/>
            <p:nvPr/>
          </p:nvSpPr>
          <p:spPr>
            <a:xfrm>
              <a:off x="1210767" y="4412411"/>
              <a:ext cx="0" cy="644525"/>
            </a:xfrm>
            <a:custGeom>
              <a:avLst/>
              <a:gdLst/>
              <a:ahLst/>
              <a:cxnLst/>
              <a:rect l="l" t="t" r="r" b="b"/>
              <a:pathLst>
                <a:path h="644525">
                  <a:moveTo>
                    <a:pt x="0" y="0"/>
                  </a:moveTo>
                  <a:lnTo>
                    <a:pt x="0" y="644372"/>
                  </a:lnTo>
                </a:path>
              </a:pathLst>
            </a:custGeom>
            <a:ln w="17948">
              <a:solidFill>
                <a:srgbClr val="2EB8C2"/>
              </a:solidFill>
              <a:prstDash val="dot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4" name="object 55"/>
            <p:cNvSpPr/>
            <p:nvPr/>
          </p:nvSpPr>
          <p:spPr>
            <a:xfrm>
              <a:off x="1246682" y="5075186"/>
              <a:ext cx="3571875" cy="0"/>
            </a:xfrm>
            <a:custGeom>
              <a:avLst/>
              <a:gdLst/>
              <a:ahLst/>
              <a:cxnLst/>
              <a:rect l="l" t="t" r="r" b="b"/>
              <a:pathLst>
                <a:path w="3571875">
                  <a:moveTo>
                    <a:pt x="0" y="0"/>
                  </a:moveTo>
                  <a:lnTo>
                    <a:pt x="3571278" y="0"/>
                  </a:lnTo>
                </a:path>
              </a:pathLst>
            </a:custGeom>
            <a:ln w="17948">
              <a:solidFill>
                <a:srgbClr val="2EB8C2"/>
              </a:solidFill>
              <a:prstDash val="dot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5" name="object 56"/>
            <p:cNvSpPr/>
            <p:nvPr/>
          </p:nvSpPr>
          <p:spPr>
            <a:xfrm>
              <a:off x="4835868" y="4393996"/>
              <a:ext cx="0" cy="644525"/>
            </a:xfrm>
            <a:custGeom>
              <a:avLst/>
              <a:gdLst/>
              <a:ahLst/>
              <a:cxnLst/>
              <a:rect l="l" t="t" r="r" b="b"/>
              <a:pathLst>
                <a:path h="644525">
                  <a:moveTo>
                    <a:pt x="0" y="644334"/>
                  </a:moveTo>
                  <a:lnTo>
                    <a:pt x="0" y="0"/>
                  </a:lnTo>
                </a:path>
              </a:pathLst>
            </a:custGeom>
            <a:ln w="17948">
              <a:solidFill>
                <a:srgbClr val="2EB8C2"/>
              </a:solidFill>
              <a:prstDash val="dot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6" name="object 57"/>
            <p:cNvSpPr/>
            <p:nvPr/>
          </p:nvSpPr>
          <p:spPr>
            <a:xfrm>
              <a:off x="1228724" y="4375594"/>
              <a:ext cx="3571875" cy="0"/>
            </a:xfrm>
            <a:custGeom>
              <a:avLst/>
              <a:gdLst/>
              <a:ahLst/>
              <a:cxnLst/>
              <a:rect l="l" t="t" r="r" b="b"/>
              <a:pathLst>
                <a:path w="3571875">
                  <a:moveTo>
                    <a:pt x="3571278" y="0"/>
                  </a:moveTo>
                  <a:lnTo>
                    <a:pt x="0" y="0"/>
                  </a:lnTo>
                </a:path>
              </a:pathLst>
            </a:custGeom>
            <a:ln w="17948">
              <a:solidFill>
                <a:srgbClr val="2EB8C2"/>
              </a:solidFill>
              <a:prstDash val="dot"/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7" name="object 58"/>
            <p:cNvSpPr/>
            <p:nvPr/>
          </p:nvSpPr>
          <p:spPr>
            <a:xfrm>
              <a:off x="1210767" y="4375594"/>
              <a:ext cx="3625215" cy="699770"/>
            </a:xfrm>
            <a:custGeom>
              <a:avLst/>
              <a:gdLst/>
              <a:ahLst/>
              <a:cxnLst/>
              <a:rect l="l" t="t" r="r" b="b"/>
              <a:pathLst>
                <a:path w="3625215" h="699770">
                  <a:moveTo>
                    <a:pt x="0" y="699592"/>
                  </a:moveTo>
                  <a:lnTo>
                    <a:pt x="0" y="699592"/>
                  </a:lnTo>
                </a:path>
                <a:path w="3625215" h="699770">
                  <a:moveTo>
                    <a:pt x="3625151" y="0"/>
                  </a:moveTo>
                  <a:lnTo>
                    <a:pt x="3625151" y="0"/>
                  </a:lnTo>
                </a:path>
              </a:pathLst>
            </a:custGeom>
            <a:ln w="17948">
              <a:solidFill>
                <a:srgbClr val="2EB8C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558" name="object 59"/>
            <p:cNvPicPr/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4047" y="4750198"/>
              <a:ext cx="4546045" cy="1146119"/>
            </a:xfrm>
            <a:prstGeom prst="rect">
              <a:avLst/>
            </a:prstGeom>
          </p:spPr>
        </p:pic>
        <p:sp>
          <p:nvSpPr>
            <p:cNvPr id="559" name="object 60"/>
            <p:cNvSpPr/>
            <p:nvPr/>
          </p:nvSpPr>
          <p:spPr>
            <a:xfrm>
              <a:off x="1210767" y="4375594"/>
              <a:ext cx="0" cy="0"/>
            </a:xfrm>
            <a:custGeom>
              <a:avLst/>
              <a:gdLst/>
              <a:ahLst/>
              <a:cxnLst/>
              <a:rect l="l" t="t" r="r" b="b"/>
              <a:pathLst>
                <a:path>
                  <a:moveTo>
                    <a:pt x="0" y="0"/>
                  </a:moveTo>
                  <a:lnTo>
                    <a:pt x="0" y="0"/>
                  </a:lnTo>
                </a:path>
              </a:pathLst>
            </a:custGeom>
            <a:ln w="17948">
              <a:solidFill>
                <a:srgbClr val="2EB8C2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560" name="object 61"/>
          <p:cNvSpPr txBox="1"/>
          <p:nvPr/>
        </p:nvSpPr>
        <p:spPr>
          <a:xfrm>
            <a:off x="1678133" y="5960561"/>
            <a:ext cx="2401570" cy="399415"/>
          </a:xfrm>
          <a:prstGeom prst="rect">
            <a:avLst/>
          </a:prstGeom>
        </p:spPr>
        <p:txBody>
          <a:bodyPr vert="horz" wrap="square" lIns="0" tIns="3937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3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80" normalizeH="0" baseline="0" noProof="0">
                <a:ln>
                  <a:noFill/>
                </a:ln>
                <a:solidFill>
                  <a:srgbClr val="2EB8C2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/</a:t>
            </a:r>
            <a:r>
              <a:rPr kumimoji="0" sz="105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1</a:t>
            </a:r>
            <a:r>
              <a:rPr kumimoji="0" sz="1050" b="0" i="0" u="none" strike="noStrike" kern="1200" cap="none" spc="9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0</a:t>
            </a:r>
            <a:r>
              <a:rPr kumimoji="0" sz="1050" b="0" i="0" u="none" strike="noStrike" kern="1200" cap="none" spc="1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0%</a:t>
            </a:r>
            <a:r>
              <a:rPr kumimoji="0" sz="105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 </a:t>
            </a:r>
            <a:r>
              <a:rPr kumimoji="0" sz="1050" b="0" i="0" u="none" strike="noStrike" kern="1200" cap="none" spc="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lin</a:t>
            </a:r>
            <a:r>
              <a:rPr kumimoji="0" sz="1050" b="0" i="0" u="none" strike="noStrike" kern="1200" cap="none" spc="1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ee</a:t>
            </a:r>
            <a:r>
              <a:rPr kumimoji="0" sz="105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 </a:t>
            </a:r>
            <a:r>
              <a:rPr kumimoji="0" sz="1050" b="0" i="0" u="none" strike="noStrike" kern="1200" cap="none" spc="-15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T</a:t>
            </a:r>
            <a:r>
              <a:rPr kumimoji="0" sz="1050" b="0" i="0" u="none" strike="noStrike" kern="1200" cap="none" spc="4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E</a:t>
            </a:r>
            <a:r>
              <a:rPr kumimoji="0" sz="1050" b="0" i="0" u="none" strike="noStrike" kern="1200" cap="none" spc="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N</a:t>
            </a:r>
            <a:r>
              <a:rPr kumimoji="0" sz="1050" b="0" i="0" u="none" strike="noStrike" kern="1200" cap="none" spc="-6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-</a:t>
            </a:r>
            <a:r>
              <a:rPr kumimoji="0" sz="1050" b="0" i="0" u="none" strike="noStrike" kern="1200" cap="none" spc="-13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T</a:t>
            </a:r>
            <a:r>
              <a:rPr kumimoji="0" sz="105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 </a:t>
            </a:r>
            <a:r>
              <a:rPr kumimoji="0" sz="1050" b="0" i="0" u="none" strike="noStrike" kern="1200" cap="none" spc="-8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</a:t>
            </a:r>
            <a:r>
              <a:rPr kumimoji="0" sz="1050" b="0" i="0" u="none" strike="noStrike" kern="1200" cap="none" spc="-5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o</a:t>
            </a:r>
            <a:r>
              <a:rPr kumimoji="0" sz="1050" b="0" i="0" u="none" strike="noStrike" kern="1200" cap="none" spc="-4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r</a:t>
            </a:r>
            <a:r>
              <a:rPr kumimoji="0" sz="1050" b="0" i="0" u="none" strike="noStrike" kern="1200" cap="none" spc="1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e</a:t>
            </a:r>
            <a:r>
              <a:rPr kumimoji="0" sz="105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 </a:t>
            </a:r>
            <a:r>
              <a:rPr kumimoji="0" sz="1050" b="0" i="0" u="none" strike="noStrike" kern="1200" cap="none" spc="6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M</a:t>
            </a:r>
            <a:r>
              <a:rPr kumimoji="0" sz="1050" b="0" i="0" u="none" strike="noStrike" kern="1200" cap="none" spc="2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e</a:t>
            </a:r>
            <a:r>
              <a:rPr kumimoji="0" sz="1050" b="0" i="0" u="none" strike="noStrike" kern="1200" cap="none" spc="-7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r</a:t>
            </a:r>
            <a:r>
              <a:rPr kumimoji="0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ci</a:t>
            </a:r>
          </a:p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21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700" b="0" i="0" u="none" strike="noStrike" kern="1200" cap="none" spc="95" normalizeH="0" baseline="0" noProof="0">
                <a:ln>
                  <a:noFill/>
                </a:ln>
                <a:solidFill>
                  <a:srgbClr val="2EB8C2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/</a:t>
            </a:r>
            <a:r>
              <a:rPr kumimoji="0" sz="1050" b="0" i="0" u="none" strike="noStrike" kern="1200" cap="none" spc="9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100%</a:t>
            </a:r>
            <a:r>
              <a:rPr kumimoji="0" sz="105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 </a:t>
            </a:r>
            <a:r>
              <a:rPr kumimoji="0" sz="1050" b="0" i="0" u="none" strike="noStrike" kern="1200" cap="none" spc="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linee</a:t>
            </a:r>
            <a:r>
              <a:rPr kumimoji="0" sz="105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 </a:t>
            </a:r>
            <a:r>
              <a:rPr kumimoji="0" sz="1050" b="0" i="0" u="none" strike="noStrike" kern="1200" cap="none" spc="-6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TEN-T</a:t>
            </a:r>
            <a:r>
              <a:rPr kumimoji="0" sz="1050" b="0" i="0" u="none" strike="noStrike" kern="1200" cap="none" spc="-5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 comprehensive</a:t>
            </a:r>
            <a:r>
              <a:rPr kumimoji="0" sz="1050" b="0" i="0" u="none" strike="noStrike" kern="1200" cap="none" spc="-1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 </a:t>
            </a:r>
            <a:r>
              <a:rPr kumimoji="0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Gill Sans MT"/>
              </a:rPr>
              <a:t>rilevanti</a:t>
            </a:r>
          </a:p>
        </p:txBody>
      </p:sp>
      <p:sp>
        <p:nvSpPr>
          <p:cNvPr id="561" name="object 62"/>
          <p:cNvSpPr txBox="1"/>
          <p:nvPr/>
        </p:nvSpPr>
        <p:spPr>
          <a:xfrm>
            <a:off x="861024" y="5251040"/>
            <a:ext cx="471805" cy="219291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2700" marR="0" lvl="0" indent="0" algn="l" defTabSz="914400" rtl="0" eaLnBrk="1" fontAlgn="auto" latinLnBrk="0" hangingPunct="1">
              <a:lnSpc>
                <a:spcPct val="100000"/>
              </a:lnSpc>
              <a:spcBef>
                <a:spcPts val="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1350" b="1" i="0" u="none" strike="noStrike" kern="1200" cap="none" spc="185" normalizeH="0" baseline="0" noProof="0">
                <a:ln>
                  <a:noFill/>
                </a:ln>
                <a:solidFill>
                  <a:srgbClr val="2EB8C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</a:t>
            </a:r>
            <a:r>
              <a:rPr kumimoji="0" sz="1350" b="1" i="0" u="none" strike="noStrike" kern="1200" cap="none" spc="190" normalizeH="0" baseline="0" noProof="0">
                <a:ln>
                  <a:noFill/>
                </a:ln>
                <a:solidFill>
                  <a:srgbClr val="2EB8C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0</a:t>
            </a:r>
            <a:r>
              <a:rPr kumimoji="0" sz="1350" b="1" i="0" u="none" strike="noStrike" kern="1200" cap="none" spc="180" normalizeH="0" baseline="0" noProof="0">
                <a:ln>
                  <a:noFill/>
                </a:ln>
                <a:solidFill>
                  <a:srgbClr val="2EB8C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</a:t>
            </a:r>
            <a:r>
              <a:rPr kumimoji="0" lang="it-IT" sz="1350" b="1" i="0" u="none" strike="noStrike" kern="1200" cap="none" spc="180" normalizeH="0" baseline="0" noProof="0">
                <a:ln>
                  <a:noFill/>
                </a:ln>
                <a:solidFill>
                  <a:srgbClr val="2EB8C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6</a:t>
            </a:r>
            <a:endParaRPr kumimoji="0" sz="135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562" name="object 63"/>
          <p:cNvSpPr txBox="1"/>
          <p:nvPr/>
        </p:nvSpPr>
        <p:spPr>
          <a:xfrm>
            <a:off x="819930" y="5956460"/>
            <a:ext cx="553720" cy="439864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53340" marR="5080" lvl="0" indent="-41275" algn="ctr" defTabSz="914400" rtl="0" eaLnBrk="1" fontAlgn="auto" latinLnBrk="0" hangingPunct="1">
              <a:lnSpc>
                <a:spcPct val="100000"/>
              </a:lnSpc>
              <a:spcBef>
                <a:spcPts val="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350" b="1" i="0" u="none" strike="noStrike" kern="1200" cap="none" spc="170" normalizeH="0" baseline="0" noProof="0" dirty="0">
                <a:ln>
                  <a:noFill/>
                </a:ln>
                <a:solidFill>
                  <a:srgbClr val="2EB8C2"/>
                </a:solidFill>
                <a:effectLst/>
                <a:uLnTx/>
                <a:uFillTx/>
                <a:latin typeface="Calibri"/>
                <a:ea typeface="+mn-ea"/>
                <a:cs typeface="Calibri"/>
              </a:rPr>
              <a:t>2030</a:t>
            </a:r>
          </a:p>
          <a:p>
            <a:pPr marL="53340" marR="5080" lvl="0" indent="-41275" algn="ctr" defTabSz="914400" rtl="0" eaLnBrk="1" fontAlgn="auto" latinLnBrk="0" hangingPunct="1">
              <a:lnSpc>
                <a:spcPct val="100000"/>
              </a:lnSpc>
              <a:spcBef>
                <a:spcPts val="9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it-IT" sz="1350" b="1" spc="170" dirty="0">
                <a:solidFill>
                  <a:srgbClr val="2EB8C2"/>
                </a:solidFill>
                <a:latin typeface="Calibri"/>
                <a:cs typeface="Calibri"/>
              </a:rPr>
              <a:t>2031</a:t>
            </a:r>
            <a:endParaRPr kumimoji="0" sz="135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Calibri"/>
            </a:endParaRPr>
          </a:p>
        </p:txBody>
      </p:sp>
      <p:sp>
        <p:nvSpPr>
          <p:cNvPr id="564" name="object 66"/>
          <p:cNvSpPr/>
          <p:nvPr/>
        </p:nvSpPr>
        <p:spPr>
          <a:xfrm>
            <a:off x="747012" y="5016779"/>
            <a:ext cx="699770" cy="681355"/>
          </a:xfrm>
          <a:custGeom>
            <a:avLst/>
            <a:gdLst/>
            <a:ahLst/>
            <a:cxnLst/>
            <a:rect l="l" t="t" r="r" b="b"/>
            <a:pathLst>
              <a:path w="699769" h="681354">
                <a:moveTo>
                  <a:pt x="699592" y="662736"/>
                </a:moveTo>
                <a:lnTo>
                  <a:pt x="699592" y="18402"/>
                </a:lnTo>
              </a:path>
              <a:path w="699769" h="681354">
                <a:moveTo>
                  <a:pt x="662787" y="0"/>
                </a:moveTo>
                <a:lnTo>
                  <a:pt x="18453" y="0"/>
                </a:lnTo>
              </a:path>
              <a:path w="699769" h="681354">
                <a:moveTo>
                  <a:pt x="50" y="36817"/>
                </a:moveTo>
                <a:lnTo>
                  <a:pt x="0" y="681139"/>
                </a:lnTo>
              </a:path>
            </a:pathLst>
          </a:custGeom>
          <a:ln w="17948">
            <a:solidFill>
              <a:srgbClr val="2EB8C2"/>
            </a:solidFill>
            <a:prstDash val="dot"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5" name="object 67"/>
          <p:cNvSpPr/>
          <p:nvPr/>
        </p:nvSpPr>
        <p:spPr>
          <a:xfrm>
            <a:off x="1222017" y="5716321"/>
            <a:ext cx="206375" cy="635"/>
          </a:xfrm>
          <a:custGeom>
            <a:avLst/>
            <a:gdLst/>
            <a:ahLst/>
            <a:cxnLst/>
            <a:rect l="l" t="t" r="r" b="b"/>
            <a:pathLst>
              <a:path w="206375" h="635">
                <a:moveTo>
                  <a:pt x="0" y="50"/>
                </a:moveTo>
                <a:lnTo>
                  <a:pt x="205879" y="0"/>
                </a:lnTo>
              </a:path>
            </a:pathLst>
          </a:custGeom>
          <a:ln w="17948">
            <a:solidFill>
              <a:srgbClr val="2EB8C2"/>
            </a:solidFill>
            <a:prstDash val="dot"/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6" name="object 68"/>
          <p:cNvSpPr/>
          <p:nvPr/>
        </p:nvSpPr>
        <p:spPr>
          <a:xfrm>
            <a:off x="747012" y="5016779"/>
            <a:ext cx="699770" cy="699770"/>
          </a:xfrm>
          <a:custGeom>
            <a:avLst/>
            <a:gdLst/>
            <a:ahLst/>
            <a:cxnLst/>
            <a:rect l="l" t="t" r="r" b="b"/>
            <a:pathLst>
              <a:path w="699769" h="699770">
                <a:moveTo>
                  <a:pt x="699592" y="0"/>
                </a:moveTo>
                <a:lnTo>
                  <a:pt x="699592" y="0"/>
                </a:lnTo>
              </a:path>
              <a:path w="699769" h="699770">
                <a:moveTo>
                  <a:pt x="0" y="0"/>
                </a:moveTo>
                <a:lnTo>
                  <a:pt x="0" y="0"/>
                </a:lnTo>
              </a:path>
              <a:path w="699769" h="699770">
                <a:moveTo>
                  <a:pt x="0" y="699541"/>
                </a:moveTo>
                <a:lnTo>
                  <a:pt x="0" y="699541"/>
                </a:lnTo>
              </a:path>
              <a:path w="699769" h="699770">
                <a:moveTo>
                  <a:pt x="437603" y="699592"/>
                </a:moveTo>
                <a:lnTo>
                  <a:pt x="437603" y="699592"/>
                </a:lnTo>
              </a:path>
              <a:path w="699769" h="699770">
                <a:moveTo>
                  <a:pt x="699592" y="699541"/>
                </a:moveTo>
                <a:lnTo>
                  <a:pt x="699592" y="699541"/>
                </a:lnTo>
              </a:path>
            </a:pathLst>
          </a:custGeom>
          <a:ln w="17948">
            <a:solidFill>
              <a:srgbClr val="2EB8C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69" name="object 71"/>
          <p:cNvSpPr/>
          <p:nvPr/>
        </p:nvSpPr>
        <p:spPr>
          <a:xfrm>
            <a:off x="638858" y="5078793"/>
            <a:ext cx="4530725" cy="1120140"/>
          </a:xfrm>
          <a:custGeom>
            <a:avLst/>
            <a:gdLst/>
            <a:ahLst/>
            <a:cxnLst/>
            <a:rect l="l" t="t" r="r" b="b"/>
            <a:pathLst>
              <a:path w="4530725" h="1120139">
                <a:moveTo>
                  <a:pt x="202260" y="917867"/>
                </a:moveTo>
                <a:lnTo>
                  <a:pt x="0" y="1120127"/>
                </a:lnTo>
              </a:path>
              <a:path w="4530725" h="1120139">
                <a:moveTo>
                  <a:pt x="279501" y="881506"/>
                </a:moveTo>
                <a:lnTo>
                  <a:pt x="77241" y="1083716"/>
                </a:lnTo>
              </a:path>
              <a:path w="4530725" h="1120139">
                <a:moveTo>
                  <a:pt x="279501" y="775893"/>
                </a:moveTo>
                <a:lnTo>
                  <a:pt x="77241" y="978103"/>
                </a:lnTo>
              </a:path>
              <a:path w="4530725" h="1120139">
                <a:moveTo>
                  <a:pt x="202260" y="141986"/>
                </a:moveTo>
                <a:lnTo>
                  <a:pt x="0" y="344195"/>
                </a:lnTo>
              </a:path>
              <a:path w="4530725" h="1120139">
                <a:moveTo>
                  <a:pt x="279501" y="105613"/>
                </a:moveTo>
                <a:lnTo>
                  <a:pt x="77241" y="307822"/>
                </a:lnTo>
              </a:path>
              <a:path w="4530725" h="1120139">
                <a:moveTo>
                  <a:pt x="279501" y="0"/>
                </a:moveTo>
                <a:lnTo>
                  <a:pt x="77241" y="202209"/>
                </a:lnTo>
              </a:path>
              <a:path w="4530725" h="1120139">
                <a:moveTo>
                  <a:pt x="4453293" y="450596"/>
                </a:moveTo>
                <a:lnTo>
                  <a:pt x="4251032" y="652805"/>
                </a:lnTo>
              </a:path>
              <a:path w="4530725" h="1120139">
                <a:moveTo>
                  <a:pt x="4530534" y="414235"/>
                </a:moveTo>
                <a:lnTo>
                  <a:pt x="4328274" y="616445"/>
                </a:lnTo>
              </a:path>
              <a:path w="4530725" h="1120139">
                <a:moveTo>
                  <a:pt x="4530534" y="308622"/>
                </a:moveTo>
                <a:lnTo>
                  <a:pt x="4328274" y="510832"/>
                </a:lnTo>
              </a:path>
            </a:pathLst>
          </a:custGeom>
          <a:ln w="17948">
            <a:solidFill>
              <a:srgbClr val="E2F2F4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CasellaDiTesto 34"/>
          <p:cNvSpPr txBox="1"/>
          <p:nvPr/>
        </p:nvSpPr>
        <p:spPr>
          <a:xfrm>
            <a:off x="538259" y="1257300"/>
            <a:ext cx="4729851" cy="2948940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2563" indent="-182563">
              <a:lnSpc>
                <a:spcPct val="90000"/>
              </a:lnSpc>
              <a:spcBef>
                <a:spcPts val="10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2000"/>
            </a:lvl1pPr>
            <a:lvl2pPr marL="628650" lvl="1" indent="-176213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tabLst>
                <a:tab pos="806450" algn="l"/>
              </a:tabLst>
            </a:lvl2pPr>
            <a:lvl3pPr marL="1076325" indent="-180975" defTabSz="714375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600"/>
            </a:lvl3pPr>
            <a:lvl4pPr marL="1524000" indent="-180975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400"/>
            </a:lvl4pPr>
            <a:lvl5pPr marL="1971675" indent="-176213">
              <a:lnSpc>
                <a:spcPct val="90000"/>
              </a:lnSpc>
              <a:spcBef>
                <a:spcPts val="500"/>
              </a:spcBef>
              <a:buClr>
                <a:schemeClr val="tx2"/>
              </a:buClr>
              <a:buSzPct val="140000"/>
              <a:buFont typeface="Arial" panose="020B0604020202020204" pitchFamily="34" charset="0"/>
              <a:buChar char="•"/>
              <a:defRPr sz="1200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lvl="0" algn="just">
              <a:buClr>
                <a:srgbClr val="DC002E"/>
              </a:buClr>
            </a:pPr>
            <a:r>
              <a:rPr lang="it-IT" sz="1600">
                <a:solidFill>
                  <a:srgbClr val="000000"/>
                </a:solidFill>
              </a:rPr>
              <a:t>La richiesta delle Imprese Ferroviarie merci di poter effettuare treni di lunghezza pari a 750 metri è relativamente recente. La Rete ferroviaria Nazionale non aveva infatti a fine 2018 linee adeguate a tale standard.</a:t>
            </a:r>
          </a:p>
          <a:p>
            <a:pPr lvl="0" algn="just">
              <a:buClr>
                <a:srgbClr val="DC002E"/>
              </a:buClr>
            </a:pPr>
            <a:r>
              <a:rPr lang="it-IT" sz="1600">
                <a:solidFill>
                  <a:srgbClr val="000000"/>
                </a:solidFill>
              </a:rPr>
              <a:t>Dal 2021 gli interventi sono concentrati sulla linea trasversale, sulla linea Bologna - Brennero e sulla linea del valico di Chiasso, dove si concentra una buona percentuale del trasporto merci.</a:t>
            </a:r>
          </a:p>
          <a:p>
            <a:pPr lvl="0" algn="just">
              <a:buClr>
                <a:srgbClr val="DC002E"/>
              </a:buClr>
            </a:pPr>
            <a:r>
              <a:rPr lang="it-IT" sz="1600">
                <a:solidFill>
                  <a:srgbClr val="000000"/>
                </a:solidFill>
              </a:rPr>
              <a:t>Attualmente le uniche linee codificate per la circolazione di treni di lunghezza fino a 750 metri sono la Milano - Chiasso e la Luino - Gallarate/Novara.</a:t>
            </a:r>
          </a:p>
          <a:p>
            <a:pPr lvl="0" algn="just">
              <a:buClr>
                <a:srgbClr val="DC002E"/>
              </a:buClr>
            </a:pPr>
            <a:r>
              <a:rPr lang="it-IT" sz="1600">
                <a:solidFill>
                  <a:srgbClr val="000000"/>
                </a:solidFill>
              </a:rPr>
              <a:t>L’obiettivo di piano è arrivare a circa il 50% delle linee TEN-T Core Merci e circa il 20% delle linee Comprehensive rilevanti adeguate.</a:t>
            </a:r>
            <a:endParaRPr kumimoji="0" lang="it-IT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Immagin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96216" y="72157"/>
            <a:ext cx="5400826" cy="6597917"/>
          </a:xfrm>
          <a:prstGeom prst="rect">
            <a:avLst/>
          </a:prstGeom>
        </p:spPr>
      </p:pic>
      <p:pic>
        <p:nvPicPr>
          <p:cNvPr id="38" name="Immagine 3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24924" y="5882235"/>
            <a:ext cx="1100075" cy="620370"/>
          </a:xfrm>
          <a:prstGeom prst="rect">
            <a:avLst/>
          </a:prstGeom>
        </p:spPr>
      </p:pic>
      <p:sp>
        <p:nvSpPr>
          <p:cNvPr id="40" name="Titolo 1">
            <a:extLst>
              <a:ext uri="{FF2B5EF4-FFF2-40B4-BE49-F238E27FC236}">
                <a16:creationId xmlns:a16="http://schemas.microsoft.com/office/drawing/2014/main" id="{62B3A30F-BFC8-4B9C-81C6-0D4A51975AB2}"/>
              </a:ext>
            </a:extLst>
          </p:cNvPr>
          <p:cNvSpPr txBox="1">
            <a:spLocks/>
          </p:cNvSpPr>
          <p:nvPr/>
        </p:nvSpPr>
        <p:spPr bwMode="auto">
          <a:xfrm>
            <a:off x="407368" y="72157"/>
            <a:ext cx="11176620" cy="866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/>
                <a:ea typeface="+mj-ea"/>
                <a:cs typeface="+mj-cs"/>
              </a:rPr>
              <a:t>Infrastruttura e nodi intermodali</a:t>
            </a:r>
          </a:p>
        </p:txBody>
      </p:sp>
      <p:sp>
        <p:nvSpPr>
          <p:cNvPr id="41" name="Segnaposto contenuto 3">
            <a:extLst>
              <a:ext uri="{FF2B5EF4-FFF2-40B4-BE49-F238E27FC236}">
                <a16:creationId xmlns:a16="http://schemas.microsoft.com/office/drawing/2014/main" id="{9A26FD56-ADBF-462D-ADAF-F4FBCDA4CA12}"/>
              </a:ext>
            </a:extLst>
          </p:cNvPr>
          <p:cNvSpPr txBox="1">
            <a:spLocks/>
          </p:cNvSpPr>
          <p:nvPr/>
        </p:nvSpPr>
        <p:spPr bwMode="auto">
          <a:xfrm>
            <a:off x="407368" y="876758"/>
            <a:ext cx="11176620" cy="39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lang="it-IT" sz="20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iano Nazionale di adeguamento del </a:t>
            </a:r>
            <a:r>
              <a:rPr kumimoji="0" lang="it-IT" sz="2000" b="1" i="0" u="sng" strike="noStrike" kern="1200" cap="none" spc="0" normalizeH="0" baseline="0" noProof="0" dirty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Modulo</a:t>
            </a:r>
          </a:p>
        </p:txBody>
      </p:sp>
      <p:pic>
        <p:nvPicPr>
          <p:cNvPr id="23" name="Immagine 2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995678" y="3532412"/>
            <a:ext cx="2228878" cy="1484367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801134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379106" y="-124320"/>
            <a:ext cx="11176620" cy="866367"/>
          </a:xfrm>
        </p:spPr>
        <p:txBody>
          <a:bodyPr/>
          <a:lstStyle/>
          <a:p>
            <a:r>
              <a:rPr lang="it-IT"/>
              <a:t>Miglioramento collegamenti con porti</a:t>
            </a:r>
          </a:p>
        </p:txBody>
      </p:sp>
      <p:sp>
        <p:nvSpPr>
          <p:cNvPr id="6" name="CasellaDiTesto 5"/>
          <p:cNvSpPr txBox="1"/>
          <p:nvPr/>
        </p:nvSpPr>
        <p:spPr>
          <a:xfrm>
            <a:off x="10472889" y="1857877"/>
            <a:ext cx="80443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77">
              <a:defRPr/>
            </a:pPr>
            <a:r>
              <a:rPr lang="it-IT" sz="1400" b="1">
                <a:solidFill>
                  <a:srgbClr val="FFFFFF"/>
                </a:solidFill>
                <a:latin typeface="Calibri"/>
              </a:rPr>
              <a:t>3</a:t>
            </a:r>
          </a:p>
          <a:p>
            <a:pPr algn="ctr" defTabSz="914377">
              <a:defRPr/>
            </a:pPr>
            <a:r>
              <a:rPr lang="it-IT" sz="1000" b="1">
                <a:solidFill>
                  <a:srgbClr val="FFFFFF"/>
                </a:solidFill>
                <a:latin typeface="Calibri"/>
              </a:rPr>
              <a:t>Nuove fermate</a:t>
            </a:r>
          </a:p>
          <a:p>
            <a:pPr algn="ctr" defTabSz="914377">
              <a:defRPr/>
            </a:pPr>
            <a:r>
              <a:rPr lang="it-IT" sz="1000" b="1">
                <a:solidFill>
                  <a:srgbClr val="FFFFFF"/>
                </a:solidFill>
                <a:latin typeface="Calibri"/>
              </a:rPr>
              <a:t>Aeroportuali</a:t>
            </a:r>
          </a:p>
          <a:p>
            <a:pPr algn="ctr" defTabSz="914377">
              <a:defRPr/>
            </a:pPr>
            <a:r>
              <a:rPr lang="it-IT" sz="1000" b="1">
                <a:solidFill>
                  <a:srgbClr val="FFFFFF"/>
                </a:solidFill>
                <a:latin typeface="Calibri"/>
              </a:rPr>
              <a:t>al 2023</a:t>
            </a:r>
          </a:p>
        </p:txBody>
      </p:sp>
      <p:sp>
        <p:nvSpPr>
          <p:cNvPr id="62" name="Pentagon 3">
            <a:extLst>
              <a:ext uri="{FF2B5EF4-FFF2-40B4-BE49-F238E27FC236}">
                <a16:creationId xmlns:a16="http://schemas.microsoft.com/office/drawing/2014/main" id="{68E5F125-500F-4880-93CD-3FB48824C076}"/>
              </a:ext>
            </a:extLst>
          </p:cNvPr>
          <p:cNvSpPr>
            <a:spLocks/>
          </p:cNvSpPr>
          <p:nvPr/>
        </p:nvSpPr>
        <p:spPr bwMode="gray">
          <a:xfrm>
            <a:off x="5770384" y="1440746"/>
            <a:ext cx="6191246" cy="5297628"/>
          </a:xfrm>
          <a:prstGeom prst="homePlate">
            <a:avLst>
              <a:gd name="adj" fmla="val 0"/>
            </a:avLst>
          </a:prstGeom>
          <a:solidFill>
            <a:srgbClr val="FFFFFF"/>
          </a:solidFill>
          <a:ln w="19050" algn="ctr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noAutofit/>
          </a:bodyPr>
          <a:lstStyle/>
          <a:p>
            <a:pPr defTabSz="914377">
              <a:defRPr/>
            </a:pPr>
            <a:endParaRPr lang="it-IT" sz="1333" kern="0">
              <a:solidFill>
                <a:srgbClr val="000000"/>
              </a:solidFill>
              <a:latin typeface="Calibri"/>
              <a:ea typeface="ＭＳ Ｐゴシック"/>
              <a:cs typeface="Arial" pitchFamily="34" charset="0"/>
            </a:endParaRPr>
          </a:p>
        </p:txBody>
      </p:sp>
      <p:sp>
        <p:nvSpPr>
          <p:cNvPr id="64" name="AutoShape 250">
            <a:extLst>
              <a:ext uri="{FF2B5EF4-FFF2-40B4-BE49-F238E27FC236}">
                <a16:creationId xmlns:a16="http://schemas.microsoft.com/office/drawing/2014/main" id="{BA352674-A44D-4855-9DDF-FAA9419A3A4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28171" y="1512415"/>
            <a:ext cx="890633" cy="22974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24384" anchor="b">
            <a:spAutoFit/>
          </a:bodyPr>
          <a:lstStyle/>
          <a:p>
            <a:pPr defTabSz="914377">
              <a:defRPr/>
            </a:pPr>
            <a:r>
              <a:rPr lang="it-IT" sz="1333" b="1" kern="0">
                <a:solidFill>
                  <a:srgbClr val="D90000"/>
                </a:solidFill>
                <a:latin typeface="Calibri"/>
                <a:ea typeface="Arial Unicode MS" pitchFamily="34" charset="-128"/>
                <a:cs typeface="Arial Unicode MS" pitchFamily="34" charset="-128"/>
              </a:rPr>
              <a:t>Porto</a:t>
            </a:r>
            <a:endParaRPr lang="it-IT" sz="1333" kern="0">
              <a:solidFill>
                <a:srgbClr val="D9000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67" name="TextBox 115">
            <a:extLst>
              <a:ext uri="{FF2B5EF4-FFF2-40B4-BE49-F238E27FC236}">
                <a16:creationId xmlns:a16="http://schemas.microsoft.com/office/drawing/2014/main" id="{91DF077A-927A-4CB3-8E86-281CA4365373}"/>
              </a:ext>
            </a:extLst>
          </p:cNvPr>
          <p:cNvSpPr txBox="1"/>
          <p:nvPr/>
        </p:nvSpPr>
        <p:spPr>
          <a:xfrm>
            <a:off x="6228171" y="4609114"/>
            <a:ext cx="3335676" cy="1560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defTabSz="895328">
              <a:buClr>
                <a:srgbClr val="D90000"/>
              </a:buClr>
              <a:defRPr/>
            </a:pPr>
            <a:r>
              <a:rPr lang="it-IT" sz="1067" b="1" kern="0">
                <a:solidFill>
                  <a:srgbClr val="000000"/>
                </a:solidFill>
              </a:rPr>
              <a:t>Civitavecchia</a:t>
            </a:r>
          </a:p>
        </p:txBody>
      </p:sp>
      <p:cxnSp>
        <p:nvCxnSpPr>
          <p:cNvPr id="69" name="Straight Connector 131">
            <a:extLst>
              <a:ext uri="{FF2B5EF4-FFF2-40B4-BE49-F238E27FC236}">
                <a16:creationId xmlns:a16="http://schemas.microsoft.com/office/drawing/2014/main" id="{0512F040-D329-4A71-B10D-F40EAA9D2437}"/>
              </a:ext>
            </a:extLst>
          </p:cNvPr>
          <p:cNvCxnSpPr>
            <a:cxnSpLocks/>
          </p:cNvCxnSpPr>
          <p:nvPr>
            <p:custDataLst>
              <p:tags r:id="rId1"/>
            </p:custDataLst>
          </p:nvPr>
        </p:nvCxnSpPr>
        <p:spPr bwMode="gray">
          <a:xfrm>
            <a:off x="6205491" y="3958273"/>
            <a:ext cx="56520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cxnSp>
        <p:nvCxnSpPr>
          <p:cNvPr id="70" name="Straight Connector 132">
            <a:extLst>
              <a:ext uri="{FF2B5EF4-FFF2-40B4-BE49-F238E27FC236}">
                <a16:creationId xmlns:a16="http://schemas.microsoft.com/office/drawing/2014/main" id="{4659CB69-8B58-4929-8152-9CE9C601ED81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 bwMode="gray">
          <a:xfrm>
            <a:off x="6205491" y="2482831"/>
            <a:ext cx="56520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cxnSp>
        <p:nvCxnSpPr>
          <p:cNvPr id="71" name="Straight Connector 133">
            <a:extLst>
              <a:ext uri="{FF2B5EF4-FFF2-40B4-BE49-F238E27FC236}">
                <a16:creationId xmlns:a16="http://schemas.microsoft.com/office/drawing/2014/main" id="{9DEDE594-8953-46A0-A2CC-0BF01BB2B2DE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gray">
          <a:xfrm>
            <a:off x="6205491" y="4499168"/>
            <a:ext cx="56520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cxnSp>
        <p:nvCxnSpPr>
          <p:cNvPr id="72" name="Straight Connector 144">
            <a:extLst>
              <a:ext uri="{FF2B5EF4-FFF2-40B4-BE49-F238E27FC236}">
                <a16:creationId xmlns:a16="http://schemas.microsoft.com/office/drawing/2014/main" id="{6984C9D0-CBB2-4654-BDFC-25C3C3233D6C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gray">
          <a:xfrm>
            <a:off x="6205491" y="4882983"/>
            <a:ext cx="56520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cxnSp>
        <p:nvCxnSpPr>
          <p:cNvPr id="73" name="Straight Connector 145">
            <a:extLst>
              <a:ext uri="{FF2B5EF4-FFF2-40B4-BE49-F238E27FC236}">
                <a16:creationId xmlns:a16="http://schemas.microsoft.com/office/drawing/2014/main" id="{CDB45A7F-E6EC-4DF8-9C7F-E75C4036A090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gray">
          <a:xfrm>
            <a:off x="6205491" y="5250435"/>
            <a:ext cx="56520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sp>
        <p:nvSpPr>
          <p:cNvPr id="80" name="AutoShape 250">
            <a:extLst>
              <a:ext uri="{FF2B5EF4-FFF2-40B4-BE49-F238E27FC236}">
                <a16:creationId xmlns:a16="http://schemas.microsoft.com/office/drawing/2014/main" id="{5C49A45A-AD0F-4348-A2DA-A404FCF209F7}"/>
              </a:ext>
            </a:extLst>
          </p:cNvPr>
          <p:cNvSpPr>
            <a:spLocks noChangeArrowheads="1"/>
          </p:cNvSpPr>
          <p:nvPr/>
        </p:nvSpPr>
        <p:spPr bwMode="gray">
          <a:xfrm>
            <a:off x="10036443" y="1501337"/>
            <a:ext cx="1649652" cy="22974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24384" anchor="b">
            <a:spAutoFit/>
          </a:bodyPr>
          <a:lstStyle/>
          <a:p>
            <a:pPr algn="ctr" defTabSz="914377">
              <a:defRPr/>
            </a:pPr>
            <a:r>
              <a:rPr lang="it-IT" sz="1333" b="1" kern="0">
                <a:solidFill>
                  <a:srgbClr val="D90000"/>
                </a:solidFill>
                <a:latin typeface="Calibri"/>
                <a:ea typeface="Arial Unicode MS" pitchFamily="34" charset="-128"/>
                <a:cs typeface="Arial Unicode MS" pitchFamily="34" charset="-128"/>
              </a:rPr>
              <a:t>Status attuativo</a:t>
            </a:r>
            <a:endParaRPr lang="it-IT" sz="1333" kern="0">
              <a:solidFill>
                <a:srgbClr val="D9000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3" name="TextBox 162">
            <a:extLst>
              <a:ext uri="{FF2B5EF4-FFF2-40B4-BE49-F238E27FC236}">
                <a16:creationId xmlns:a16="http://schemas.microsoft.com/office/drawing/2014/main" id="{EB624E87-FB82-43D8-B298-FA3E916B796E}"/>
              </a:ext>
            </a:extLst>
          </p:cNvPr>
          <p:cNvSpPr txBox="1"/>
          <p:nvPr/>
        </p:nvSpPr>
        <p:spPr>
          <a:xfrm>
            <a:off x="7458403" y="2132190"/>
            <a:ext cx="2496000" cy="3120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Incremento capacità linea di collegamento</a:t>
            </a:r>
          </a:p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Allungamento modulo (per fasi)</a:t>
            </a:r>
          </a:p>
        </p:txBody>
      </p:sp>
      <p:sp>
        <p:nvSpPr>
          <p:cNvPr id="85" name="AutoShape 250">
            <a:extLst>
              <a:ext uri="{FF2B5EF4-FFF2-40B4-BE49-F238E27FC236}">
                <a16:creationId xmlns:a16="http://schemas.microsoft.com/office/drawing/2014/main" id="{32178184-75A0-41B3-BC1F-ADD9AB178112}"/>
              </a:ext>
            </a:extLst>
          </p:cNvPr>
          <p:cNvSpPr>
            <a:spLocks noChangeArrowheads="1"/>
          </p:cNvSpPr>
          <p:nvPr/>
        </p:nvSpPr>
        <p:spPr bwMode="gray">
          <a:xfrm>
            <a:off x="7999444" y="1506979"/>
            <a:ext cx="1912476" cy="22974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24384" anchor="b">
            <a:spAutoFit/>
          </a:bodyPr>
          <a:lstStyle/>
          <a:p>
            <a:pPr defTabSz="914377">
              <a:defRPr/>
            </a:pPr>
            <a:r>
              <a:rPr lang="it-IT" sz="1333" b="1" kern="0">
                <a:solidFill>
                  <a:srgbClr val="D90000"/>
                </a:solidFill>
                <a:latin typeface="Calibri"/>
                <a:ea typeface="Arial Unicode MS" pitchFamily="34" charset="-128"/>
                <a:cs typeface="Arial Unicode MS" pitchFamily="34" charset="-128"/>
              </a:rPr>
              <a:t>Azioni messe in campo</a:t>
            </a:r>
            <a:endParaRPr lang="it-IT" sz="1333" kern="0">
              <a:solidFill>
                <a:srgbClr val="D90000"/>
              </a:solidFill>
              <a:latin typeface="Calibri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89" name="TextBox 116">
            <a:extLst>
              <a:ext uri="{FF2B5EF4-FFF2-40B4-BE49-F238E27FC236}">
                <a16:creationId xmlns:a16="http://schemas.microsoft.com/office/drawing/2014/main" id="{49C0EA03-7F04-4DEE-916E-9352D27BF589}"/>
              </a:ext>
            </a:extLst>
          </p:cNvPr>
          <p:cNvSpPr txBox="1"/>
          <p:nvPr/>
        </p:nvSpPr>
        <p:spPr>
          <a:xfrm>
            <a:off x="6220734" y="2572834"/>
            <a:ext cx="3335676" cy="1560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defTabSz="895328">
              <a:buClr>
                <a:srgbClr val="D90000"/>
              </a:buClr>
              <a:defRPr/>
            </a:pPr>
            <a:r>
              <a:rPr lang="it-IT" sz="1067" b="1" kern="0">
                <a:solidFill>
                  <a:srgbClr val="000000"/>
                </a:solidFill>
              </a:rPr>
              <a:t>Genova Campasso</a:t>
            </a:r>
          </a:p>
        </p:txBody>
      </p:sp>
      <p:sp>
        <p:nvSpPr>
          <p:cNvPr id="97" name="TextBox 114">
            <a:extLst>
              <a:ext uri="{FF2B5EF4-FFF2-40B4-BE49-F238E27FC236}">
                <a16:creationId xmlns:a16="http://schemas.microsoft.com/office/drawing/2014/main" id="{D05B3CEC-B2F9-4533-B007-1E78379007AC}"/>
              </a:ext>
            </a:extLst>
          </p:cNvPr>
          <p:cNvSpPr txBox="1"/>
          <p:nvPr/>
        </p:nvSpPr>
        <p:spPr>
          <a:xfrm>
            <a:off x="6220734" y="2211978"/>
            <a:ext cx="3335676" cy="1560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defTabSz="895328">
              <a:buClr>
                <a:srgbClr val="D90000"/>
              </a:buClr>
              <a:defRPr/>
            </a:pPr>
            <a:r>
              <a:rPr lang="it-IT" sz="1067" b="1" kern="0">
                <a:solidFill>
                  <a:srgbClr val="000000"/>
                </a:solidFill>
              </a:rPr>
              <a:t>Genova Voltri</a:t>
            </a:r>
          </a:p>
        </p:txBody>
      </p:sp>
      <p:sp>
        <p:nvSpPr>
          <p:cNvPr id="103" name="TextBox 129">
            <a:extLst>
              <a:ext uri="{FF2B5EF4-FFF2-40B4-BE49-F238E27FC236}">
                <a16:creationId xmlns:a16="http://schemas.microsoft.com/office/drawing/2014/main" id="{2F096F5E-7BDB-4DEB-8BBC-B465FBD9AB6D}"/>
              </a:ext>
            </a:extLst>
          </p:cNvPr>
          <p:cNvSpPr txBox="1"/>
          <p:nvPr/>
        </p:nvSpPr>
        <p:spPr>
          <a:xfrm>
            <a:off x="6220734" y="4976089"/>
            <a:ext cx="3335676" cy="1560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defTabSz="895328">
              <a:buClr>
                <a:srgbClr val="D90000"/>
              </a:buClr>
              <a:defRPr/>
            </a:pPr>
            <a:r>
              <a:rPr lang="it-IT" sz="1067" b="1" kern="0">
                <a:solidFill>
                  <a:srgbClr val="000000"/>
                </a:solidFill>
              </a:rPr>
              <a:t>Napoli</a:t>
            </a:r>
          </a:p>
        </p:txBody>
      </p:sp>
      <p:sp>
        <p:nvSpPr>
          <p:cNvPr id="109" name="TextBox 130">
            <a:extLst>
              <a:ext uri="{FF2B5EF4-FFF2-40B4-BE49-F238E27FC236}">
                <a16:creationId xmlns:a16="http://schemas.microsoft.com/office/drawing/2014/main" id="{4EF66D95-37F8-41A0-A5E1-536388C7EA7B}"/>
              </a:ext>
            </a:extLst>
          </p:cNvPr>
          <p:cNvSpPr txBox="1"/>
          <p:nvPr/>
        </p:nvSpPr>
        <p:spPr>
          <a:xfrm>
            <a:off x="6222647" y="4167487"/>
            <a:ext cx="3335676" cy="1560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defTabSz="895328">
              <a:buClr>
                <a:srgbClr val="D90000"/>
              </a:buClr>
              <a:defRPr/>
            </a:pPr>
            <a:r>
              <a:rPr lang="it-IT" sz="1067" b="1" kern="0">
                <a:solidFill>
                  <a:srgbClr val="000000"/>
                </a:solidFill>
              </a:rPr>
              <a:t>Livorno</a:t>
            </a:r>
          </a:p>
        </p:txBody>
      </p:sp>
      <p:sp>
        <p:nvSpPr>
          <p:cNvPr id="112" name="TextBox 173">
            <a:extLst>
              <a:ext uri="{FF2B5EF4-FFF2-40B4-BE49-F238E27FC236}">
                <a16:creationId xmlns:a16="http://schemas.microsoft.com/office/drawing/2014/main" id="{0B7C1F53-58AE-4B77-ACCA-49ED04191894}"/>
              </a:ext>
            </a:extLst>
          </p:cNvPr>
          <p:cNvSpPr txBox="1"/>
          <p:nvPr/>
        </p:nvSpPr>
        <p:spPr>
          <a:xfrm>
            <a:off x="10216288" y="2112861"/>
            <a:ext cx="1602135" cy="1560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algn="ctr" defTabSz="895328">
              <a:buClr>
                <a:srgbClr val="D90000"/>
              </a:buClr>
              <a:defRPr/>
            </a:pPr>
            <a:r>
              <a:rPr lang="it-IT" sz="1067" kern="0"/>
              <a:t>Realizzazione (1^ fase)</a:t>
            </a:r>
            <a:endParaRPr lang="it-IT" sz="1067" b="1" kern="0"/>
          </a:p>
        </p:txBody>
      </p:sp>
      <p:sp>
        <p:nvSpPr>
          <p:cNvPr id="113" name="CasellaDiTesto 112"/>
          <p:cNvSpPr txBox="1"/>
          <p:nvPr/>
        </p:nvSpPr>
        <p:spPr>
          <a:xfrm>
            <a:off x="6023549" y="1195592"/>
            <a:ext cx="5951523" cy="307777"/>
          </a:xfrm>
          <a:prstGeom prst="rect">
            <a:avLst/>
          </a:prstGeom>
          <a:solidFill>
            <a:srgbClr val="DC002E"/>
          </a:solidFill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it-IT" sz="1400" b="1">
                <a:solidFill>
                  <a:srgbClr val="FFFFFF"/>
                </a:solidFill>
                <a:latin typeface="Calibri"/>
              </a:rPr>
              <a:t>I principali interventi </a:t>
            </a:r>
          </a:p>
        </p:txBody>
      </p:sp>
      <p:sp>
        <p:nvSpPr>
          <p:cNvPr id="117" name="CasellaDiTesto 116"/>
          <p:cNvSpPr txBox="1"/>
          <p:nvPr/>
        </p:nvSpPr>
        <p:spPr>
          <a:xfrm>
            <a:off x="10551395" y="386241"/>
            <a:ext cx="1004332" cy="47198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77">
              <a:defRPr/>
            </a:pPr>
            <a:r>
              <a:rPr lang="it-IT" sz="1000" b="1">
                <a:solidFill>
                  <a:srgbClr val="FFFFFF"/>
                </a:solidFill>
                <a:latin typeface="Calibri"/>
              </a:rPr>
              <a:t>Investimenti infrastrutturali su </a:t>
            </a:r>
            <a:r>
              <a:rPr lang="it-IT" sz="1067" b="1">
                <a:solidFill>
                  <a:srgbClr val="FFFFFF"/>
                </a:solidFill>
                <a:latin typeface="Calibri"/>
              </a:rPr>
              <a:t>XX </a:t>
            </a:r>
            <a:r>
              <a:rPr lang="it-IT" sz="1000" b="1">
                <a:solidFill>
                  <a:srgbClr val="FFFFFF"/>
                </a:solidFill>
                <a:latin typeface="Calibri"/>
              </a:rPr>
              <a:t>porti</a:t>
            </a:r>
          </a:p>
        </p:txBody>
      </p:sp>
      <p:cxnSp>
        <p:nvCxnSpPr>
          <p:cNvPr id="118" name="Straight Connector 132">
            <a:extLst>
              <a:ext uri="{FF2B5EF4-FFF2-40B4-BE49-F238E27FC236}">
                <a16:creationId xmlns:a16="http://schemas.microsoft.com/office/drawing/2014/main" id="{4659CB69-8B58-4929-8152-9CE9C601ED81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gray">
          <a:xfrm>
            <a:off x="6205491" y="2072999"/>
            <a:ext cx="56520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sp>
        <p:nvSpPr>
          <p:cNvPr id="174" name="TextBox 7">
            <a:extLst>
              <a:ext uri="{FF2B5EF4-FFF2-40B4-BE49-F238E27FC236}">
                <a16:creationId xmlns:a16="http://schemas.microsoft.com/office/drawing/2014/main" id="{790F10E7-3795-4C2E-8EA7-5B269383AABE}"/>
              </a:ext>
            </a:extLst>
          </p:cNvPr>
          <p:cNvSpPr txBox="1"/>
          <p:nvPr/>
        </p:nvSpPr>
        <p:spPr>
          <a:xfrm>
            <a:off x="6220734" y="3006045"/>
            <a:ext cx="3335676" cy="1560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defTabSz="895328">
              <a:buClr>
                <a:srgbClr val="D90000"/>
              </a:buClr>
              <a:defRPr/>
            </a:pPr>
            <a:r>
              <a:rPr lang="it-IT" sz="1067" b="1" kern="0">
                <a:solidFill>
                  <a:srgbClr val="000000"/>
                </a:solidFill>
              </a:rPr>
              <a:t>Trieste</a:t>
            </a:r>
          </a:p>
        </p:txBody>
      </p:sp>
      <p:cxnSp>
        <p:nvCxnSpPr>
          <p:cNvPr id="175" name="Straight Connector 150">
            <a:extLst>
              <a:ext uri="{FF2B5EF4-FFF2-40B4-BE49-F238E27FC236}">
                <a16:creationId xmlns:a16="http://schemas.microsoft.com/office/drawing/2014/main" id="{B3C047B3-93E2-414C-8249-C48C4C741389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gray">
          <a:xfrm>
            <a:off x="6205491" y="2871263"/>
            <a:ext cx="56520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sp>
        <p:nvSpPr>
          <p:cNvPr id="218" name="Figura a mano libera 217"/>
          <p:cNvSpPr/>
          <p:nvPr/>
        </p:nvSpPr>
        <p:spPr bwMode="auto">
          <a:xfrm>
            <a:off x="1257963" y="3758848"/>
            <a:ext cx="581535" cy="1032032"/>
          </a:xfrm>
          <a:custGeom>
            <a:avLst/>
            <a:gdLst>
              <a:gd name="connsiteX0" fmla="*/ 58847 w 873659"/>
              <a:gd name="connsiteY0" fmla="*/ 208229 h 1552669"/>
              <a:gd name="connsiteX1" fmla="*/ 162962 w 873659"/>
              <a:gd name="connsiteY1" fmla="*/ 258023 h 1552669"/>
              <a:gd name="connsiteX2" fmla="*/ 230863 w 873659"/>
              <a:gd name="connsiteY2" fmla="*/ 267077 h 1552669"/>
              <a:gd name="connsiteX3" fmla="*/ 316871 w 873659"/>
              <a:gd name="connsiteY3" fmla="*/ 203703 h 1552669"/>
              <a:gd name="connsiteX4" fmla="*/ 353085 w 873659"/>
              <a:gd name="connsiteY4" fmla="*/ 208229 h 1552669"/>
              <a:gd name="connsiteX5" fmla="*/ 407406 w 873659"/>
              <a:gd name="connsiteY5" fmla="*/ 140328 h 1552669"/>
              <a:gd name="connsiteX6" fmla="*/ 479834 w 873659"/>
              <a:gd name="connsiteY6" fmla="*/ 76954 h 1552669"/>
              <a:gd name="connsiteX7" fmla="*/ 529628 w 873659"/>
              <a:gd name="connsiteY7" fmla="*/ 76954 h 1552669"/>
              <a:gd name="connsiteX8" fmla="*/ 543208 w 873659"/>
              <a:gd name="connsiteY8" fmla="*/ 58847 h 1552669"/>
              <a:gd name="connsiteX9" fmla="*/ 547735 w 873659"/>
              <a:gd name="connsiteY9" fmla="*/ 58847 h 1552669"/>
              <a:gd name="connsiteX10" fmla="*/ 538681 w 873659"/>
              <a:gd name="connsiteY10" fmla="*/ 0 h 1552669"/>
              <a:gd name="connsiteX11" fmla="*/ 611109 w 873659"/>
              <a:gd name="connsiteY11" fmla="*/ 0 h 1552669"/>
              <a:gd name="connsiteX12" fmla="*/ 620162 w 873659"/>
              <a:gd name="connsiteY12" fmla="*/ 45267 h 1552669"/>
              <a:gd name="connsiteX13" fmla="*/ 651849 w 873659"/>
              <a:gd name="connsiteY13" fmla="*/ 45267 h 1552669"/>
              <a:gd name="connsiteX14" fmla="*/ 697117 w 873659"/>
              <a:gd name="connsiteY14" fmla="*/ 4526 h 1552669"/>
              <a:gd name="connsiteX15" fmla="*/ 710697 w 873659"/>
              <a:gd name="connsiteY15" fmla="*/ 36214 h 1552669"/>
              <a:gd name="connsiteX16" fmla="*/ 710697 w 873659"/>
              <a:gd name="connsiteY16" fmla="*/ 36214 h 1552669"/>
              <a:gd name="connsiteX17" fmla="*/ 701643 w 873659"/>
              <a:gd name="connsiteY17" fmla="*/ 99588 h 1552669"/>
              <a:gd name="connsiteX18" fmla="*/ 728804 w 873659"/>
              <a:gd name="connsiteY18" fmla="*/ 86008 h 1552669"/>
              <a:gd name="connsiteX19" fmla="*/ 760491 w 873659"/>
              <a:gd name="connsiteY19" fmla="*/ 95061 h 1552669"/>
              <a:gd name="connsiteX20" fmla="*/ 760491 w 873659"/>
              <a:gd name="connsiteY20" fmla="*/ 95061 h 1552669"/>
              <a:gd name="connsiteX21" fmla="*/ 737857 w 873659"/>
              <a:gd name="connsiteY21" fmla="*/ 140328 h 1552669"/>
              <a:gd name="connsiteX22" fmla="*/ 737857 w 873659"/>
              <a:gd name="connsiteY22" fmla="*/ 185596 h 1552669"/>
              <a:gd name="connsiteX23" fmla="*/ 737857 w 873659"/>
              <a:gd name="connsiteY23" fmla="*/ 185596 h 1552669"/>
              <a:gd name="connsiteX24" fmla="*/ 778598 w 873659"/>
              <a:gd name="connsiteY24" fmla="*/ 167489 h 1552669"/>
              <a:gd name="connsiteX25" fmla="*/ 769544 w 873659"/>
              <a:gd name="connsiteY25" fmla="*/ 194649 h 1552669"/>
              <a:gd name="connsiteX26" fmla="*/ 760491 w 873659"/>
              <a:gd name="connsiteY26" fmla="*/ 244443 h 1552669"/>
              <a:gd name="connsiteX27" fmla="*/ 774071 w 873659"/>
              <a:gd name="connsiteY27" fmla="*/ 244443 h 1552669"/>
              <a:gd name="connsiteX28" fmla="*/ 805758 w 873659"/>
              <a:gd name="connsiteY28" fmla="*/ 244443 h 1552669"/>
              <a:gd name="connsiteX29" fmla="*/ 837445 w 873659"/>
              <a:gd name="connsiteY29" fmla="*/ 230863 h 1552669"/>
              <a:gd name="connsiteX30" fmla="*/ 837445 w 873659"/>
              <a:gd name="connsiteY30" fmla="*/ 230863 h 1552669"/>
              <a:gd name="connsiteX31" fmla="*/ 810285 w 873659"/>
              <a:gd name="connsiteY31" fmla="*/ 262550 h 1552669"/>
              <a:gd name="connsiteX32" fmla="*/ 851026 w 873659"/>
              <a:gd name="connsiteY32" fmla="*/ 262550 h 1552669"/>
              <a:gd name="connsiteX33" fmla="*/ 832919 w 873659"/>
              <a:gd name="connsiteY33" fmla="*/ 271604 h 1552669"/>
              <a:gd name="connsiteX34" fmla="*/ 801232 w 873659"/>
              <a:gd name="connsiteY34" fmla="*/ 307817 h 1552669"/>
              <a:gd name="connsiteX35" fmla="*/ 823865 w 873659"/>
              <a:gd name="connsiteY35" fmla="*/ 339505 h 1552669"/>
              <a:gd name="connsiteX36" fmla="*/ 832919 w 873659"/>
              <a:gd name="connsiteY36" fmla="*/ 384772 h 1552669"/>
              <a:gd name="connsiteX37" fmla="*/ 832919 w 873659"/>
              <a:gd name="connsiteY37" fmla="*/ 384772 h 1552669"/>
              <a:gd name="connsiteX38" fmla="*/ 832919 w 873659"/>
              <a:gd name="connsiteY38" fmla="*/ 434566 h 1552669"/>
              <a:gd name="connsiteX39" fmla="*/ 855552 w 873659"/>
              <a:gd name="connsiteY39" fmla="*/ 461726 h 1552669"/>
              <a:gd name="connsiteX40" fmla="*/ 873659 w 873659"/>
              <a:gd name="connsiteY40" fmla="*/ 502467 h 1552669"/>
              <a:gd name="connsiteX41" fmla="*/ 851026 w 873659"/>
              <a:gd name="connsiteY41" fmla="*/ 543208 h 1552669"/>
              <a:gd name="connsiteX42" fmla="*/ 851026 w 873659"/>
              <a:gd name="connsiteY42" fmla="*/ 574895 h 1552669"/>
              <a:gd name="connsiteX43" fmla="*/ 823865 w 873659"/>
              <a:gd name="connsiteY43" fmla="*/ 611109 h 1552669"/>
              <a:gd name="connsiteX44" fmla="*/ 783125 w 873659"/>
              <a:gd name="connsiteY44" fmla="*/ 642796 h 1552669"/>
              <a:gd name="connsiteX45" fmla="*/ 765018 w 873659"/>
              <a:gd name="connsiteY45" fmla="*/ 669956 h 1552669"/>
              <a:gd name="connsiteX46" fmla="*/ 760491 w 873659"/>
              <a:gd name="connsiteY46" fmla="*/ 710697 h 1552669"/>
              <a:gd name="connsiteX47" fmla="*/ 769544 w 873659"/>
              <a:gd name="connsiteY47" fmla="*/ 755964 h 1552669"/>
              <a:gd name="connsiteX48" fmla="*/ 769544 w 873659"/>
              <a:gd name="connsiteY48" fmla="*/ 755964 h 1552669"/>
              <a:gd name="connsiteX49" fmla="*/ 810285 w 873659"/>
              <a:gd name="connsiteY49" fmla="*/ 783124 h 1552669"/>
              <a:gd name="connsiteX50" fmla="*/ 783125 w 873659"/>
              <a:gd name="connsiteY50" fmla="*/ 860079 h 1552669"/>
              <a:gd name="connsiteX51" fmla="*/ 760491 w 873659"/>
              <a:gd name="connsiteY51" fmla="*/ 905346 h 1552669"/>
              <a:gd name="connsiteX52" fmla="*/ 769544 w 873659"/>
              <a:gd name="connsiteY52" fmla="*/ 995881 h 1552669"/>
              <a:gd name="connsiteX53" fmla="*/ 742384 w 873659"/>
              <a:gd name="connsiteY53" fmla="*/ 1045675 h 1552669"/>
              <a:gd name="connsiteX54" fmla="*/ 737857 w 873659"/>
              <a:gd name="connsiteY54" fmla="*/ 1109049 h 1552669"/>
              <a:gd name="connsiteX55" fmla="*/ 733331 w 873659"/>
              <a:gd name="connsiteY55" fmla="*/ 1163370 h 1552669"/>
              <a:gd name="connsiteX56" fmla="*/ 733331 w 873659"/>
              <a:gd name="connsiteY56" fmla="*/ 1204111 h 1552669"/>
              <a:gd name="connsiteX57" fmla="*/ 692590 w 873659"/>
              <a:gd name="connsiteY57" fmla="*/ 1244851 h 1552669"/>
              <a:gd name="connsiteX58" fmla="*/ 706170 w 873659"/>
              <a:gd name="connsiteY58" fmla="*/ 1285592 h 1552669"/>
              <a:gd name="connsiteX59" fmla="*/ 706170 w 873659"/>
              <a:gd name="connsiteY59" fmla="*/ 1285592 h 1552669"/>
              <a:gd name="connsiteX60" fmla="*/ 688063 w 873659"/>
              <a:gd name="connsiteY60" fmla="*/ 1326332 h 1552669"/>
              <a:gd name="connsiteX61" fmla="*/ 683537 w 873659"/>
              <a:gd name="connsiteY61" fmla="*/ 1371600 h 1552669"/>
              <a:gd name="connsiteX62" fmla="*/ 674483 w 873659"/>
              <a:gd name="connsiteY62" fmla="*/ 1425920 h 1552669"/>
              <a:gd name="connsiteX63" fmla="*/ 611109 w 873659"/>
              <a:gd name="connsiteY63" fmla="*/ 1416867 h 1552669"/>
              <a:gd name="connsiteX64" fmla="*/ 570368 w 873659"/>
              <a:gd name="connsiteY64" fmla="*/ 1376126 h 1552669"/>
              <a:gd name="connsiteX65" fmla="*/ 543208 w 873659"/>
              <a:gd name="connsiteY65" fmla="*/ 1348966 h 1552669"/>
              <a:gd name="connsiteX66" fmla="*/ 497940 w 873659"/>
              <a:gd name="connsiteY66" fmla="*/ 1339913 h 1552669"/>
              <a:gd name="connsiteX67" fmla="*/ 457200 w 873659"/>
              <a:gd name="connsiteY67" fmla="*/ 1367073 h 1552669"/>
              <a:gd name="connsiteX68" fmla="*/ 457200 w 873659"/>
              <a:gd name="connsiteY68" fmla="*/ 1367073 h 1552669"/>
              <a:gd name="connsiteX69" fmla="*/ 457200 w 873659"/>
              <a:gd name="connsiteY69" fmla="*/ 1367073 h 1552669"/>
              <a:gd name="connsiteX70" fmla="*/ 425513 w 873659"/>
              <a:gd name="connsiteY70" fmla="*/ 1339913 h 1552669"/>
              <a:gd name="connsiteX71" fmla="*/ 389299 w 873659"/>
              <a:gd name="connsiteY71" fmla="*/ 1403287 h 1552669"/>
              <a:gd name="connsiteX72" fmla="*/ 375719 w 873659"/>
              <a:gd name="connsiteY72" fmla="*/ 1439501 h 1552669"/>
              <a:gd name="connsiteX73" fmla="*/ 380245 w 873659"/>
              <a:gd name="connsiteY73" fmla="*/ 1484768 h 1552669"/>
              <a:gd name="connsiteX74" fmla="*/ 339505 w 873659"/>
              <a:gd name="connsiteY74" fmla="*/ 1511928 h 1552669"/>
              <a:gd name="connsiteX75" fmla="*/ 271604 w 873659"/>
              <a:gd name="connsiteY75" fmla="*/ 1552669 h 1552669"/>
              <a:gd name="connsiteX76" fmla="*/ 217283 w 873659"/>
              <a:gd name="connsiteY76" fmla="*/ 1516455 h 1552669"/>
              <a:gd name="connsiteX77" fmla="*/ 172016 w 873659"/>
              <a:gd name="connsiteY77" fmla="*/ 1548142 h 1552669"/>
              <a:gd name="connsiteX78" fmla="*/ 144855 w 873659"/>
              <a:gd name="connsiteY78" fmla="*/ 1484768 h 1552669"/>
              <a:gd name="connsiteX79" fmla="*/ 144855 w 873659"/>
              <a:gd name="connsiteY79" fmla="*/ 1421394 h 1552669"/>
              <a:gd name="connsiteX80" fmla="*/ 144855 w 873659"/>
              <a:gd name="connsiteY80" fmla="*/ 1421394 h 1552669"/>
              <a:gd name="connsiteX81" fmla="*/ 104115 w 873659"/>
              <a:gd name="connsiteY81" fmla="*/ 1444027 h 1552669"/>
              <a:gd name="connsiteX82" fmla="*/ 67901 w 873659"/>
              <a:gd name="connsiteY82" fmla="*/ 1471188 h 1552669"/>
              <a:gd name="connsiteX83" fmla="*/ 54321 w 873659"/>
              <a:gd name="connsiteY83" fmla="*/ 1507402 h 1552669"/>
              <a:gd name="connsiteX84" fmla="*/ 58847 w 873659"/>
              <a:gd name="connsiteY84" fmla="*/ 1484768 h 1552669"/>
              <a:gd name="connsiteX85" fmla="*/ 31687 w 873659"/>
              <a:gd name="connsiteY85" fmla="*/ 1421394 h 1552669"/>
              <a:gd name="connsiteX86" fmla="*/ 31687 w 873659"/>
              <a:gd name="connsiteY86" fmla="*/ 1421394 h 1552669"/>
              <a:gd name="connsiteX87" fmla="*/ 90535 w 873659"/>
              <a:gd name="connsiteY87" fmla="*/ 1394233 h 1552669"/>
              <a:gd name="connsiteX88" fmla="*/ 76954 w 873659"/>
              <a:gd name="connsiteY88" fmla="*/ 1348966 h 1552669"/>
              <a:gd name="connsiteX89" fmla="*/ 49794 w 873659"/>
              <a:gd name="connsiteY89" fmla="*/ 1321806 h 1552669"/>
              <a:gd name="connsiteX90" fmla="*/ 90535 w 873659"/>
              <a:gd name="connsiteY90" fmla="*/ 1281065 h 1552669"/>
              <a:gd name="connsiteX91" fmla="*/ 58847 w 873659"/>
              <a:gd name="connsiteY91" fmla="*/ 1226744 h 1552669"/>
              <a:gd name="connsiteX92" fmla="*/ 72428 w 873659"/>
              <a:gd name="connsiteY92" fmla="*/ 1181477 h 1552669"/>
              <a:gd name="connsiteX93" fmla="*/ 58847 w 873659"/>
              <a:gd name="connsiteY93" fmla="*/ 1149790 h 1552669"/>
              <a:gd name="connsiteX94" fmla="*/ 108641 w 873659"/>
              <a:gd name="connsiteY94" fmla="*/ 1063782 h 1552669"/>
              <a:gd name="connsiteX95" fmla="*/ 126748 w 873659"/>
              <a:gd name="connsiteY95" fmla="*/ 964194 h 1552669"/>
              <a:gd name="connsiteX96" fmla="*/ 158436 w 873659"/>
              <a:gd name="connsiteY96" fmla="*/ 982301 h 1552669"/>
              <a:gd name="connsiteX97" fmla="*/ 181069 w 873659"/>
              <a:gd name="connsiteY97" fmla="*/ 923453 h 1552669"/>
              <a:gd name="connsiteX98" fmla="*/ 162962 w 873659"/>
              <a:gd name="connsiteY98" fmla="*/ 869132 h 1552669"/>
              <a:gd name="connsiteX99" fmla="*/ 117695 w 873659"/>
              <a:gd name="connsiteY99" fmla="*/ 887239 h 1552669"/>
              <a:gd name="connsiteX100" fmla="*/ 122222 w 873659"/>
              <a:gd name="connsiteY100" fmla="*/ 887239 h 1552669"/>
              <a:gd name="connsiteX101" fmla="*/ 86008 w 873659"/>
              <a:gd name="connsiteY101" fmla="*/ 860079 h 1552669"/>
              <a:gd name="connsiteX102" fmla="*/ 90535 w 873659"/>
              <a:gd name="connsiteY102" fmla="*/ 774071 h 1552669"/>
              <a:gd name="connsiteX103" fmla="*/ 158436 w 873659"/>
              <a:gd name="connsiteY103" fmla="*/ 760491 h 1552669"/>
              <a:gd name="connsiteX104" fmla="*/ 144855 w 873659"/>
              <a:gd name="connsiteY104" fmla="*/ 715223 h 1552669"/>
              <a:gd name="connsiteX105" fmla="*/ 140329 w 873659"/>
              <a:gd name="connsiteY105" fmla="*/ 660903 h 1552669"/>
              <a:gd name="connsiteX106" fmla="*/ 158436 w 873659"/>
              <a:gd name="connsiteY106" fmla="*/ 602055 h 1552669"/>
              <a:gd name="connsiteX107" fmla="*/ 117695 w 873659"/>
              <a:gd name="connsiteY107" fmla="*/ 593002 h 1552669"/>
              <a:gd name="connsiteX108" fmla="*/ 117695 w 873659"/>
              <a:gd name="connsiteY108" fmla="*/ 538681 h 1552669"/>
              <a:gd name="connsiteX109" fmla="*/ 113168 w 873659"/>
              <a:gd name="connsiteY109" fmla="*/ 479833 h 1552669"/>
              <a:gd name="connsiteX110" fmla="*/ 67901 w 873659"/>
              <a:gd name="connsiteY110" fmla="*/ 411932 h 1552669"/>
              <a:gd name="connsiteX111" fmla="*/ 36214 w 873659"/>
              <a:gd name="connsiteY111" fmla="*/ 425513 h 1552669"/>
              <a:gd name="connsiteX112" fmla="*/ 36214 w 873659"/>
              <a:gd name="connsiteY112" fmla="*/ 389299 h 1552669"/>
              <a:gd name="connsiteX113" fmla="*/ 13580 w 873659"/>
              <a:gd name="connsiteY113" fmla="*/ 420986 h 1552669"/>
              <a:gd name="connsiteX114" fmla="*/ 0 w 873659"/>
              <a:gd name="connsiteY114" fmla="*/ 380245 h 1552669"/>
              <a:gd name="connsiteX115" fmla="*/ 31687 w 873659"/>
              <a:gd name="connsiteY115" fmla="*/ 348558 h 1552669"/>
              <a:gd name="connsiteX116" fmla="*/ 4527 w 873659"/>
              <a:gd name="connsiteY116" fmla="*/ 312344 h 1552669"/>
              <a:gd name="connsiteX117" fmla="*/ 58847 w 873659"/>
              <a:gd name="connsiteY117" fmla="*/ 208229 h 15526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</a:cxnLst>
            <a:rect l="l" t="t" r="r" b="b"/>
            <a:pathLst>
              <a:path w="873659" h="1552669">
                <a:moveTo>
                  <a:pt x="58847" y="208229"/>
                </a:moveTo>
                <a:lnTo>
                  <a:pt x="162962" y="258023"/>
                </a:lnTo>
                <a:lnTo>
                  <a:pt x="230863" y="267077"/>
                </a:lnTo>
                <a:lnTo>
                  <a:pt x="316871" y="203703"/>
                </a:lnTo>
                <a:lnTo>
                  <a:pt x="353085" y="208229"/>
                </a:lnTo>
                <a:lnTo>
                  <a:pt x="407406" y="140328"/>
                </a:lnTo>
                <a:lnTo>
                  <a:pt x="479834" y="76954"/>
                </a:lnTo>
                <a:lnTo>
                  <a:pt x="529628" y="76954"/>
                </a:lnTo>
                <a:lnTo>
                  <a:pt x="543208" y="58847"/>
                </a:lnTo>
                <a:lnTo>
                  <a:pt x="547735" y="58847"/>
                </a:lnTo>
                <a:lnTo>
                  <a:pt x="538681" y="0"/>
                </a:lnTo>
                <a:lnTo>
                  <a:pt x="611109" y="0"/>
                </a:lnTo>
                <a:lnTo>
                  <a:pt x="620162" y="45267"/>
                </a:lnTo>
                <a:lnTo>
                  <a:pt x="651849" y="45267"/>
                </a:lnTo>
                <a:lnTo>
                  <a:pt x="697117" y="4526"/>
                </a:lnTo>
                <a:lnTo>
                  <a:pt x="710697" y="36214"/>
                </a:lnTo>
                <a:lnTo>
                  <a:pt x="710697" y="36214"/>
                </a:lnTo>
                <a:lnTo>
                  <a:pt x="701643" y="99588"/>
                </a:lnTo>
                <a:lnTo>
                  <a:pt x="728804" y="86008"/>
                </a:lnTo>
                <a:lnTo>
                  <a:pt x="760491" y="95061"/>
                </a:lnTo>
                <a:lnTo>
                  <a:pt x="760491" y="95061"/>
                </a:lnTo>
                <a:lnTo>
                  <a:pt x="737857" y="140328"/>
                </a:lnTo>
                <a:lnTo>
                  <a:pt x="737857" y="185596"/>
                </a:lnTo>
                <a:lnTo>
                  <a:pt x="737857" y="185596"/>
                </a:lnTo>
                <a:lnTo>
                  <a:pt x="778598" y="167489"/>
                </a:lnTo>
                <a:lnTo>
                  <a:pt x="769544" y="194649"/>
                </a:lnTo>
                <a:lnTo>
                  <a:pt x="760491" y="244443"/>
                </a:lnTo>
                <a:lnTo>
                  <a:pt x="774071" y="244443"/>
                </a:lnTo>
                <a:lnTo>
                  <a:pt x="805758" y="244443"/>
                </a:lnTo>
                <a:lnTo>
                  <a:pt x="837445" y="230863"/>
                </a:lnTo>
                <a:lnTo>
                  <a:pt x="837445" y="230863"/>
                </a:lnTo>
                <a:lnTo>
                  <a:pt x="810285" y="262550"/>
                </a:lnTo>
                <a:lnTo>
                  <a:pt x="851026" y="262550"/>
                </a:lnTo>
                <a:lnTo>
                  <a:pt x="832919" y="271604"/>
                </a:lnTo>
                <a:lnTo>
                  <a:pt x="801232" y="307817"/>
                </a:lnTo>
                <a:lnTo>
                  <a:pt x="823865" y="339505"/>
                </a:lnTo>
                <a:lnTo>
                  <a:pt x="832919" y="384772"/>
                </a:lnTo>
                <a:lnTo>
                  <a:pt x="832919" y="384772"/>
                </a:lnTo>
                <a:lnTo>
                  <a:pt x="832919" y="434566"/>
                </a:lnTo>
                <a:lnTo>
                  <a:pt x="855552" y="461726"/>
                </a:lnTo>
                <a:lnTo>
                  <a:pt x="873659" y="502467"/>
                </a:lnTo>
                <a:lnTo>
                  <a:pt x="851026" y="543208"/>
                </a:lnTo>
                <a:lnTo>
                  <a:pt x="851026" y="574895"/>
                </a:lnTo>
                <a:lnTo>
                  <a:pt x="823865" y="611109"/>
                </a:lnTo>
                <a:lnTo>
                  <a:pt x="783125" y="642796"/>
                </a:lnTo>
                <a:lnTo>
                  <a:pt x="765018" y="669956"/>
                </a:lnTo>
                <a:lnTo>
                  <a:pt x="760491" y="710697"/>
                </a:lnTo>
                <a:cubicBezTo>
                  <a:pt x="765168" y="757465"/>
                  <a:pt x="749854" y="755964"/>
                  <a:pt x="769544" y="755964"/>
                </a:cubicBezTo>
                <a:lnTo>
                  <a:pt x="769544" y="755964"/>
                </a:lnTo>
                <a:lnTo>
                  <a:pt x="810285" y="783124"/>
                </a:lnTo>
                <a:lnTo>
                  <a:pt x="783125" y="860079"/>
                </a:lnTo>
                <a:lnTo>
                  <a:pt x="760491" y="905346"/>
                </a:lnTo>
                <a:lnTo>
                  <a:pt x="769544" y="995881"/>
                </a:lnTo>
                <a:lnTo>
                  <a:pt x="742384" y="1045675"/>
                </a:lnTo>
                <a:lnTo>
                  <a:pt x="737857" y="1109049"/>
                </a:lnTo>
                <a:lnTo>
                  <a:pt x="733331" y="1163370"/>
                </a:lnTo>
                <a:lnTo>
                  <a:pt x="733331" y="1204111"/>
                </a:lnTo>
                <a:lnTo>
                  <a:pt x="692590" y="1244851"/>
                </a:lnTo>
                <a:lnTo>
                  <a:pt x="706170" y="1285592"/>
                </a:lnTo>
                <a:lnTo>
                  <a:pt x="706170" y="1285592"/>
                </a:lnTo>
                <a:lnTo>
                  <a:pt x="688063" y="1326332"/>
                </a:lnTo>
                <a:lnTo>
                  <a:pt x="683537" y="1371600"/>
                </a:lnTo>
                <a:lnTo>
                  <a:pt x="674483" y="1425920"/>
                </a:lnTo>
                <a:lnTo>
                  <a:pt x="611109" y="1416867"/>
                </a:lnTo>
                <a:lnTo>
                  <a:pt x="570368" y="1376126"/>
                </a:lnTo>
                <a:lnTo>
                  <a:pt x="543208" y="1348966"/>
                </a:lnTo>
                <a:lnTo>
                  <a:pt x="497940" y="1339913"/>
                </a:lnTo>
                <a:lnTo>
                  <a:pt x="457200" y="1367073"/>
                </a:lnTo>
                <a:lnTo>
                  <a:pt x="457200" y="1367073"/>
                </a:lnTo>
                <a:lnTo>
                  <a:pt x="457200" y="1367073"/>
                </a:lnTo>
                <a:lnTo>
                  <a:pt x="425513" y="1339913"/>
                </a:lnTo>
                <a:lnTo>
                  <a:pt x="389299" y="1403287"/>
                </a:lnTo>
                <a:lnTo>
                  <a:pt x="375719" y="1439501"/>
                </a:lnTo>
                <a:lnTo>
                  <a:pt x="380245" y="1484768"/>
                </a:lnTo>
                <a:lnTo>
                  <a:pt x="339505" y="1511928"/>
                </a:lnTo>
                <a:lnTo>
                  <a:pt x="271604" y="1552669"/>
                </a:lnTo>
                <a:lnTo>
                  <a:pt x="217283" y="1516455"/>
                </a:lnTo>
                <a:lnTo>
                  <a:pt x="172016" y="1548142"/>
                </a:lnTo>
                <a:lnTo>
                  <a:pt x="144855" y="1484768"/>
                </a:lnTo>
                <a:lnTo>
                  <a:pt x="144855" y="1421394"/>
                </a:lnTo>
                <a:lnTo>
                  <a:pt x="144855" y="1421394"/>
                </a:lnTo>
                <a:lnTo>
                  <a:pt x="104115" y="1444027"/>
                </a:lnTo>
                <a:lnTo>
                  <a:pt x="67901" y="1471188"/>
                </a:lnTo>
                <a:lnTo>
                  <a:pt x="54321" y="1507402"/>
                </a:lnTo>
                <a:lnTo>
                  <a:pt x="58847" y="1484768"/>
                </a:lnTo>
                <a:lnTo>
                  <a:pt x="31687" y="1421394"/>
                </a:lnTo>
                <a:lnTo>
                  <a:pt x="31687" y="1421394"/>
                </a:lnTo>
                <a:lnTo>
                  <a:pt x="90535" y="1394233"/>
                </a:lnTo>
                <a:lnTo>
                  <a:pt x="76954" y="1348966"/>
                </a:lnTo>
                <a:lnTo>
                  <a:pt x="49794" y="1321806"/>
                </a:lnTo>
                <a:lnTo>
                  <a:pt x="90535" y="1281065"/>
                </a:lnTo>
                <a:lnTo>
                  <a:pt x="58847" y="1226744"/>
                </a:lnTo>
                <a:lnTo>
                  <a:pt x="72428" y="1181477"/>
                </a:lnTo>
                <a:lnTo>
                  <a:pt x="58847" y="1149790"/>
                </a:lnTo>
                <a:lnTo>
                  <a:pt x="108641" y="1063782"/>
                </a:lnTo>
                <a:lnTo>
                  <a:pt x="126748" y="964194"/>
                </a:lnTo>
                <a:lnTo>
                  <a:pt x="158436" y="982301"/>
                </a:lnTo>
                <a:lnTo>
                  <a:pt x="181069" y="923453"/>
                </a:lnTo>
                <a:lnTo>
                  <a:pt x="162962" y="869132"/>
                </a:lnTo>
                <a:lnTo>
                  <a:pt x="117695" y="887239"/>
                </a:lnTo>
                <a:lnTo>
                  <a:pt x="122222" y="887239"/>
                </a:lnTo>
                <a:lnTo>
                  <a:pt x="86008" y="860079"/>
                </a:lnTo>
                <a:lnTo>
                  <a:pt x="90535" y="774071"/>
                </a:lnTo>
                <a:lnTo>
                  <a:pt x="158436" y="760491"/>
                </a:lnTo>
                <a:lnTo>
                  <a:pt x="144855" y="715223"/>
                </a:lnTo>
                <a:lnTo>
                  <a:pt x="140329" y="660903"/>
                </a:lnTo>
                <a:lnTo>
                  <a:pt x="158436" y="602055"/>
                </a:lnTo>
                <a:lnTo>
                  <a:pt x="117695" y="593002"/>
                </a:lnTo>
                <a:lnTo>
                  <a:pt x="117695" y="538681"/>
                </a:lnTo>
                <a:lnTo>
                  <a:pt x="113168" y="479833"/>
                </a:lnTo>
                <a:lnTo>
                  <a:pt x="67901" y="411932"/>
                </a:lnTo>
                <a:lnTo>
                  <a:pt x="36214" y="425513"/>
                </a:lnTo>
                <a:lnTo>
                  <a:pt x="36214" y="389299"/>
                </a:lnTo>
                <a:lnTo>
                  <a:pt x="13580" y="420986"/>
                </a:lnTo>
                <a:lnTo>
                  <a:pt x="0" y="380245"/>
                </a:lnTo>
                <a:lnTo>
                  <a:pt x="31687" y="348558"/>
                </a:lnTo>
                <a:lnTo>
                  <a:pt x="4527" y="312344"/>
                </a:lnTo>
                <a:lnTo>
                  <a:pt x="58847" y="208229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>
              <a:defRPr/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19" name="Figura a mano libera 218"/>
          <p:cNvSpPr/>
          <p:nvPr/>
        </p:nvSpPr>
        <p:spPr bwMode="auto">
          <a:xfrm>
            <a:off x="3555768" y="4305948"/>
            <a:ext cx="567983" cy="978566"/>
          </a:xfrm>
          <a:custGeom>
            <a:avLst/>
            <a:gdLst>
              <a:gd name="connsiteX0" fmla="*/ 81481 w 851025"/>
              <a:gd name="connsiteY0" fmla="*/ 144856 h 1475715"/>
              <a:gd name="connsiteX1" fmla="*/ 99588 w 851025"/>
              <a:gd name="connsiteY1" fmla="*/ 90535 h 1475715"/>
              <a:gd name="connsiteX2" fmla="*/ 140328 w 851025"/>
              <a:gd name="connsiteY2" fmla="*/ 108642 h 1475715"/>
              <a:gd name="connsiteX3" fmla="*/ 176542 w 851025"/>
              <a:gd name="connsiteY3" fmla="*/ 90535 h 1475715"/>
              <a:gd name="connsiteX4" fmla="*/ 208229 w 851025"/>
              <a:gd name="connsiteY4" fmla="*/ 113169 h 1475715"/>
              <a:gd name="connsiteX5" fmla="*/ 253497 w 851025"/>
              <a:gd name="connsiteY5" fmla="*/ 158436 h 1475715"/>
              <a:gd name="connsiteX6" fmla="*/ 312344 w 851025"/>
              <a:gd name="connsiteY6" fmla="*/ 140329 h 1475715"/>
              <a:gd name="connsiteX7" fmla="*/ 375719 w 851025"/>
              <a:gd name="connsiteY7" fmla="*/ 126749 h 1475715"/>
              <a:gd name="connsiteX8" fmla="*/ 393825 w 851025"/>
              <a:gd name="connsiteY8" fmla="*/ 144856 h 1475715"/>
              <a:gd name="connsiteX9" fmla="*/ 402879 w 851025"/>
              <a:gd name="connsiteY9" fmla="*/ 95062 h 1475715"/>
              <a:gd name="connsiteX10" fmla="*/ 402879 w 851025"/>
              <a:gd name="connsiteY10" fmla="*/ 36214 h 1475715"/>
              <a:gd name="connsiteX11" fmla="*/ 420986 w 851025"/>
              <a:gd name="connsiteY11" fmla="*/ 0 h 1475715"/>
              <a:gd name="connsiteX12" fmla="*/ 502467 w 851025"/>
              <a:gd name="connsiteY12" fmla="*/ 9054 h 1475715"/>
              <a:gd name="connsiteX13" fmla="*/ 538681 w 851025"/>
              <a:gd name="connsiteY13" fmla="*/ 18107 h 1475715"/>
              <a:gd name="connsiteX14" fmla="*/ 525101 w 851025"/>
              <a:gd name="connsiteY14" fmla="*/ 67901 h 1475715"/>
              <a:gd name="connsiteX15" fmla="*/ 525101 w 851025"/>
              <a:gd name="connsiteY15" fmla="*/ 104115 h 1475715"/>
              <a:gd name="connsiteX16" fmla="*/ 525101 w 851025"/>
              <a:gd name="connsiteY16" fmla="*/ 104115 h 1475715"/>
              <a:gd name="connsiteX17" fmla="*/ 466253 w 851025"/>
              <a:gd name="connsiteY17" fmla="*/ 226337 h 1475715"/>
              <a:gd name="connsiteX18" fmla="*/ 466253 w 851025"/>
              <a:gd name="connsiteY18" fmla="*/ 276131 h 1475715"/>
              <a:gd name="connsiteX19" fmla="*/ 484360 w 851025"/>
              <a:gd name="connsiteY19" fmla="*/ 312345 h 1475715"/>
              <a:gd name="connsiteX20" fmla="*/ 493414 w 851025"/>
              <a:gd name="connsiteY20" fmla="*/ 330452 h 1475715"/>
              <a:gd name="connsiteX21" fmla="*/ 565841 w 851025"/>
              <a:gd name="connsiteY21" fmla="*/ 353085 h 1475715"/>
              <a:gd name="connsiteX22" fmla="*/ 602055 w 851025"/>
              <a:gd name="connsiteY22" fmla="*/ 348559 h 1475715"/>
              <a:gd name="connsiteX23" fmla="*/ 706170 w 851025"/>
              <a:gd name="connsiteY23" fmla="*/ 411933 h 1475715"/>
              <a:gd name="connsiteX24" fmla="*/ 755964 w 851025"/>
              <a:gd name="connsiteY24" fmla="*/ 425513 h 1475715"/>
              <a:gd name="connsiteX25" fmla="*/ 755964 w 851025"/>
              <a:gd name="connsiteY25" fmla="*/ 461727 h 1475715"/>
              <a:gd name="connsiteX26" fmla="*/ 810285 w 851025"/>
              <a:gd name="connsiteY26" fmla="*/ 479834 h 1475715"/>
              <a:gd name="connsiteX27" fmla="*/ 792178 w 851025"/>
              <a:gd name="connsiteY27" fmla="*/ 552262 h 1475715"/>
              <a:gd name="connsiteX28" fmla="*/ 814812 w 851025"/>
              <a:gd name="connsiteY28" fmla="*/ 597529 h 1475715"/>
              <a:gd name="connsiteX29" fmla="*/ 814812 w 851025"/>
              <a:gd name="connsiteY29" fmla="*/ 651850 h 1475715"/>
              <a:gd name="connsiteX30" fmla="*/ 810285 w 851025"/>
              <a:gd name="connsiteY30" fmla="*/ 697117 h 1475715"/>
              <a:gd name="connsiteX31" fmla="*/ 823865 w 851025"/>
              <a:gd name="connsiteY31" fmla="*/ 719751 h 1475715"/>
              <a:gd name="connsiteX32" fmla="*/ 851025 w 851025"/>
              <a:gd name="connsiteY32" fmla="*/ 733331 h 1475715"/>
              <a:gd name="connsiteX33" fmla="*/ 828392 w 851025"/>
              <a:gd name="connsiteY33" fmla="*/ 751438 h 1475715"/>
              <a:gd name="connsiteX34" fmla="*/ 832919 w 851025"/>
              <a:gd name="connsiteY34" fmla="*/ 787652 h 1475715"/>
              <a:gd name="connsiteX35" fmla="*/ 796705 w 851025"/>
              <a:gd name="connsiteY35" fmla="*/ 814812 h 1475715"/>
              <a:gd name="connsiteX36" fmla="*/ 746911 w 851025"/>
              <a:gd name="connsiteY36" fmla="*/ 787652 h 1475715"/>
              <a:gd name="connsiteX37" fmla="*/ 692590 w 851025"/>
              <a:gd name="connsiteY37" fmla="*/ 774072 h 1475715"/>
              <a:gd name="connsiteX38" fmla="*/ 588475 w 851025"/>
              <a:gd name="connsiteY38" fmla="*/ 819339 h 1475715"/>
              <a:gd name="connsiteX39" fmla="*/ 506994 w 851025"/>
              <a:gd name="connsiteY39" fmla="*/ 900820 h 1475715"/>
              <a:gd name="connsiteX40" fmla="*/ 497940 w 851025"/>
              <a:gd name="connsiteY40" fmla="*/ 955141 h 1475715"/>
              <a:gd name="connsiteX41" fmla="*/ 511520 w 851025"/>
              <a:gd name="connsiteY41" fmla="*/ 1023042 h 1475715"/>
              <a:gd name="connsiteX42" fmla="*/ 525101 w 851025"/>
              <a:gd name="connsiteY42" fmla="*/ 1072836 h 1475715"/>
              <a:gd name="connsiteX43" fmla="*/ 525101 w 851025"/>
              <a:gd name="connsiteY43" fmla="*/ 1136210 h 1475715"/>
              <a:gd name="connsiteX44" fmla="*/ 502467 w 851025"/>
              <a:gd name="connsiteY44" fmla="*/ 1176951 h 1475715"/>
              <a:gd name="connsiteX45" fmla="*/ 448146 w 851025"/>
              <a:gd name="connsiteY45" fmla="*/ 1195058 h 1475715"/>
              <a:gd name="connsiteX46" fmla="*/ 402879 w 851025"/>
              <a:gd name="connsiteY46" fmla="*/ 1213165 h 1475715"/>
              <a:gd name="connsiteX47" fmla="*/ 357612 w 851025"/>
              <a:gd name="connsiteY47" fmla="*/ 1231272 h 1475715"/>
              <a:gd name="connsiteX48" fmla="*/ 294237 w 851025"/>
              <a:gd name="connsiteY48" fmla="*/ 1344440 h 1475715"/>
              <a:gd name="connsiteX49" fmla="*/ 285184 w 851025"/>
              <a:gd name="connsiteY49" fmla="*/ 1398761 h 1475715"/>
              <a:gd name="connsiteX50" fmla="*/ 276130 w 851025"/>
              <a:gd name="connsiteY50" fmla="*/ 1448555 h 1475715"/>
              <a:gd name="connsiteX51" fmla="*/ 221810 w 851025"/>
              <a:gd name="connsiteY51" fmla="*/ 1475715 h 1475715"/>
              <a:gd name="connsiteX52" fmla="*/ 153909 w 851025"/>
              <a:gd name="connsiteY52" fmla="*/ 1466662 h 1475715"/>
              <a:gd name="connsiteX53" fmla="*/ 99588 w 851025"/>
              <a:gd name="connsiteY53" fmla="*/ 1475715 h 1475715"/>
              <a:gd name="connsiteX54" fmla="*/ 9053 w 851025"/>
              <a:gd name="connsiteY54" fmla="*/ 1444028 h 1475715"/>
              <a:gd name="connsiteX55" fmla="*/ 4526 w 851025"/>
              <a:gd name="connsiteY55" fmla="*/ 1403287 h 1475715"/>
              <a:gd name="connsiteX56" fmla="*/ 36214 w 851025"/>
              <a:gd name="connsiteY56" fmla="*/ 1389707 h 1475715"/>
              <a:gd name="connsiteX57" fmla="*/ 0 w 851025"/>
              <a:gd name="connsiteY57" fmla="*/ 1339913 h 1475715"/>
              <a:gd name="connsiteX58" fmla="*/ 13580 w 851025"/>
              <a:gd name="connsiteY58" fmla="*/ 1339913 h 1475715"/>
              <a:gd name="connsiteX59" fmla="*/ 13580 w 851025"/>
              <a:gd name="connsiteY59" fmla="*/ 1267485 h 1475715"/>
              <a:gd name="connsiteX60" fmla="*/ 76954 w 851025"/>
              <a:gd name="connsiteY60" fmla="*/ 1249378 h 1475715"/>
              <a:gd name="connsiteX61" fmla="*/ 162962 w 851025"/>
              <a:gd name="connsiteY61" fmla="*/ 1167897 h 1475715"/>
              <a:gd name="connsiteX62" fmla="*/ 181069 w 851025"/>
              <a:gd name="connsiteY62" fmla="*/ 1090943 h 1475715"/>
              <a:gd name="connsiteX63" fmla="*/ 167489 w 851025"/>
              <a:gd name="connsiteY63" fmla="*/ 1045676 h 1475715"/>
              <a:gd name="connsiteX64" fmla="*/ 117695 w 851025"/>
              <a:gd name="connsiteY64" fmla="*/ 1009462 h 1475715"/>
              <a:gd name="connsiteX65" fmla="*/ 135802 w 851025"/>
              <a:gd name="connsiteY65" fmla="*/ 977775 h 1475715"/>
              <a:gd name="connsiteX66" fmla="*/ 181069 w 851025"/>
              <a:gd name="connsiteY66" fmla="*/ 959668 h 1475715"/>
              <a:gd name="connsiteX67" fmla="*/ 239917 w 851025"/>
              <a:gd name="connsiteY67" fmla="*/ 927980 h 1475715"/>
              <a:gd name="connsiteX68" fmla="*/ 276130 w 851025"/>
              <a:gd name="connsiteY68" fmla="*/ 955141 h 1475715"/>
              <a:gd name="connsiteX69" fmla="*/ 316871 w 851025"/>
              <a:gd name="connsiteY69" fmla="*/ 914400 h 1475715"/>
              <a:gd name="connsiteX70" fmla="*/ 339505 w 851025"/>
              <a:gd name="connsiteY70" fmla="*/ 855553 h 1475715"/>
              <a:gd name="connsiteX71" fmla="*/ 348558 w 851025"/>
              <a:gd name="connsiteY71" fmla="*/ 814812 h 1475715"/>
              <a:gd name="connsiteX72" fmla="*/ 312344 w 851025"/>
              <a:gd name="connsiteY72" fmla="*/ 787652 h 1475715"/>
              <a:gd name="connsiteX73" fmla="*/ 298764 w 851025"/>
              <a:gd name="connsiteY73" fmla="*/ 778598 h 1475715"/>
              <a:gd name="connsiteX74" fmla="*/ 235390 w 851025"/>
              <a:gd name="connsiteY74" fmla="*/ 715224 h 1475715"/>
              <a:gd name="connsiteX75" fmla="*/ 248970 w 851025"/>
              <a:gd name="connsiteY75" fmla="*/ 588476 h 1475715"/>
              <a:gd name="connsiteX76" fmla="*/ 199176 w 851025"/>
              <a:gd name="connsiteY76" fmla="*/ 457200 h 1475715"/>
              <a:gd name="connsiteX77" fmla="*/ 162962 w 851025"/>
              <a:gd name="connsiteY77" fmla="*/ 384773 h 1475715"/>
              <a:gd name="connsiteX78" fmla="*/ 140328 w 851025"/>
              <a:gd name="connsiteY78" fmla="*/ 389299 h 1475715"/>
              <a:gd name="connsiteX79" fmla="*/ 108641 w 851025"/>
              <a:gd name="connsiteY79" fmla="*/ 316872 h 1475715"/>
              <a:gd name="connsiteX80" fmla="*/ 108641 w 851025"/>
              <a:gd name="connsiteY80" fmla="*/ 285184 h 1475715"/>
              <a:gd name="connsiteX81" fmla="*/ 99588 w 851025"/>
              <a:gd name="connsiteY81" fmla="*/ 239917 h 1475715"/>
              <a:gd name="connsiteX82" fmla="*/ 81481 w 851025"/>
              <a:gd name="connsiteY82" fmla="*/ 144856 h 147571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</a:cxnLst>
            <a:rect l="l" t="t" r="r" b="b"/>
            <a:pathLst>
              <a:path w="851025" h="1475715">
                <a:moveTo>
                  <a:pt x="81481" y="144856"/>
                </a:moveTo>
                <a:lnTo>
                  <a:pt x="99588" y="90535"/>
                </a:lnTo>
                <a:lnTo>
                  <a:pt x="140328" y="108642"/>
                </a:lnTo>
                <a:lnTo>
                  <a:pt x="176542" y="90535"/>
                </a:lnTo>
                <a:lnTo>
                  <a:pt x="208229" y="113169"/>
                </a:lnTo>
                <a:lnTo>
                  <a:pt x="253497" y="158436"/>
                </a:lnTo>
                <a:lnTo>
                  <a:pt x="312344" y="140329"/>
                </a:lnTo>
                <a:lnTo>
                  <a:pt x="375719" y="126749"/>
                </a:lnTo>
                <a:lnTo>
                  <a:pt x="393825" y="144856"/>
                </a:lnTo>
                <a:lnTo>
                  <a:pt x="402879" y="95062"/>
                </a:lnTo>
                <a:lnTo>
                  <a:pt x="402879" y="36214"/>
                </a:lnTo>
                <a:lnTo>
                  <a:pt x="420986" y="0"/>
                </a:lnTo>
                <a:lnTo>
                  <a:pt x="502467" y="9054"/>
                </a:lnTo>
                <a:lnTo>
                  <a:pt x="538681" y="18107"/>
                </a:lnTo>
                <a:lnTo>
                  <a:pt x="525101" y="67901"/>
                </a:lnTo>
                <a:lnTo>
                  <a:pt x="525101" y="104115"/>
                </a:lnTo>
                <a:lnTo>
                  <a:pt x="525101" y="104115"/>
                </a:lnTo>
                <a:lnTo>
                  <a:pt x="466253" y="226337"/>
                </a:lnTo>
                <a:lnTo>
                  <a:pt x="466253" y="276131"/>
                </a:lnTo>
                <a:lnTo>
                  <a:pt x="484360" y="312345"/>
                </a:lnTo>
                <a:lnTo>
                  <a:pt x="493414" y="330452"/>
                </a:lnTo>
                <a:lnTo>
                  <a:pt x="565841" y="353085"/>
                </a:lnTo>
                <a:lnTo>
                  <a:pt x="602055" y="348559"/>
                </a:lnTo>
                <a:lnTo>
                  <a:pt x="706170" y="411933"/>
                </a:lnTo>
                <a:lnTo>
                  <a:pt x="755964" y="425513"/>
                </a:lnTo>
                <a:lnTo>
                  <a:pt x="755964" y="461727"/>
                </a:lnTo>
                <a:lnTo>
                  <a:pt x="810285" y="479834"/>
                </a:lnTo>
                <a:lnTo>
                  <a:pt x="792178" y="552262"/>
                </a:lnTo>
                <a:lnTo>
                  <a:pt x="814812" y="597529"/>
                </a:lnTo>
                <a:lnTo>
                  <a:pt x="814812" y="651850"/>
                </a:lnTo>
                <a:lnTo>
                  <a:pt x="810285" y="697117"/>
                </a:lnTo>
                <a:lnTo>
                  <a:pt x="823865" y="719751"/>
                </a:lnTo>
                <a:lnTo>
                  <a:pt x="851025" y="733331"/>
                </a:lnTo>
                <a:lnTo>
                  <a:pt x="828392" y="751438"/>
                </a:lnTo>
                <a:lnTo>
                  <a:pt x="832919" y="787652"/>
                </a:lnTo>
                <a:lnTo>
                  <a:pt x="796705" y="814812"/>
                </a:lnTo>
                <a:lnTo>
                  <a:pt x="746911" y="787652"/>
                </a:lnTo>
                <a:lnTo>
                  <a:pt x="692590" y="774072"/>
                </a:lnTo>
                <a:lnTo>
                  <a:pt x="588475" y="819339"/>
                </a:lnTo>
                <a:lnTo>
                  <a:pt x="506994" y="900820"/>
                </a:lnTo>
                <a:lnTo>
                  <a:pt x="497940" y="955141"/>
                </a:lnTo>
                <a:lnTo>
                  <a:pt x="511520" y="1023042"/>
                </a:lnTo>
                <a:lnTo>
                  <a:pt x="525101" y="1072836"/>
                </a:lnTo>
                <a:lnTo>
                  <a:pt x="525101" y="1136210"/>
                </a:lnTo>
                <a:lnTo>
                  <a:pt x="502467" y="1176951"/>
                </a:lnTo>
                <a:lnTo>
                  <a:pt x="448146" y="1195058"/>
                </a:lnTo>
                <a:lnTo>
                  <a:pt x="402879" y="1213165"/>
                </a:lnTo>
                <a:lnTo>
                  <a:pt x="357612" y="1231272"/>
                </a:lnTo>
                <a:lnTo>
                  <a:pt x="294237" y="1344440"/>
                </a:lnTo>
                <a:lnTo>
                  <a:pt x="285184" y="1398761"/>
                </a:lnTo>
                <a:lnTo>
                  <a:pt x="276130" y="1448555"/>
                </a:lnTo>
                <a:lnTo>
                  <a:pt x="221810" y="1475715"/>
                </a:lnTo>
                <a:lnTo>
                  <a:pt x="153909" y="1466662"/>
                </a:lnTo>
                <a:lnTo>
                  <a:pt x="99588" y="1475715"/>
                </a:lnTo>
                <a:lnTo>
                  <a:pt x="9053" y="1444028"/>
                </a:lnTo>
                <a:lnTo>
                  <a:pt x="4526" y="1403287"/>
                </a:lnTo>
                <a:lnTo>
                  <a:pt x="36214" y="1389707"/>
                </a:lnTo>
                <a:lnTo>
                  <a:pt x="0" y="1339913"/>
                </a:lnTo>
                <a:lnTo>
                  <a:pt x="13580" y="1339913"/>
                </a:lnTo>
                <a:lnTo>
                  <a:pt x="13580" y="1267485"/>
                </a:lnTo>
                <a:lnTo>
                  <a:pt x="76954" y="1249378"/>
                </a:lnTo>
                <a:lnTo>
                  <a:pt x="162962" y="1167897"/>
                </a:lnTo>
                <a:lnTo>
                  <a:pt x="181069" y="1090943"/>
                </a:lnTo>
                <a:lnTo>
                  <a:pt x="167489" y="1045676"/>
                </a:lnTo>
                <a:lnTo>
                  <a:pt x="117695" y="1009462"/>
                </a:lnTo>
                <a:lnTo>
                  <a:pt x="135802" y="977775"/>
                </a:lnTo>
                <a:lnTo>
                  <a:pt x="181069" y="959668"/>
                </a:lnTo>
                <a:lnTo>
                  <a:pt x="239917" y="927980"/>
                </a:lnTo>
                <a:lnTo>
                  <a:pt x="276130" y="955141"/>
                </a:lnTo>
                <a:lnTo>
                  <a:pt x="316871" y="914400"/>
                </a:lnTo>
                <a:lnTo>
                  <a:pt x="339505" y="855553"/>
                </a:lnTo>
                <a:lnTo>
                  <a:pt x="348558" y="814812"/>
                </a:lnTo>
                <a:lnTo>
                  <a:pt x="312344" y="787652"/>
                </a:lnTo>
                <a:lnTo>
                  <a:pt x="298764" y="778598"/>
                </a:lnTo>
                <a:lnTo>
                  <a:pt x="235390" y="715224"/>
                </a:lnTo>
                <a:lnTo>
                  <a:pt x="248970" y="588476"/>
                </a:lnTo>
                <a:lnTo>
                  <a:pt x="199176" y="457200"/>
                </a:lnTo>
                <a:lnTo>
                  <a:pt x="162962" y="384773"/>
                </a:lnTo>
                <a:lnTo>
                  <a:pt x="140328" y="389299"/>
                </a:lnTo>
                <a:lnTo>
                  <a:pt x="108641" y="316872"/>
                </a:lnTo>
                <a:lnTo>
                  <a:pt x="108641" y="285184"/>
                </a:lnTo>
                <a:lnTo>
                  <a:pt x="99588" y="239917"/>
                </a:lnTo>
                <a:lnTo>
                  <a:pt x="81481" y="144856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>
              <a:defRPr/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0" name="Figura a mano libera 219"/>
          <p:cNvSpPr/>
          <p:nvPr/>
        </p:nvSpPr>
        <p:spPr bwMode="auto">
          <a:xfrm>
            <a:off x="2407481" y="5107950"/>
            <a:ext cx="1164303" cy="729883"/>
          </a:xfrm>
          <a:custGeom>
            <a:avLst/>
            <a:gdLst>
              <a:gd name="connsiteX0" fmla="*/ 1688306 w 1745456"/>
              <a:gd name="connsiteY0" fmla="*/ 0 h 1097756"/>
              <a:gd name="connsiteX1" fmla="*/ 1745456 w 1745456"/>
              <a:gd name="connsiteY1" fmla="*/ 23812 h 1097756"/>
              <a:gd name="connsiteX2" fmla="*/ 1697831 w 1745456"/>
              <a:gd name="connsiteY2" fmla="*/ 57150 h 1097756"/>
              <a:gd name="connsiteX3" fmla="*/ 1657350 w 1745456"/>
              <a:gd name="connsiteY3" fmla="*/ 178594 h 1097756"/>
              <a:gd name="connsiteX4" fmla="*/ 1533525 w 1745456"/>
              <a:gd name="connsiteY4" fmla="*/ 321469 h 1097756"/>
              <a:gd name="connsiteX5" fmla="*/ 1507331 w 1745456"/>
              <a:gd name="connsiteY5" fmla="*/ 397669 h 1097756"/>
              <a:gd name="connsiteX6" fmla="*/ 1493044 w 1745456"/>
              <a:gd name="connsiteY6" fmla="*/ 428625 h 1097756"/>
              <a:gd name="connsiteX7" fmla="*/ 1504950 w 1745456"/>
              <a:gd name="connsiteY7" fmla="*/ 483394 h 1097756"/>
              <a:gd name="connsiteX8" fmla="*/ 1471613 w 1745456"/>
              <a:gd name="connsiteY8" fmla="*/ 500062 h 1097756"/>
              <a:gd name="connsiteX9" fmla="*/ 1440656 w 1745456"/>
              <a:gd name="connsiteY9" fmla="*/ 547687 h 1097756"/>
              <a:gd name="connsiteX10" fmla="*/ 1443038 w 1745456"/>
              <a:gd name="connsiteY10" fmla="*/ 657225 h 1097756"/>
              <a:gd name="connsiteX11" fmla="*/ 1519238 w 1745456"/>
              <a:gd name="connsiteY11" fmla="*/ 685800 h 1097756"/>
              <a:gd name="connsiteX12" fmla="*/ 1538288 w 1745456"/>
              <a:gd name="connsiteY12" fmla="*/ 702469 h 1097756"/>
              <a:gd name="connsiteX13" fmla="*/ 1502569 w 1745456"/>
              <a:gd name="connsiteY13" fmla="*/ 707231 h 1097756"/>
              <a:gd name="connsiteX14" fmla="*/ 1519238 w 1745456"/>
              <a:gd name="connsiteY14" fmla="*/ 785812 h 1097756"/>
              <a:gd name="connsiteX15" fmla="*/ 1557338 w 1745456"/>
              <a:gd name="connsiteY15" fmla="*/ 795337 h 1097756"/>
              <a:gd name="connsiteX16" fmla="*/ 1574006 w 1745456"/>
              <a:gd name="connsiteY16" fmla="*/ 816769 h 1097756"/>
              <a:gd name="connsiteX17" fmla="*/ 1559719 w 1745456"/>
              <a:gd name="connsiteY17" fmla="*/ 845344 h 1097756"/>
              <a:gd name="connsiteX18" fmla="*/ 1550194 w 1745456"/>
              <a:gd name="connsiteY18" fmla="*/ 876300 h 1097756"/>
              <a:gd name="connsiteX19" fmla="*/ 1531144 w 1745456"/>
              <a:gd name="connsiteY19" fmla="*/ 885825 h 1097756"/>
              <a:gd name="connsiteX20" fmla="*/ 1478756 w 1745456"/>
              <a:gd name="connsiteY20" fmla="*/ 912019 h 1097756"/>
              <a:gd name="connsiteX21" fmla="*/ 1450181 w 1745456"/>
              <a:gd name="connsiteY21" fmla="*/ 971550 h 1097756"/>
              <a:gd name="connsiteX22" fmla="*/ 1464469 w 1745456"/>
              <a:gd name="connsiteY22" fmla="*/ 1062037 h 1097756"/>
              <a:gd name="connsiteX23" fmla="*/ 1483519 w 1745456"/>
              <a:gd name="connsiteY23" fmla="*/ 1092994 h 1097756"/>
              <a:gd name="connsiteX24" fmla="*/ 1445419 w 1745456"/>
              <a:gd name="connsiteY24" fmla="*/ 1097756 h 1097756"/>
              <a:gd name="connsiteX25" fmla="*/ 1426369 w 1745456"/>
              <a:gd name="connsiteY25" fmla="*/ 1057275 h 1097756"/>
              <a:gd name="connsiteX26" fmla="*/ 1400175 w 1745456"/>
              <a:gd name="connsiteY26" fmla="*/ 1057275 h 1097756"/>
              <a:gd name="connsiteX27" fmla="*/ 1385888 w 1745456"/>
              <a:gd name="connsiteY27" fmla="*/ 1073944 h 1097756"/>
              <a:gd name="connsiteX28" fmla="*/ 1328738 w 1745456"/>
              <a:gd name="connsiteY28" fmla="*/ 1033462 h 1097756"/>
              <a:gd name="connsiteX29" fmla="*/ 1264444 w 1745456"/>
              <a:gd name="connsiteY29" fmla="*/ 1062037 h 1097756"/>
              <a:gd name="connsiteX30" fmla="*/ 1202531 w 1745456"/>
              <a:gd name="connsiteY30" fmla="*/ 1026319 h 1097756"/>
              <a:gd name="connsiteX31" fmla="*/ 1147763 w 1745456"/>
              <a:gd name="connsiteY31" fmla="*/ 1002506 h 1097756"/>
              <a:gd name="connsiteX32" fmla="*/ 1126331 w 1745456"/>
              <a:gd name="connsiteY32" fmla="*/ 1002506 h 1097756"/>
              <a:gd name="connsiteX33" fmla="*/ 1090613 w 1745456"/>
              <a:gd name="connsiteY33" fmla="*/ 978694 h 1097756"/>
              <a:gd name="connsiteX34" fmla="*/ 1004888 w 1745456"/>
              <a:gd name="connsiteY34" fmla="*/ 831056 h 1097756"/>
              <a:gd name="connsiteX35" fmla="*/ 897731 w 1745456"/>
              <a:gd name="connsiteY35" fmla="*/ 792956 h 1097756"/>
              <a:gd name="connsiteX36" fmla="*/ 854869 w 1745456"/>
              <a:gd name="connsiteY36" fmla="*/ 792956 h 1097756"/>
              <a:gd name="connsiteX37" fmla="*/ 802481 w 1745456"/>
              <a:gd name="connsiteY37" fmla="*/ 792956 h 1097756"/>
              <a:gd name="connsiteX38" fmla="*/ 790575 w 1745456"/>
              <a:gd name="connsiteY38" fmla="*/ 807244 h 1097756"/>
              <a:gd name="connsiteX39" fmla="*/ 769144 w 1745456"/>
              <a:gd name="connsiteY39" fmla="*/ 769144 h 1097756"/>
              <a:gd name="connsiteX40" fmla="*/ 719138 w 1745456"/>
              <a:gd name="connsiteY40" fmla="*/ 759619 h 1097756"/>
              <a:gd name="connsiteX41" fmla="*/ 666750 w 1745456"/>
              <a:gd name="connsiteY41" fmla="*/ 721519 h 1097756"/>
              <a:gd name="connsiteX42" fmla="*/ 631031 w 1745456"/>
              <a:gd name="connsiteY42" fmla="*/ 683419 h 1097756"/>
              <a:gd name="connsiteX43" fmla="*/ 626269 w 1745456"/>
              <a:gd name="connsiteY43" fmla="*/ 681037 h 1097756"/>
              <a:gd name="connsiteX44" fmla="*/ 566738 w 1745456"/>
              <a:gd name="connsiteY44" fmla="*/ 673894 h 1097756"/>
              <a:gd name="connsiteX45" fmla="*/ 526256 w 1745456"/>
              <a:gd name="connsiteY45" fmla="*/ 654844 h 1097756"/>
              <a:gd name="connsiteX46" fmla="*/ 471488 w 1745456"/>
              <a:gd name="connsiteY46" fmla="*/ 607219 h 1097756"/>
              <a:gd name="connsiteX47" fmla="*/ 411956 w 1745456"/>
              <a:gd name="connsiteY47" fmla="*/ 540544 h 1097756"/>
              <a:gd name="connsiteX48" fmla="*/ 392906 w 1745456"/>
              <a:gd name="connsiteY48" fmla="*/ 526256 h 1097756"/>
              <a:gd name="connsiteX49" fmla="*/ 333375 w 1745456"/>
              <a:gd name="connsiteY49" fmla="*/ 523875 h 1097756"/>
              <a:gd name="connsiteX50" fmla="*/ 300038 w 1745456"/>
              <a:gd name="connsiteY50" fmla="*/ 504825 h 1097756"/>
              <a:gd name="connsiteX51" fmla="*/ 271463 w 1745456"/>
              <a:gd name="connsiteY51" fmla="*/ 469106 h 1097756"/>
              <a:gd name="connsiteX52" fmla="*/ 164306 w 1745456"/>
              <a:gd name="connsiteY52" fmla="*/ 473869 h 1097756"/>
              <a:gd name="connsiteX53" fmla="*/ 142875 w 1745456"/>
              <a:gd name="connsiteY53" fmla="*/ 490537 h 1097756"/>
              <a:gd name="connsiteX54" fmla="*/ 83344 w 1745456"/>
              <a:gd name="connsiteY54" fmla="*/ 411956 h 1097756"/>
              <a:gd name="connsiteX55" fmla="*/ 52388 w 1745456"/>
              <a:gd name="connsiteY55" fmla="*/ 414337 h 1097756"/>
              <a:gd name="connsiteX56" fmla="*/ 28575 w 1745456"/>
              <a:gd name="connsiteY56" fmla="*/ 378619 h 1097756"/>
              <a:gd name="connsiteX57" fmla="*/ 26194 w 1745456"/>
              <a:gd name="connsiteY57" fmla="*/ 342900 h 1097756"/>
              <a:gd name="connsiteX58" fmla="*/ 4763 w 1745456"/>
              <a:gd name="connsiteY58" fmla="*/ 323850 h 1097756"/>
              <a:gd name="connsiteX59" fmla="*/ 35719 w 1745456"/>
              <a:gd name="connsiteY59" fmla="*/ 295275 h 1097756"/>
              <a:gd name="connsiteX60" fmla="*/ 0 w 1745456"/>
              <a:gd name="connsiteY60" fmla="*/ 266700 h 1097756"/>
              <a:gd name="connsiteX61" fmla="*/ 42863 w 1745456"/>
              <a:gd name="connsiteY61" fmla="*/ 233362 h 1097756"/>
              <a:gd name="connsiteX62" fmla="*/ 45244 w 1745456"/>
              <a:gd name="connsiteY62" fmla="*/ 176212 h 1097756"/>
              <a:gd name="connsiteX63" fmla="*/ 92869 w 1745456"/>
              <a:gd name="connsiteY63" fmla="*/ 140494 h 1097756"/>
              <a:gd name="connsiteX64" fmla="*/ 140494 w 1745456"/>
              <a:gd name="connsiteY64" fmla="*/ 116681 h 1097756"/>
              <a:gd name="connsiteX65" fmla="*/ 190500 w 1745456"/>
              <a:gd name="connsiteY65" fmla="*/ 76200 h 1097756"/>
              <a:gd name="connsiteX66" fmla="*/ 219075 w 1745456"/>
              <a:gd name="connsiteY66" fmla="*/ 147637 h 1097756"/>
              <a:gd name="connsiteX67" fmla="*/ 273844 w 1745456"/>
              <a:gd name="connsiteY67" fmla="*/ 180975 h 1097756"/>
              <a:gd name="connsiteX68" fmla="*/ 319088 w 1745456"/>
              <a:gd name="connsiteY68" fmla="*/ 154781 h 1097756"/>
              <a:gd name="connsiteX69" fmla="*/ 359569 w 1745456"/>
              <a:gd name="connsiteY69" fmla="*/ 154781 h 1097756"/>
              <a:gd name="connsiteX70" fmla="*/ 357188 w 1745456"/>
              <a:gd name="connsiteY70" fmla="*/ 123825 h 1097756"/>
              <a:gd name="connsiteX71" fmla="*/ 366713 w 1745456"/>
              <a:gd name="connsiteY71" fmla="*/ 69056 h 1097756"/>
              <a:gd name="connsiteX72" fmla="*/ 402431 w 1745456"/>
              <a:gd name="connsiteY72" fmla="*/ 85725 h 1097756"/>
              <a:gd name="connsiteX73" fmla="*/ 447675 w 1745456"/>
              <a:gd name="connsiteY73" fmla="*/ 85725 h 1097756"/>
              <a:gd name="connsiteX74" fmla="*/ 481013 w 1745456"/>
              <a:gd name="connsiteY74" fmla="*/ 54769 h 1097756"/>
              <a:gd name="connsiteX75" fmla="*/ 516731 w 1745456"/>
              <a:gd name="connsiteY75" fmla="*/ 71437 h 1097756"/>
              <a:gd name="connsiteX76" fmla="*/ 528638 w 1745456"/>
              <a:gd name="connsiteY76" fmla="*/ 102394 h 1097756"/>
              <a:gd name="connsiteX77" fmla="*/ 511969 w 1745456"/>
              <a:gd name="connsiteY77" fmla="*/ 133350 h 1097756"/>
              <a:gd name="connsiteX78" fmla="*/ 595313 w 1745456"/>
              <a:gd name="connsiteY78" fmla="*/ 126206 h 1097756"/>
              <a:gd name="connsiteX79" fmla="*/ 595313 w 1745456"/>
              <a:gd name="connsiteY79" fmla="*/ 126206 h 1097756"/>
              <a:gd name="connsiteX80" fmla="*/ 621506 w 1745456"/>
              <a:gd name="connsiteY80" fmla="*/ 159544 h 1097756"/>
              <a:gd name="connsiteX81" fmla="*/ 647700 w 1745456"/>
              <a:gd name="connsiteY81" fmla="*/ 204787 h 1097756"/>
              <a:gd name="connsiteX82" fmla="*/ 726281 w 1745456"/>
              <a:gd name="connsiteY82" fmla="*/ 221456 h 1097756"/>
              <a:gd name="connsiteX83" fmla="*/ 785813 w 1745456"/>
              <a:gd name="connsiteY83" fmla="*/ 211931 h 1097756"/>
              <a:gd name="connsiteX84" fmla="*/ 857250 w 1745456"/>
              <a:gd name="connsiteY84" fmla="*/ 176212 h 1097756"/>
              <a:gd name="connsiteX85" fmla="*/ 888206 w 1745456"/>
              <a:gd name="connsiteY85" fmla="*/ 176212 h 1097756"/>
              <a:gd name="connsiteX86" fmla="*/ 959644 w 1745456"/>
              <a:gd name="connsiteY86" fmla="*/ 192881 h 1097756"/>
              <a:gd name="connsiteX87" fmla="*/ 1059656 w 1745456"/>
              <a:gd name="connsiteY87" fmla="*/ 192881 h 1097756"/>
              <a:gd name="connsiteX88" fmla="*/ 1166813 w 1745456"/>
              <a:gd name="connsiteY88" fmla="*/ 171450 h 1097756"/>
              <a:gd name="connsiteX89" fmla="*/ 1245394 w 1745456"/>
              <a:gd name="connsiteY89" fmla="*/ 119062 h 1097756"/>
              <a:gd name="connsiteX90" fmla="*/ 1273969 w 1745456"/>
              <a:gd name="connsiteY90" fmla="*/ 102394 h 1097756"/>
              <a:gd name="connsiteX91" fmla="*/ 1366838 w 1745456"/>
              <a:gd name="connsiteY91" fmla="*/ 76200 h 1097756"/>
              <a:gd name="connsiteX92" fmla="*/ 1402556 w 1745456"/>
              <a:gd name="connsiteY92" fmla="*/ 114300 h 1097756"/>
              <a:gd name="connsiteX93" fmla="*/ 1462088 w 1745456"/>
              <a:gd name="connsiteY93" fmla="*/ 128587 h 1097756"/>
              <a:gd name="connsiteX94" fmla="*/ 1512094 w 1745456"/>
              <a:gd name="connsiteY94" fmla="*/ 107156 h 1097756"/>
              <a:gd name="connsiteX95" fmla="*/ 1528763 w 1745456"/>
              <a:gd name="connsiteY95" fmla="*/ 61912 h 1097756"/>
              <a:gd name="connsiteX96" fmla="*/ 1585913 w 1745456"/>
              <a:gd name="connsiteY96" fmla="*/ 61912 h 1097756"/>
              <a:gd name="connsiteX97" fmla="*/ 1621631 w 1745456"/>
              <a:gd name="connsiteY97" fmla="*/ 42862 h 1097756"/>
              <a:gd name="connsiteX98" fmla="*/ 1688306 w 1745456"/>
              <a:gd name="connsiteY98" fmla="*/ 0 h 1097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</a:cxnLst>
            <a:rect l="l" t="t" r="r" b="b"/>
            <a:pathLst>
              <a:path w="1745456" h="1097756">
                <a:moveTo>
                  <a:pt x="1688306" y="0"/>
                </a:moveTo>
                <a:lnTo>
                  <a:pt x="1745456" y="23812"/>
                </a:lnTo>
                <a:lnTo>
                  <a:pt x="1697831" y="57150"/>
                </a:lnTo>
                <a:lnTo>
                  <a:pt x="1657350" y="178594"/>
                </a:lnTo>
                <a:lnTo>
                  <a:pt x="1533525" y="321469"/>
                </a:lnTo>
                <a:lnTo>
                  <a:pt x="1507331" y="397669"/>
                </a:lnTo>
                <a:lnTo>
                  <a:pt x="1493044" y="428625"/>
                </a:lnTo>
                <a:lnTo>
                  <a:pt x="1504950" y="483394"/>
                </a:lnTo>
                <a:lnTo>
                  <a:pt x="1471613" y="500062"/>
                </a:lnTo>
                <a:lnTo>
                  <a:pt x="1440656" y="547687"/>
                </a:lnTo>
                <a:lnTo>
                  <a:pt x="1443038" y="657225"/>
                </a:lnTo>
                <a:lnTo>
                  <a:pt x="1519238" y="685800"/>
                </a:lnTo>
                <a:lnTo>
                  <a:pt x="1538288" y="702469"/>
                </a:lnTo>
                <a:lnTo>
                  <a:pt x="1502569" y="707231"/>
                </a:lnTo>
                <a:lnTo>
                  <a:pt x="1519238" y="785812"/>
                </a:lnTo>
                <a:lnTo>
                  <a:pt x="1557338" y="795337"/>
                </a:lnTo>
                <a:lnTo>
                  <a:pt x="1574006" y="816769"/>
                </a:lnTo>
                <a:lnTo>
                  <a:pt x="1559719" y="845344"/>
                </a:lnTo>
                <a:lnTo>
                  <a:pt x="1550194" y="876300"/>
                </a:lnTo>
                <a:lnTo>
                  <a:pt x="1531144" y="885825"/>
                </a:lnTo>
                <a:lnTo>
                  <a:pt x="1478756" y="912019"/>
                </a:lnTo>
                <a:lnTo>
                  <a:pt x="1450181" y="971550"/>
                </a:lnTo>
                <a:lnTo>
                  <a:pt x="1464469" y="1062037"/>
                </a:lnTo>
                <a:lnTo>
                  <a:pt x="1483519" y="1092994"/>
                </a:lnTo>
                <a:lnTo>
                  <a:pt x="1445419" y="1097756"/>
                </a:lnTo>
                <a:lnTo>
                  <a:pt x="1426369" y="1057275"/>
                </a:lnTo>
                <a:lnTo>
                  <a:pt x="1400175" y="1057275"/>
                </a:lnTo>
                <a:lnTo>
                  <a:pt x="1385888" y="1073944"/>
                </a:lnTo>
                <a:lnTo>
                  <a:pt x="1328738" y="1033462"/>
                </a:lnTo>
                <a:lnTo>
                  <a:pt x="1264444" y="1062037"/>
                </a:lnTo>
                <a:lnTo>
                  <a:pt x="1202531" y="1026319"/>
                </a:lnTo>
                <a:lnTo>
                  <a:pt x="1147763" y="1002506"/>
                </a:lnTo>
                <a:lnTo>
                  <a:pt x="1126331" y="1002506"/>
                </a:lnTo>
                <a:lnTo>
                  <a:pt x="1090613" y="978694"/>
                </a:lnTo>
                <a:lnTo>
                  <a:pt x="1004888" y="831056"/>
                </a:lnTo>
                <a:lnTo>
                  <a:pt x="897731" y="792956"/>
                </a:lnTo>
                <a:lnTo>
                  <a:pt x="854869" y="792956"/>
                </a:lnTo>
                <a:lnTo>
                  <a:pt x="802481" y="792956"/>
                </a:lnTo>
                <a:lnTo>
                  <a:pt x="790575" y="807244"/>
                </a:lnTo>
                <a:lnTo>
                  <a:pt x="769144" y="769144"/>
                </a:lnTo>
                <a:lnTo>
                  <a:pt x="719138" y="759619"/>
                </a:lnTo>
                <a:lnTo>
                  <a:pt x="666750" y="721519"/>
                </a:lnTo>
                <a:lnTo>
                  <a:pt x="631031" y="683419"/>
                </a:lnTo>
                <a:lnTo>
                  <a:pt x="626269" y="681037"/>
                </a:lnTo>
                <a:lnTo>
                  <a:pt x="566738" y="673894"/>
                </a:lnTo>
                <a:lnTo>
                  <a:pt x="526256" y="654844"/>
                </a:lnTo>
                <a:lnTo>
                  <a:pt x="471488" y="607219"/>
                </a:lnTo>
                <a:lnTo>
                  <a:pt x="411956" y="540544"/>
                </a:lnTo>
                <a:lnTo>
                  <a:pt x="392906" y="526256"/>
                </a:lnTo>
                <a:lnTo>
                  <a:pt x="333375" y="523875"/>
                </a:lnTo>
                <a:lnTo>
                  <a:pt x="300038" y="504825"/>
                </a:lnTo>
                <a:lnTo>
                  <a:pt x="271463" y="469106"/>
                </a:lnTo>
                <a:lnTo>
                  <a:pt x="164306" y="473869"/>
                </a:lnTo>
                <a:lnTo>
                  <a:pt x="142875" y="490537"/>
                </a:lnTo>
                <a:lnTo>
                  <a:pt x="83344" y="411956"/>
                </a:lnTo>
                <a:lnTo>
                  <a:pt x="52388" y="414337"/>
                </a:lnTo>
                <a:lnTo>
                  <a:pt x="28575" y="378619"/>
                </a:lnTo>
                <a:lnTo>
                  <a:pt x="26194" y="342900"/>
                </a:lnTo>
                <a:lnTo>
                  <a:pt x="4763" y="323850"/>
                </a:lnTo>
                <a:lnTo>
                  <a:pt x="35719" y="295275"/>
                </a:lnTo>
                <a:lnTo>
                  <a:pt x="0" y="266700"/>
                </a:lnTo>
                <a:lnTo>
                  <a:pt x="42863" y="233362"/>
                </a:lnTo>
                <a:cubicBezTo>
                  <a:pt x="43657" y="214312"/>
                  <a:pt x="44450" y="195262"/>
                  <a:pt x="45244" y="176212"/>
                </a:cubicBezTo>
                <a:lnTo>
                  <a:pt x="92869" y="140494"/>
                </a:lnTo>
                <a:lnTo>
                  <a:pt x="140494" y="116681"/>
                </a:lnTo>
                <a:lnTo>
                  <a:pt x="190500" y="76200"/>
                </a:lnTo>
                <a:lnTo>
                  <a:pt x="219075" y="147637"/>
                </a:lnTo>
                <a:lnTo>
                  <a:pt x="273844" y="180975"/>
                </a:lnTo>
                <a:lnTo>
                  <a:pt x="319088" y="154781"/>
                </a:lnTo>
                <a:lnTo>
                  <a:pt x="359569" y="154781"/>
                </a:lnTo>
                <a:lnTo>
                  <a:pt x="357188" y="123825"/>
                </a:lnTo>
                <a:lnTo>
                  <a:pt x="366713" y="69056"/>
                </a:lnTo>
                <a:lnTo>
                  <a:pt x="402431" y="85725"/>
                </a:lnTo>
                <a:lnTo>
                  <a:pt x="447675" y="85725"/>
                </a:lnTo>
                <a:lnTo>
                  <a:pt x="481013" y="54769"/>
                </a:lnTo>
                <a:lnTo>
                  <a:pt x="516731" y="71437"/>
                </a:lnTo>
                <a:lnTo>
                  <a:pt x="528638" y="102394"/>
                </a:lnTo>
                <a:lnTo>
                  <a:pt x="511969" y="133350"/>
                </a:lnTo>
                <a:lnTo>
                  <a:pt x="595313" y="126206"/>
                </a:lnTo>
                <a:lnTo>
                  <a:pt x="595313" y="126206"/>
                </a:lnTo>
                <a:lnTo>
                  <a:pt x="621506" y="159544"/>
                </a:lnTo>
                <a:lnTo>
                  <a:pt x="647700" y="204787"/>
                </a:lnTo>
                <a:lnTo>
                  <a:pt x="726281" y="221456"/>
                </a:lnTo>
                <a:lnTo>
                  <a:pt x="785813" y="211931"/>
                </a:lnTo>
                <a:lnTo>
                  <a:pt x="857250" y="176212"/>
                </a:lnTo>
                <a:lnTo>
                  <a:pt x="888206" y="176212"/>
                </a:lnTo>
                <a:lnTo>
                  <a:pt x="959644" y="192881"/>
                </a:lnTo>
                <a:lnTo>
                  <a:pt x="1059656" y="192881"/>
                </a:lnTo>
                <a:lnTo>
                  <a:pt x="1166813" y="171450"/>
                </a:lnTo>
                <a:lnTo>
                  <a:pt x="1245394" y="119062"/>
                </a:lnTo>
                <a:lnTo>
                  <a:pt x="1273969" y="102394"/>
                </a:lnTo>
                <a:lnTo>
                  <a:pt x="1366838" y="76200"/>
                </a:lnTo>
                <a:lnTo>
                  <a:pt x="1402556" y="114300"/>
                </a:lnTo>
                <a:lnTo>
                  <a:pt x="1462088" y="128587"/>
                </a:lnTo>
                <a:lnTo>
                  <a:pt x="1512094" y="107156"/>
                </a:lnTo>
                <a:lnTo>
                  <a:pt x="1528763" y="61912"/>
                </a:lnTo>
                <a:lnTo>
                  <a:pt x="1585913" y="61912"/>
                </a:lnTo>
                <a:lnTo>
                  <a:pt x="1621631" y="42862"/>
                </a:lnTo>
                <a:lnTo>
                  <a:pt x="1688306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>
              <a:defRPr/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1" name="Figura a mano libera 220"/>
          <p:cNvSpPr/>
          <p:nvPr/>
        </p:nvSpPr>
        <p:spPr bwMode="auto">
          <a:xfrm>
            <a:off x="2918790" y="3705381"/>
            <a:ext cx="704742" cy="667712"/>
          </a:xfrm>
          <a:custGeom>
            <a:avLst/>
            <a:gdLst>
              <a:gd name="connsiteX0" fmla="*/ 0 w 1057275"/>
              <a:gd name="connsiteY0" fmla="*/ 202406 h 1007268"/>
              <a:gd name="connsiteX1" fmla="*/ 21431 w 1057275"/>
              <a:gd name="connsiteY1" fmla="*/ 188118 h 1007268"/>
              <a:gd name="connsiteX2" fmla="*/ 54768 w 1057275"/>
              <a:gd name="connsiteY2" fmla="*/ 145256 h 1007268"/>
              <a:gd name="connsiteX3" fmla="*/ 59531 w 1057275"/>
              <a:gd name="connsiteY3" fmla="*/ 126206 h 1007268"/>
              <a:gd name="connsiteX4" fmla="*/ 64293 w 1057275"/>
              <a:gd name="connsiteY4" fmla="*/ 47625 h 1007268"/>
              <a:gd name="connsiteX5" fmla="*/ 128587 w 1057275"/>
              <a:gd name="connsiteY5" fmla="*/ 30956 h 1007268"/>
              <a:gd name="connsiteX6" fmla="*/ 166687 w 1057275"/>
              <a:gd name="connsiteY6" fmla="*/ 42862 h 1007268"/>
              <a:gd name="connsiteX7" fmla="*/ 173831 w 1057275"/>
              <a:gd name="connsiteY7" fmla="*/ 0 h 1007268"/>
              <a:gd name="connsiteX8" fmla="*/ 247650 w 1057275"/>
              <a:gd name="connsiteY8" fmla="*/ 16668 h 1007268"/>
              <a:gd name="connsiteX9" fmla="*/ 285750 w 1057275"/>
              <a:gd name="connsiteY9" fmla="*/ 40481 h 1007268"/>
              <a:gd name="connsiteX10" fmla="*/ 350043 w 1057275"/>
              <a:gd name="connsiteY10" fmla="*/ 52387 h 1007268"/>
              <a:gd name="connsiteX11" fmla="*/ 369093 w 1057275"/>
              <a:gd name="connsiteY11" fmla="*/ 78581 h 1007268"/>
              <a:gd name="connsiteX12" fmla="*/ 395287 w 1057275"/>
              <a:gd name="connsiteY12" fmla="*/ 92868 h 1007268"/>
              <a:gd name="connsiteX13" fmla="*/ 409575 w 1057275"/>
              <a:gd name="connsiteY13" fmla="*/ 85725 h 1007268"/>
              <a:gd name="connsiteX14" fmla="*/ 416718 w 1057275"/>
              <a:gd name="connsiteY14" fmla="*/ 97631 h 1007268"/>
              <a:gd name="connsiteX15" fmla="*/ 478631 w 1057275"/>
              <a:gd name="connsiteY15" fmla="*/ 66675 h 1007268"/>
              <a:gd name="connsiteX16" fmla="*/ 514350 w 1057275"/>
              <a:gd name="connsiteY16" fmla="*/ 66675 h 1007268"/>
              <a:gd name="connsiteX17" fmla="*/ 514350 w 1057275"/>
              <a:gd name="connsiteY17" fmla="*/ 42862 h 1007268"/>
              <a:gd name="connsiteX18" fmla="*/ 545306 w 1057275"/>
              <a:gd name="connsiteY18" fmla="*/ 54768 h 1007268"/>
              <a:gd name="connsiteX19" fmla="*/ 602456 w 1057275"/>
              <a:gd name="connsiteY19" fmla="*/ 33337 h 1007268"/>
              <a:gd name="connsiteX20" fmla="*/ 635793 w 1057275"/>
              <a:gd name="connsiteY20" fmla="*/ 21431 h 1007268"/>
              <a:gd name="connsiteX21" fmla="*/ 647700 w 1057275"/>
              <a:gd name="connsiteY21" fmla="*/ 50006 h 1007268"/>
              <a:gd name="connsiteX22" fmla="*/ 681037 w 1057275"/>
              <a:gd name="connsiteY22" fmla="*/ 59531 h 1007268"/>
              <a:gd name="connsiteX23" fmla="*/ 650081 w 1057275"/>
              <a:gd name="connsiteY23" fmla="*/ 85725 h 1007268"/>
              <a:gd name="connsiteX24" fmla="*/ 673893 w 1057275"/>
              <a:gd name="connsiteY24" fmla="*/ 123825 h 1007268"/>
              <a:gd name="connsiteX25" fmla="*/ 716756 w 1057275"/>
              <a:gd name="connsiteY25" fmla="*/ 140493 h 1007268"/>
              <a:gd name="connsiteX26" fmla="*/ 754856 w 1057275"/>
              <a:gd name="connsiteY26" fmla="*/ 157162 h 1007268"/>
              <a:gd name="connsiteX27" fmla="*/ 778668 w 1057275"/>
              <a:gd name="connsiteY27" fmla="*/ 176212 h 1007268"/>
              <a:gd name="connsiteX28" fmla="*/ 759618 w 1057275"/>
              <a:gd name="connsiteY28" fmla="*/ 185737 h 1007268"/>
              <a:gd name="connsiteX29" fmla="*/ 759618 w 1057275"/>
              <a:gd name="connsiteY29" fmla="*/ 204787 h 1007268"/>
              <a:gd name="connsiteX30" fmla="*/ 742950 w 1057275"/>
              <a:gd name="connsiteY30" fmla="*/ 226218 h 1007268"/>
              <a:gd name="connsiteX31" fmla="*/ 752475 w 1057275"/>
              <a:gd name="connsiteY31" fmla="*/ 240506 h 1007268"/>
              <a:gd name="connsiteX32" fmla="*/ 778668 w 1057275"/>
              <a:gd name="connsiteY32" fmla="*/ 271462 h 1007268"/>
              <a:gd name="connsiteX33" fmla="*/ 814387 w 1057275"/>
              <a:gd name="connsiteY33" fmla="*/ 276225 h 1007268"/>
              <a:gd name="connsiteX34" fmla="*/ 845343 w 1057275"/>
              <a:gd name="connsiteY34" fmla="*/ 269081 h 1007268"/>
              <a:gd name="connsiteX35" fmla="*/ 885825 w 1057275"/>
              <a:gd name="connsiteY35" fmla="*/ 283368 h 1007268"/>
              <a:gd name="connsiteX36" fmla="*/ 902493 w 1057275"/>
              <a:gd name="connsiteY36" fmla="*/ 290512 h 1007268"/>
              <a:gd name="connsiteX37" fmla="*/ 921543 w 1057275"/>
              <a:gd name="connsiteY37" fmla="*/ 309562 h 1007268"/>
              <a:gd name="connsiteX38" fmla="*/ 923925 w 1057275"/>
              <a:gd name="connsiteY38" fmla="*/ 340518 h 1007268"/>
              <a:gd name="connsiteX39" fmla="*/ 923925 w 1057275"/>
              <a:gd name="connsiteY39" fmla="*/ 378618 h 1007268"/>
              <a:gd name="connsiteX40" fmla="*/ 892968 w 1057275"/>
              <a:gd name="connsiteY40" fmla="*/ 404812 h 1007268"/>
              <a:gd name="connsiteX41" fmla="*/ 831056 w 1057275"/>
              <a:gd name="connsiteY41" fmla="*/ 411956 h 1007268"/>
              <a:gd name="connsiteX42" fmla="*/ 823912 w 1057275"/>
              <a:gd name="connsiteY42" fmla="*/ 435768 h 1007268"/>
              <a:gd name="connsiteX43" fmla="*/ 826293 w 1057275"/>
              <a:gd name="connsiteY43" fmla="*/ 469106 h 1007268"/>
              <a:gd name="connsiteX44" fmla="*/ 828675 w 1057275"/>
              <a:gd name="connsiteY44" fmla="*/ 500062 h 1007268"/>
              <a:gd name="connsiteX45" fmla="*/ 854868 w 1057275"/>
              <a:gd name="connsiteY45" fmla="*/ 538162 h 1007268"/>
              <a:gd name="connsiteX46" fmla="*/ 892968 w 1057275"/>
              <a:gd name="connsiteY46" fmla="*/ 557212 h 1007268"/>
              <a:gd name="connsiteX47" fmla="*/ 864393 w 1057275"/>
              <a:gd name="connsiteY47" fmla="*/ 588168 h 1007268"/>
              <a:gd name="connsiteX48" fmla="*/ 900112 w 1057275"/>
              <a:gd name="connsiteY48" fmla="*/ 621506 h 1007268"/>
              <a:gd name="connsiteX49" fmla="*/ 916781 w 1057275"/>
              <a:gd name="connsiteY49" fmla="*/ 645318 h 1007268"/>
              <a:gd name="connsiteX50" fmla="*/ 923925 w 1057275"/>
              <a:gd name="connsiteY50" fmla="*/ 678656 h 1007268"/>
              <a:gd name="connsiteX51" fmla="*/ 900112 w 1057275"/>
              <a:gd name="connsiteY51" fmla="*/ 681037 h 1007268"/>
              <a:gd name="connsiteX52" fmla="*/ 945356 w 1057275"/>
              <a:gd name="connsiteY52" fmla="*/ 704850 h 1007268"/>
              <a:gd name="connsiteX53" fmla="*/ 985837 w 1057275"/>
              <a:gd name="connsiteY53" fmla="*/ 740568 h 1007268"/>
              <a:gd name="connsiteX54" fmla="*/ 1002506 w 1057275"/>
              <a:gd name="connsiteY54" fmla="*/ 747712 h 1007268"/>
              <a:gd name="connsiteX55" fmla="*/ 1016793 w 1057275"/>
              <a:gd name="connsiteY55" fmla="*/ 790575 h 1007268"/>
              <a:gd name="connsiteX56" fmla="*/ 1054893 w 1057275"/>
              <a:gd name="connsiteY56" fmla="*/ 802481 h 1007268"/>
              <a:gd name="connsiteX57" fmla="*/ 1057275 w 1057275"/>
              <a:gd name="connsiteY57" fmla="*/ 840581 h 1007268"/>
              <a:gd name="connsiteX58" fmla="*/ 1031081 w 1057275"/>
              <a:gd name="connsiteY58" fmla="*/ 862012 h 1007268"/>
              <a:gd name="connsiteX59" fmla="*/ 997743 w 1057275"/>
              <a:gd name="connsiteY59" fmla="*/ 881062 h 1007268"/>
              <a:gd name="connsiteX60" fmla="*/ 1002506 w 1057275"/>
              <a:gd name="connsiteY60" fmla="*/ 921543 h 1007268"/>
              <a:gd name="connsiteX61" fmla="*/ 971550 w 1057275"/>
              <a:gd name="connsiteY61" fmla="*/ 945356 h 1007268"/>
              <a:gd name="connsiteX62" fmla="*/ 928687 w 1057275"/>
              <a:gd name="connsiteY62" fmla="*/ 950118 h 1007268"/>
              <a:gd name="connsiteX63" fmla="*/ 904875 w 1057275"/>
              <a:gd name="connsiteY63" fmla="*/ 950118 h 1007268"/>
              <a:gd name="connsiteX64" fmla="*/ 873918 w 1057275"/>
              <a:gd name="connsiteY64" fmla="*/ 981075 h 1007268"/>
              <a:gd name="connsiteX65" fmla="*/ 845343 w 1057275"/>
              <a:gd name="connsiteY65" fmla="*/ 1007268 h 1007268"/>
              <a:gd name="connsiteX66" fmla="*/ 797718 w 1057275"/>
              <a:gd name="connsiteY66" fmla="*/ 983456 h 1007268"/>
              <a:gd name="connsiteX67" fmla="*/ 776287 w 1057275"/>
              <a:gd name="connsiteY67" fmla="*/ 954881 h 1007268"/>
              <a:gd name="connsiteX68" fmla="*/ 738187 w 1057275"/>
              <a:gd name="connsiteY68" fmla="*/ 921543 h 1007268"/>
              <a:gd name="connsiteX69" fmla="*/ 742950 w 1057275"/>
              <a:gd name="connsiteY69" fmla="*/ 904875 h 1007268"/>
              <a:gd name="connsiteX70" fmla="*/ 711993 w 1057275"/>
              <a:gd name="connsiteY70" fmla="*/ 907256 h 1007268"/>
              <a:gd name="connsiteX71" fmla="*/ 714375 w 1057275"/>
              <a:gd name="connsiteY71" fmla="*/ 871537 h 1007268"/>
              <a:gd name="connsiteX72" fmla="*/ 678656 w 1057275"/>
              <a:gd name="connsiteY72" fmla="*/ 892968 h 1007268"/>
              <a:gd name="connsiteX73" fmla="*/ 661987 w 1057275"/>
              <a:gd name="connsiteY73" fmla="*/ 885825 h 1007268"/>
              <a:gd name="connsiteX74" fmla="*/ 626268 w 1057275"/>
              <a:gd name="connsiteY74" fmla="*/ 847725 h 1007268"/>
              <a:gd name="connsiteX75" fmla="*/ 600075 w 1057275"/>
              <a:gd name="connsiteY75" fmla="*/ 850106 h 1007268"/>
              <a:gd name="connsiteX76" fmla="*/ 600075 w 1057275"/>
              <a:gd name="connsiteY76" fmla="*/ 850106 h 1007268"/>
              <a:gd name="connsiteX77" fmla="*/ 611981 w 1057275"/>
              <a:gd name="connsiteY77" fmla="*/ 821531 h 1007268"/>
              <a:gd name="connsiteX78" fmla="*/ 614362 w 1057275"/>
              <a:gd name="connsiteY78" fmla="*/ 781050 h 1007268"/>
              <a:gd name="connsiteX79" fmla="*/ 640556 w 1057275"/>
              <a:gd name="connsiteY79" fmla="*/ 754856 h 1007268"/>
              <a:gd name="connsiteX80" fmla="*/ 621506 w 1057275"/>
              <a:gd name="connsiteY80" fmla="*/ 721518 h 1007268"/>
              <a:gd name="connsiteX81" fmla="*/ 597693 w 1057275"/>
              <a:gd name="connsiteY81" fmla="*/ 671512 h 1007268"/>
              <a:gd name="connsiteX82" fmla="*/ 573881 w 1057275"/>
              <a:gd name="connsiteY82" fmla="*/ 619125 h 1007268"/>
              <a:gd name="connsiteX83" fmla="*/ 526256 w 1057275"/>
              <a:gd name="connsiteY83" fmla="*/ 561975 h 1007268"/>
              <a:gd name="connsiteX84" fmla="*/ 504825 w 1057275"/>
              <a:gd name="connsiteY84" fmla="*/ 545306 h 1007268"/>
              <a:gd name="connsiteX85" fmla="*/ 492918 w 1057275"/>
              <a:gd name="connsiteY85" fmla="*/ 545306 h 1007268"/>
              <a:gd name="connsiteX86" fmla="*/ 481012 w 1057275"/>
              <a:gd name="connsiteY86" fmla="*/ 573881 h 1007268"/>
              <a:gd name="connsiteX87" fmla="*/ 476250 w 1057275"/>
              <a:gd name="connsiteY87" fmla="*/ 583406 h 1007268"/>
              <a:gd name="connsiteX88" fmla="*/ 445293 w 1057275"/>
              <a:gd name="connsiteY88" fmla="*/ 566737 h 1007268"/>
              <a:gd name="connsiteX89" fmla="*/ 404812 w 1057275"/>
              <a:gd name="connsiteY89" fmla="*/ 592931 h 1007268"/>
              <a:gd name="connsiteX90" fmla="*/ 402431 w 1057275"/>
              <a:gd name="connsiteY90" fmla="*/ 600075 h 1007268"/>
              <a:gd name="connsiteX91" fmla="*/ 373856 w 1057275"/>
              <a:gd name="connsiteY91" fmla="*/ 592931 h 1007268"/>
              <a:gd name="connsiteX92" fmla="*/ 345281 w 1057275"/>
              <a:gd name="connsiteY92" fmla="*/ 588168 h 1007268"/>
              <a:gd name="connsiteX93" fmla="*/ 316706 w 1057275"/>
              <a:gd name="connsiteY93" fmla="*/ 602456 h 1007268"/>
              <a:gd name="connsiteX94" fmla="*/ 290512 w 1057275"/>
              <a:gd name="connsiteY94" fmla="*/ 626268 h 1007268"/>
              <a:gd name="connsiteX95" fmla="*/ 273843 w 1057275"/>
              <a:gd name="connsiteY95" fmla="*/ 619125 h 1007268"/>
              <a:gd name="connsiteX96" fmla="*/ 300037 w 1057275"/>
              <a:gd name="connsiteY96" fmla="*/ 581025 h 1007268"/>
              <a:gd name="connsiteX97" fmla="*/ 357187 w 1057275"/>
              <a:gd name="connsiteY97" fmla="*/ 545306 h 1007268"/>
              <a:gd name="connsiteX98" fmla="*/ 369093 w 1057275"/>
              <a:gd name="connsiteY98" fmla="*/ 526256 h 1007268"/>
              <a:gd name="connsiteX99" fmla="*/ 340518 w 1057275"/>
              <a:gd name="connsiteY99" fmla="*/ 495300 h 1007268"/>
              <a:gd name="connsiteX100" fmla="*/ 321468 w 1057275"/>
              <a:gd name="connsiteY100" fmla="*/ 502443 h 1007268"/>
              <a:gd name="connsiteX101" fmla="*/ 266700 w 1057275"/>
              <a:gd name="connsiteY101" fmla="*/ 447675 h 1007268"/>
              <a:gd name="connsiteX102" fmla="*/ 266700 w 1057275"/>
              <a:gd name="connsiteY102" fmla="*/ 447675 h 1007268"/>
              <a:gd name="connsiteX103" fmla="*/ 216693 w 1057275"/>
              <a:gd name="connsiteY103" fmla="*/ 459581 h 1007268"/>
              <a:gd name="connsiteX104" fmla="*/ 216693 w 1057275"/>
              <a:gd name="connsiteY104" fmla="*/ 459581 h 1007268"/>
              <a:gd name="connsiteX105" fmla="*/ 197643 w 1057275"/>
              <a:gd name="connsiteY105" fmla="*/ 464343 h 1007268"/>
              <a:gd name="connsiteX106" fmla="*/ 178593 w 1057275"/>
              <a:gd name="connsiteY106" fmla="*/ 447675 h 1007268"/>
              <a:gd name="connsiteX107" fmla="*/ 176212 w 1057275"/>
              <a:gd name="connsiteY107" fmla="*/ 433387 h 1007268"/>
              <a:gd name="connsiteX108" fmla="*/ 166687 w 1057275"/>
              <a:gd name="connsiteY108" fmla="*/ 459581 h 1007268"/>
              <a:gd name="connsiteX109" fmla="*/ 164306 w 1057275"/>
              <a:gd name="connsiteY109" fmla="*/ 483393 h 1007268"/>
              <a:gd name="connsiteX110" fmla="*/ 164306 w 1057275"/>
              <a:gd name="connsiteY110" fmla="*/ 483393 h 1007268"/>
              <a:gd name="connsiteX111" fmla="*/ 126206 w 1057275"/>
              <a:gd name="connsiteY111" fmla="*/ 507206 h 1007268"/>
              <a:gd name="connsiteX112" fmla="*/ 111918 w 1057275"/>
              <a:gd name="connsiteY112" fmla="*/ 497681 h 1007268"/>
              <a:gd name="connsiteX113" fmla="*/ 138112 w 1057275"/>
              <a:gd name="connsiteY113" fmla="*/ 464343 h 1007268"/>
              <a:gd name="connsiteX114" fmla="*/ 135731 w 1057275"/>
              <a:gd name="connsiteY114" fmla="*/ 409575 h 1007268"/>
              <a:gd name="connsiteX115" fmla="*/ 102393 w 1057275"/>
              <a:gd name="connsiteY115" fmla="*/ 373856 h 1007268"/>
              <a:gd name="connsiteX116" fmla="*/ 80962 w 1057275"/>
              <a:gd name="connsiteY116" fmla="*/ 302418 h 1007268"/>
              <a:gd name="connsiteX117" fmla="*/ 30956 w 1057275"/>
              <a:gd name="connsiteY117" fmla="*/ 247650 h 1007268"/>
              <a:gd name="connsiteX118" fmla="*/ 0 w 1057275"/>
              <a:gd name="connsiteY118" fmla="*/ 202406 h 1007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1057275" h="1007268">
                <a:moveTo>
                  <a:pt x="0" y="202406"/>
                </a:moveTo>
                <a:lnTo>
                  <a:pt x="21431" y="188118"/>
                </a:lnTo>
                <a:lnTo>
                  <a:pt x="54768" y="145256"/>
                </a:lnTo>
                <a:lnTo>
                  <a:pt x="59531" y="126206"/>
                </a:lnTo>
                <a:lnTo>
                  <a:pt x="64293" y="47625"/>
                </a:lnTo>
                <a:lnTo>
                  <a:pt x="128587" y="30956"/>
                </a:lnTo>
                <a:lnTo>
                  <a:pt x="166687" y="42862"/>
                </a:lnTo>
                <a:lnTo>
                  <a:pt x="173831" y="0"/>
                </a:lnTo>
                <a:lnTo>
                  <a:pt x="247650" y="16668"/>
                </a:lnTo>
                <a:lnTo>
                  <a:pt x="285750" y="40481"/>
                </a:lnTo>
                <a:lnTo>
                  <a:pt x="350043" y="52387"/>
                </a:lnTo>
                <a:lnTo>
                  <a:pt x="369093" y="78581"/>
                </a:lnTo>
                <a:lnTo>
                  <a:pt x="395287" y="92868"/>
                </a:lnTo>
                <a:lnTo>
                  <a:pt x="409575" y="85725"/>
                </a:lnTo>
                <a:lnTo>
                  <a:pt x="416718" y="97631"/>
                </a:lnTo>
                <a:lnTo>
                  <a:pt x="478631" y="66675"/>
                </a:lnTo>
                <a:lnTo>
                  <a:pt x="514350" y="66675"/>
                </a:lnTo>
                <a:lnTo>
                  <a:pt x="514350" y="42862"/>
                </a:lnTo>
                <a:lnTo>
                  <a:pt x="545306" y="54768"/>
                </a:lnTo>
                <a:lnTo>
                  <a:pt x="602456" y="33337"/>
                </a:lnTo>
                <a:lnTo>
                  <a:pt x="635793" y="21431"/>
                </a:lnTo>
                <a:lnTo>
                  <a:pt x="647700" y="50006"/>
                </a:lnTo>
                <a:lnTo>
                  <a:pt x="681037" y="59531"/>
                </a:lnTo>
                <a:lnTo>
                  <a:pt x="650081" y="85725"/>
                </a:lnTo>
                <a:lnTo>
                  <a:pt x="673893" y="123825"/>
                </a:lnTo>
                <a:lnTo>
                  <a:pt x="716756" y="140493"/>
                </a:lnTo>
                <a:lnTo>
                  <a:pt x="754856" y="157162"/>
                </a:lnTo>
                <a:lnTo>
                  <a:pt x="778668" y="176212"/>
                </a:lnTo>
                <a:lnTo>
                  <a:pt x="759618" y="185737"/>
                </a:lnTo>
                <a:lnTo>
                  <a:pt x="759618" y="204787"/>
                </a:lnTo>
                <a:lnTo>
                  <a:pt x="742950" y="226218"/>
                </a:lnTo>
                <a:lnTo>
                  <a:pt x="752475" y="240506"/>
                </a:lnTo>
                <a:lnTo>
                  <a:pt x="778668" y="271462"/>
                </a:lnTo>
                <a:lnTo>
                  <a:pt x="814387" y="276225"/>
                </a:lnTo>
                <a:lnTo>
                  <a:pt x="845343" y="269081"/>
                </a:lnTo>
                <a:lnTo>
                  <a:pt x="885825" y="283368"/>
                </a:lnTo>
                <a:lnTo>
                  <a:pt x="902493" y="290512"/>
                </a:lnTo>
                <a:lnTo>
                  <a:pt x="921543" y="309562"/>
                </a:lnTo>
                <a:lnTo>
                  <a:pt x="923925" y="340518"/>
                </a:lnTo>
                <a:lnTo>
                  <a:pt x="923925" y="378618"/>
                </a:lnTo>
                <a:lnTo>
                  <a:pt x="892968" y="404812"/>
                </a:lnTo>
                <a:lnTo>
                  <a:pt x="831056" y="411956"/>
                </a:lnTo>
                <a:lnTo>
                  <a:pt x="823912" y="435768"/>
                </a:lnTo>
                <a:lnTo>
                  <a:pt x="826293" y="469106"/>
                </a:lnTo>
                <a:lnTo>
                  <a:pt x="828675" y="500062"/>
                </a:lnTo>
                <a:lnTo>
                  <a:pt x="854868" y="538162"/>
                </a:lnTo>
                <a:lnTo>
                  <a:pt x="892968" y="557212"/>
                </a:lnTo>
                <a:lnTo>
                  <a:pt x="864393" y="588168"/>
                </a:lnTo>
                <a:lnTo>
                  <a:pt x="900112" y="621506"/>
                </a:lnTo>
                <a:lnTo>
                  <a:pt x="916781" y="645318"/>
                </a:lnTo>
                <a:lnTo>
                  <a:pt x="923925" y="678656"/>
                </a:lnTo>
                <a:lnTo>
                  <a:pt x="900112" y="681037"/>
                </a:lnTo>
                <a:lnTo>
                  <a:pt x="945356" y="704850"/>
                </a:lnTo>
                <a:lnTo>
                  <a:pt x="985837" y="740568"/>
                </a:lnTo>
                <a:lnTo>
                  <a:pt x="1002506" y="747712"/>
                </a:lnTo>
                <a:lnTo>
                  <a:pt x="1016793" y="790575"/>
                </a:lnTo>
                <a:lnTo>
                  <a:pt x="1054893" y="802481"/>
                </a:lnTo>
                <a:lnTo>
                  <a:pt x="1057275" y="840581"/>
                </a:lnTo>
                <a:lnTo>
                  <a:pt x="1031081" y="862012"/>
                </a:lnTo>
                <a:lnTo>
                  <a:pt x="997743" y="881062"/>
                </a:lnTo>
                <a:lnTo>
                  <a:pt x="1002506" y="921543"/>
                </a:lnTo>
                <a:lnTo>
                  <a:pt x="971550" y="945356"/>
                </a:lnTo>
                <a:lnTo>
                  <a:pt x="928687" y="950118"/>
                </a:lnTo>
                <a:lnTo>
                  <a:pt x="904875" y="950118"/>
                </a:lnTo>
                <a:lnTo>
                  <a:pt x="873918" y="981075"/>
                </a:lnTo>
                <a:lnTo>
                  <a:pt x="845343" y="1007268"/>
                </a:lnTo>
                <a:lnTo>
                  <a:pt x="797718" y="983456"/>
                </a:lnTo>
                <a:lnTo>
                  <a:pt x="776287" y="954881"/>
                </a:lnTo>
                <a:lnTo>
                  <a:pt x="738187" y="921543"/>
                </a:lnTo>
                <a:lnTo>
                  <a:pt x="742950" y="904875"/>
                </a:lnTo>
                <a:lnTo>
                  <a:pt x="711993" y="907256"/>
                </a:lnTo>
                <a:lnTo>
                  <a:pt x="714375" y="871537"/>
                </a:lnTo>
                <a:lnTo>
                  <a:pt x="678656" y="892968"/>
                </a:lnTo>
                <a:lnTo>
                  <a:pt x="661987" y="885825"/>
                </a:lnTo>
                <a:lnTo>
                  <a:pt x="626268" y="847725"/>
                </a:lnTo>
                <a:lnTo>
                  <a:pt x="600075" y="850106"/>
                </a:lnTo>
                <a:lnTo>
                  <a:pt x="600075" y="850106"/>
                </a:lnTo>
                <a:lnTo>
                  <a:pt x="611981" y="821531"/>
                </a:lnTo>
                <a:lnTo>
                  <a:pt x="614362" y="781050"/>
                </a:lnTo>
                <a:lnTo>
                  <a:pt x="640556" y="754856"/>
                </a:lnTo>
                <a:lnTo>
                  <a:pt x="621506" y="721518"/>
                </a:lnTo>
                <a:lnTo>
                  <a:pt x="597693" y="671512"/>
                </a:lnTo>
                <a:lnTo>
                  <a:pt x="573881" y="619125"/>
                </a:lnTo>
                <a:lnTo>
                  <a:pt x="526256" y="561975"/>
                </a:lnTo>
                <a:lnTo>
                  <a:pt x="504825" y="545306"/>
                </a:lnTo>
                <a:lnTo>
                  <a:pt x="492918" y="545306"/>
                </a:lnTo>
                <a:lnTo>
                  <a:pt x="481012" y="573881"/>
                </a:lnTo>
                <a:lnTo>
                  <a:pt x="476250" y="583406"/>
                </a:lnTo>
                <a:lnTo>
                  <a:pt x="445293" y="566737"/>
                </a:lnTo>
                <a:lnTo>
                  <a:pt x="404812" y="592931"/>
                </a:lnTo>
                <a:lnTo>
                  <a:pt x="402431" y="600075"/>
                </a:lnTo>
                <a:lnTo>
                  <a:pt x="373856" y="592931"/>
                </a:lnTo>
                <a:lnTo>
                  <a:pt x="345281" y="588168"/>
                </a:lnTo>
                <a:lnTo>
                  <a:pt x="316706" y="602456"/>
                </a:lnTo>
                <a:lnTo>
                  <a:pt x="290512" y="626268"/>
                </a:lnTo>
                <a:lnTo>
                  <a:pt x="273843" y="619125"/>
                </a:lnTo>
                <a:lnTo>
                  <a:pt x="300037" y="581025"/>
                </a:lnTo>
                <a:lnTo>
                  <a:pt x="357187" y="545306"/>
                </a:lnTo>
                <a:lnTo>
                  <a:pt x="369093" y="526256"/>
                </a:lnTo>
                <a:lnTo>
                  <a:pt x="340518" y="495300"/>
                </a:lnTo>
                <a:lnTo>
                  <a:pt x="321468" y="502443"/>
                </a:lnTo>
                <a:lnTo>
                  <a:pt x="266700" y="447675"/>
                </a:lnTo>
                <a:lnTo>
                  <a:pt x="266700" y="447675"/>
                </a:lnTo>
                <a:lnTo>
                  <a:pt x="216693" y="459581"/>
                </a:lnTo>
                <a:lnTo>
                  <a:pt x="216693" y="459581"/>
                </a:lnTo>
                <a:lnTo>
                  <a:pt x="197643" y="464343"/>
                </a:lnTo>
                <a:lnTo>
                  <a:pt x="178593" y="447675"/>
                </a:lnTo>
                <a:lnTo>
                  <a:pt x="176212" y="433387"/>
                </a:lnTo>
                <a:lnTo>
                  <a:pt x="166687" y="459581"/>
                </a:lnTo>
                <a:lnTo>
                  <a:pt x="164306" y="483393"/>
                </a:lnTo>
                <a:lnTo>
                  <a:pt x="164306" y="483393"/>
                </a:lnTo>
                <a:lnTo>
                  <a:pt x="126206" y="507206"/>
                </a:lnTo>
                <a:lnTo>
                  <a:pt x="111918" y="497681"/>
                </a:lnTo>
                <a:lnTo>
                  <a:pt x="138112" y="464343"/>
                </a:lnTo>
                <a:lnTo>
                  <a:pt x="135731" y="409575"/>
                </a:lnTo>
                <a:lnTo>
                  <a:pt x="102393" y="373856"/>
                </a:lnTo>
                <a:lnTo>
                  <a:pt x="80962" y="302418"/>
                </a:lnTo>
                <a:lnTo>
                  <a:pt x="30956" y="247650"/>
                </a:lnTo>
                <a:lnTo>
                  <a:pt x="0" y="202406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>
              <a:defRPr/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2" name="Figura a mano libera 221"/>
          <p:cNvSpPr/>
          <p:nvPr/>
        </p:nvSpPr>
        <p:spPr bwMode="auto">
          <a:xfrm>
            <a:off x="3469523" y="3865780"/>
            <a:ext cx="519932" cy="544615"/>
          </a:xfrm>
          <a:custGeom>
            <a:avLst/>
            <a:gdLst>
              <a:gd name="connsiteX0" fmla="*/ 676275 w 778669"/>
              <a:gd name="connsiteY0" fmla="*/ 666750 h 819150"/>
              <a:gd name="connsiteX1" fmla="*/ 721519 w 778669"/>
              <a:gd name="connsiteY1" fmla="*/ 616744 h 819150"/>
              <a:gd name="connsiteX2" fmla="*/ 723900 w 778669"/>
              <a:gd name="connsiteY2" fmla="*/ 585788 h 819150"/>
              <a:gd name="connsiteX3" fmla="*/ 745332 w 778669"/>
              <a:gd name="connsiteY3" fmla="*/ 545306 h 819150"/>
              <a:gd name="connsiteX4" fmla="*/ 778669 w 778669"/>
              <a:gd name="connsiteY4" fmla="*/ 483394 h 819150"/>
              <a:gd name="connsiteX5" fmla="*/ 762000 w 778669"/>
              <a:gd name="connsiteY5" fmla="*/ 471488 h 819150"/>
              <a:gd name="connsiteX6" fmla="*/ 740569 w 778669"/>
              <a:gd name="connsiteY6" fmla="*/ 435769 h 819150"/>
              <a:gd name="connsiteX7" fmla="*/ 714375 w 778669"/>
              <a:gd name="connsiteY7" fmla="*/ 447675 h 819150"/>
              <a:gd name="connsiteX8" fmla="*/ 707232 w 778669"/>
              <a:gd name="connsiteY8" fmla="*/ 404813 h 819150"/>
              <a:gd name="connsiteX9" fmla="*/ 702469 w 778669"/>
              <a:gd name="connsiteY9" fmla="*/ 335756 h 819150"/>
              <a:gd name="connsiteX10" fmla="*/ 711994 w 778669"/>
              <a:gd name="connsiteY10" fmla="*/ 292894 h 819150"/>
              <a:gd name="connsiteX11" fmla="*/ 700088 w 778669"/>
              <a:gd name="connsiteY11" fmla="*/ 266700 h 819150"/>
              <a:gd name="connsiteX12" fmla="*/ 676275 w 778669"/>
              <a:gd name="connsiteY12" fmla="*/ 261938 h 819150"/>
              <a:gd name="connsiteX13" fmla="*/ 640557 w 778669"/>
              <a:gd name="connsiteY13" fmla="*/ 247650 h 819150"/>
              <a:gd name="connsiteX14" fmla="*/ 597694 w 778669"/>
              <a:gd name="connsiteY14" fmla="*/ 247650 h 819150"/>
              <a:gd name="connsiteX15" fmla="*/ 578644 w 778669"/>
              <a:gd name="connsiteY15" fmla="*/ 257175 h 819150"/>
              <a:gd name="connsiteX16" fmla="*/ 554832 w 778669"/>
              <a:gd name="connsiteY16" fmla="*/ 278606 h 819150"/>
              <a:gd name="connsiteX17" fmla="*/ 557213 w 778669"/>
              <a:gd name="connsiteY17" fmla="*/ 302419 h 819150"/>
              <a:gd name="connsiteX18" fmla="*/ 531019 w 778669"/>
              <a:gd name="connsiteY18" fmla="*/ 261938 h 819150"/>
              <a:gd name="connsiteX19" fmla="*/ 478632 w 778669"/>
              <a:gd name="connsiteY19" fmla="*/ 226219 h 819150"/>
              <a:gd name="connsiteX20" fmla="*/ 454819 w 778669"/>
              <a:gd name="connsiteY20" fmla="*/ 190500 h 819150"/>
              <a:gd name="connsiteX21" fmla="*/ 440532 w 778669"/>
              <a:gd name="connsiteY21" fmla="*/ 142875 h 819150"/>
              <a:gd name="connsiteX22" fmla="*/ 404813 w 778669"/>
              <a:gd name="connsiteY22" fmla="*/ 138113 h 819150"/>
              <a:gd name="connsiteX23" fmla="*/ 397669 w 778669"/>
              <a:gd name="connsiteY23" fmla="*/ 166688 h 819150"/>
              <a:gd name="connsiteX24" fmla="*/ 361950 w 778669"/>
              <a:gd name="connsiteY24" fmla="*/ 145256 h 819150"/>
              <a:gd name="connsiteX25" fmla="*/ 326232 w 778669"/>
              <a:gd name="connsiteY25" fmla="*/ 123825 h 819150"/>
              <a:gd name="connsiteX26" fmla="*/ 304800 w 778669"/>
              <a:gd name="connsiteY26" fmla="*/ 123825 h 819150"/>
              <a:gd name="connsiteX27" fmla="*/ 333375 w 778669"/>
              <a:gd name="connsiteY27" fmla="*/ 109538 h 819150"/>
              <a:gd name="connsiteX28" fmla="*/ 335757 w 778669"/>
              <a:gd name="connsiteY28" fmla="*/ 95250 h 819150"/>
              <a:gd name="connsiteX29" fmla="*/ 342900 w 778669"/>
              <a:gd name="connsiteY29" fmla="*/ 59531 h 819150"/>
              <a:gd name="connsiteX30" fmla="*/ 307182 w 778669"/>
              <a:gd name="connsiteY30" fmla="*/ 52388 h 819150"/>
              <a:gd name="connsiteX31" fmla="*/ 297657 w 778669"/>
              <a:gd name="connsiteY31" fmla="*/ 21431 h 819150"/>
              <a:gd name="connsiteX32" fmla="*/ 245269 w 778669"/>
              <a:gd name="connsiteY32" fmla="*/ 0 h 819150"/>
              <a:gd name="connsiteX33" fmla="*/ 230982 w 778669"/>
              <a:gd name="connsiteY33" fmla="*/ 26194 h 819150"/>
              <a:gd name="connsiteX34" fmla="*/ 173832 w 778669"/>
              <a:gd name="connsiteY34" fmla="*/ 40481 h 819150"/>
              <a:gd name="connsiteX35" fmla="*/ 159544 w 778669"/>
              <a:gd name="connsiteY35" fmla="*/ 40481 h 819150"/>
              <a:gd name="connsiteX36" fmla="*/ 128588 w 778669"/>
              <a:gd name="connsiteY36" fmla="*/ 40481 h 819150"/>
              <a:gd name="connsiteX37" fmla="*/ 100013 w 778669"/>
              <a:gd name="connsiteY37" fmla="*/ 47625 h 819150"/>
              <a:gd name="connsiteX38" fmla="*/ 102394 w 778669"/>
              <a:gd name="connsiteY38" fmla="*/ 69056 h 819150"/>
              <a:gd name="connsiteX39" fmla="*/ 92869 w 778669"/>
              <a:gd name="connsiteY39" fmla="*/ 116681 h 819150"/>
              <a:gd name="connsiteX40" fmla="*/ 100013 w 778669"/>
              <a:gd name="connsiteY40" fmla="*/ 147638 h 819150"/>
              <a:gd name="connsiteX41" fmla="*/ 69057 w 778669"/>
              <a:gd name="connsiteY41" fmla="*/ 159544 h 819150"/>
              <a:gd name="connsiteX42" fmla="*/ 11907 w 778669"/>
              <a:gd name="connsiteY42" fmla="*/ 169069 h 819150"/>
              <a:gd name="connsiteX43" fmla="*/ 0 w 778669"/>
              <a:gd name="connsiteY43" fmla="*/ 192881 h 819150"/>
              <a:gd name="connsiteX44" fmla="*/ 14288 w 778669"/>
              <a:gd name="connsiteY44" fmla="*/ 259556 h 819150"/>
              <a:gd name="connsiteX45" fmla="*/ 38100 w 778669"/>
              <a:gd name="connsiteY45" fmla="*/ 300038 h 819150"/>
              <a:gd name="connsiteX46" fmla="*/ 69057 w 778669"/>
              <a:gd name="connsiteY46" fmla="*/ 309563 h 819150"/>
              <a:gd name="connsiteX47" fmla="*/ 45244 w 778669"/>
              <a:gd name="connsiteY47" fmla="*/ 338138 h 819150"/>
              <a:gd name="connsiteX48" fmla="*/ 54769 w 778669"/>
              <a:gd name="connsiteY48" fmla="*/ 361950 h 819150"/>
              <a:gd name="connsiteX49" fmla="*/ 90488 w 778669"/>
              <a:gd name="connsiteY49" fmla="*/ 409575 h 819150"/>
              <a:gd name="connsiteX50" fmla="*/ 107157 w 778669"/>
              <a:gd name="connsiteY50" fmla="*/ 435769 h 819150"/>
              <a:gd name="connsiteX51" fmla="*/ 85725 w 778669"/>
              <a:gd name="connsiteY51" fmla="*/ 445294 h 819150"/>
              <a:gd name="connsiteX52" fmla="*/ 150019 w 778669"/>
              <a:gd name="connsiteY52" fmla="*/ 488156 h 819150"/>
              <a:gd name="connsiteX53" fmla="*/ 164307 w 778669"/>
              <a:gd name="connsiteY53" fmla="*/ 497681 h 819150"/>
              <a:gd name="connsiteX54" fmla="*/ 164307 w 778669"/>
              <a:gd name="connsiteY54" fmla="*/ 497681 h 819150"/>
              <a:gd name="connsiteX55" fmla="*/ 192882 w 778669"/>
              <a:gd name="connsiteY55" fmla="*/ 545306 h 819150"/>
              <a:gd name="connsiteX56" fmla="*/ 238125 w 778669"/>
              <a:gd name="connsiteY56" fmla="*/ 561975 h 819150"/>
              <a:gd name="connsiteX57" fmla="*/ 235744 w 778669"/>
              <a:gd name="connsiteY57" fmla="*/ 604838 h 819150"/>
              <a:gd name="connsiteX58" fmla="*/ 185738 w 778669"/>
              <a:gd name="connsiteY58" fmla="*/ 621506 h 819150"/>
              <a:gd name="connsiteX59" fmla="*/ 178594 w 778669"/>
              <a:gd name="connsiteY59" fmla="*/ 659606 h 819150"/>
              <a:gd name="connsiteX60" fmla="*/ 183357 w 778669"/>
              <a:gd name="connsiteY60" fmla="*/ 681038 h 819150"/>
              <a:gd name="connsiteX61" fmla="*/ 133350 w 778669"/>
              <a:gd name="connsiteY61" fmla="*/ 711994 h 819150"/>
              <a:gd name="connsiteX62" fmla="*/ 161925 w 778669"/>
              <a:gd name="connsiteY62" fmla="*/ 735806 h 819150"/>
              <a:gd name="connsiteX63" fmla="*/ 164307 w 778669"/>
              <a:gd name="connsiteY63" fmla="*/ 754856 h 819150"/>
              <a:gd name="connsiteX64" fmla="*/ 178594 w 778669"/>
              <a:gd name="connsiteY64" fmla="*/ 778669 h 819150"/>
              <a:gd name="connsiteX65" fmla="*/ 202407 w 778669"/>
              <a:gd name="connsiteY65" fmla="*/ 802481 h 819150"/>
              <a:gd name="connsiteX66" fmla="*/ 211932 w 778669"/>
              <a:gd name="connsiteY66" fmla="*/ 807244 h 819150"/>
              <a:gd name="connsiteX67" fmla="*/ 242888 w 778669"/>
              <a:gd name="connsiteY67" fmla="*/ 752475 h 819150"/>
              <a:gd name="connsiteX68" fmla="*/ 261938 w 778669"/>
              <a:gd name="connsiteY68" fmla="*/ 773906 h 819150"/>
              <a:gd name="connsiteX69" fmla="*/ 328613 w 778669"/>
              <a:gd name="connsiteY69" fmla="*/ 752475 h 819150"/>
              <a:gd name="connsiteX70" fmla="*/ 390525 w 778669"/>
              <a:gd name="connsiteY70" fmla="*/ 819150 h 819150"/>
              <a:gd name="connsiteX71" fmla="*/ 478632 w 778669"/>
              <a:gd name="connsiteY71" fmla="*/ 819150 h 819150"/>
              <a:gd name="connsiteX72" fmla="*/ 514350 w 778669"/>
              <a:gd name="connsiteY72" fmla="*/ 788194 h 819150"/>
              <a:gd name="connsiteX73" fmla="*/ 528638 w 778669"/>
              <a:gd name="connsiteY73" fmla="*/ 804863 h 819150"/>
              <a:gd name="connsiteX74" fmla="*/ 528638 w 778669"/>
              <a:gd name="connsiteY74" fmla="*/ 709613 h 819150"/>
              <a:gd name="connsiteX75" fmla="*/ 547688 w 778669"/>
              <a:gd name="connsiteY75" fmla="*/ 664369 h 819150"/>
              <a:gd name="connsiteX76" fmla="*/ 590550 w 778669"/>
              <a:gd name="connsiteY76" fmla="*/ 661988 h 819150"/>
              <a:gd name="connsiteX77" fmla="*/ 676275 w 778669"/>
              <a:gd name="connsiteY77" fmla="*/ 666750 h 8191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778669" h="819150">
                <a:moveTo>
                  <a:pt x="676275" y="666750"/>
                </a:moveTo>
                <a:lnTo>
                  <a:pt x="721519" y="616744"/>
                </a:lnTo>
                <a:lnTo>
                  <a:pt x="723900" y="585788"/>
                </a:lnTo>
                <a:lnTo>
                  <a:pt x="745332" y="545306"/>
                </a:lnTo>
                <a:lnTo>
                  <a:pt x="778669" y="483394"/>
                </a:lnTo>
                <a:lnTo>
                  <a:pt x="762000" y="471488"/>
                </a:lnTo>
                <a:lnTo>
                  <a:pt x="740569" y="435769"/>
                </a:lnTo>
                <a:lnTo>
                  <a:pt x="714375" y="447675"/>
                </a:lnTo>
                <a:lnTo>
                  <a:pt x="707232" y="404813"/>
                </a:lnTo>
                <a:lnTo>
                  <a:pt x="702469" y="335756"/>
                </a:lnTo>
                <a:lnTo>
                  <a:pt x="711994" y="292894"/>
                </a:lnTo>
                <a:lnTo>
                  <a:pt x="700088" y="266700"/>
                </a:lnTo>
                <a:lnTo>
                  <a:pt x="676275" y="261938"/>
                </a:lnTo>
                <a:lnTo>
                  <a:pt x="640557" y="247650"/>
                </a:lnTo>
                <a:lnTo>
                  <a:pt x="597694" y="247650"/>
                </a:lnTo>
                <a:lnTo>
                  <a:pt x="578644" y="257175"/>
                </a:lnTo>
                <a:lnTo>
                  <a:pt x="554832" y="278606"/>
                </a:lnTo>
                <a:lnTo>
                  <a:pt x="557213" y="302419"/>
                </a:lnTo>
                <a:lnTo>
                  <a:pt x="531019" y="261938"/>
                </a:lnTo>
                <a:lnTo>
                  <a:pt x="478632" y="226219"/>
                </a:lnTo>
                <a:lnTo>
                  <a:pt x="454819" y="190500"/>
                </a:lnTo>
                <a:lnTo>
                  <a:pt x="440532" y="142875"/>
                </a:lnTo>
                <a:lnTo>
                  <a:pt x="404813" y="138113"/>
                </a:lnTo>
                <a:lnTo>
                  <a:pt x="397669" y="166688"/>
                </a:lnTo>
                <a:lnTo>
                  <a:pt x="361950" y="145256"/>
                </a:lnTo>
                <a:lnTo>
                  <a:pt x="326232" y="123825"/>
                </a:lnTo>
                <a:lnTo>
                  <a:pt x="304800" y="123825"/>
                </a:lnTo>
                <a:lnTo>
                  <a:pt x="333375" y="109538"/>
                </a:lnTo>
                <a:lnTo>
                  <a:pt x="335757" y="95250"/>
                </a:lnTo>
                <a:lnTo>
                  <a:pt x="342900" y="59531"/>
                </a:lnTo>
                <a:lnTo>
                  <a:pt x="307182" y="52388"/>
                </a:lnTo>
                <a:lnTo>
                  <a:pt x="297657" y="21431"/>
                </a:lnTo>
                <a:lnTo>
                  <a:pt x="245269" y="0"/>
                </a:lnTo>
                <a:lnTo>
                  <a:pt x="230982" y="26194"/>
                </a:lnTo>
                <a:lnTo>
                  <a:pt x="173832" y="40481"/>
                </a:lnTo>
                <a:lnTo>
                  <a:pt x="159544" y="40481"/>
                </a:lnTo>
                <a:lnTo>
                  <a:pt x="128588" y="40481"/>
                </a:lnTo>
                <a:lnTo>
                  <a:pt x="100013" y="47625"/>
                </a:lnTo>
                <a:lnTo>
                  <a:pt x="102394" y="69056"/>
                </a:lnTo>
                <a:lnTo>
                  <a:pt x="92869" y="116681"/>
                </a:lnTo>
                <a:lnTo>
                  <a:pt x="100013" y="147638"/>
                </a:lnTo>
                <a:lnTo>
                  <a:pt x="69057" y="159544"/>
                </a:lnTo>
                <a:lnTo>
                  <a:pt x="11907" y="169069"/>
                </a:lnTo>
                <a:lnTo>
                  <a:pt x="0" y="192881"/>
                </a:lnTo>
                <a:lnTo>
                  <a:pt x="14288" y="259556"/>
                </a:lnTo>
                <a:lnTo>
                  <a:pt x="38100" y="300038"/>
                </a:lnTo>
                <a:lnTo>
                  <a:pt x="69057" y="309563"/>
                </a:lnTo>
                <a:lnTo>
                  <a:pt x="45244" y="338138"/>
                </a:lnTo>
                <a:lnTo>
                  <a:pt x="54769" y="361950"/>
                </a:lnTo>
                <a:lnTo>
                  <a:pt x="90488" y="409575"/>
                </a:lnTo>
                <a:lnTo>
                  <a:pt x="107157" y="435769"/>
                </a:lnTo>
                <a:lnTo>
                  <a:pt x="85725" y="445294"/>
                </a:lnTo>
                <a:lnTo>
                  <a:pt x="150019" y="488156"/>
                </a:lnTo>
                <a:lnTo>
                  <a:pt x="164307" y="497681"/>
                </a:lnTo>
                <a:lnTo>
                  <a:pt x="164307" y="497681"/>
                </a:lnTo>
                <a:lnTo>
                  <a:pt x="192882" y="545306"/>
                </a:lnTo>
                <a:lnTo>
                  <a:pt x="238125" y="561975"/>
                </a:lnTo>
                <a:lnTo>
                  <a:pt x="235744" y="604838"/>
                </a:lnTo>
                <a:lnTo>
                  <a:pt x="185738" y="621506"/>
                </a:lnTo>
                <a:lnTo>
                  <a:pt x="178594" y="659606"/>
                </a:lnTo>
                <a:lnTo>
                  <a:pt x="183357" y="681038"/>
                </a:lnTo>
                <a:lnTo>
                  <a:pt x="133350" y="711994"/>
                </a:lnTo>
                <a:lnTo>
                  <a:pt x="161925" y="735806"/>
                </a:lnTo>
                <a:lnTo>
                  <a:pt x="164307" y="754856"/>
                </a:lnTo>
                <a:lnTo>
                  <a:pt x="178594" y="778669"/>
                </a:lnTo>
                <a:lnTo>
                  <a:pt x="202407" y="802481"/>
                </a:lnTo>
                <a:lnTo>
                  <a:pt x="211932" y="807244"/>
                </a:lnTo>
                <a:lnTo>
                  <a:pt x="242888" y="752475"/>
                </a:lnTo>
                <a:lnTo>
                  <a:pt x="261938" y="773906"/>
                </a:lnTo>
                <a:lnTo>
                  <a:pt x="328613" y="752475"/>
                </a:lnTo>
                <a:lnTo>
                  <a:pt x="390525" y="819150"/>
                </a:lnTo>
                <a:lnTo>
                  <a:pt x="478632" y="819150"/>
                </a:lnTo>
                <a:lnTo>
                  <a:pt x="514350" y="788194"/>
                </a:lnTo>
                <a:lnTo>
                  <a:pt x="528638" y="804863"/>
                </a:lnTo>
                <a:lnTo>
                  <a:pt x="528638" y="709613"/>
                </a:lnTo>
                <a:lnTo>
                  <a:pt x="547688" y="664369"/>
                </a:lnTo>
                <a:lnTo>
                  <a:pt x="590550" y="661988"/>
                </a:lnTo>
                <a:lnTo>
                  <a:pt x="676275" y="66675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>
              <a:defRPr/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3" name="Figura a mano libera 222"/>
          <p:cNvSpPr/>
          <p:nvPr/>
        </p:nvSpPr>
        <p:spPr bwMode="auto">
          <a:xfrm>
            <a:off x="3317980" y="3508922"/>
            <a:ext cx="1257939" cy="935046"/>
          </a:xfrm>
          <a:custGeom>
            <a:avLst/>
            <a:gdLst>
              <a:gd name="connsiteX0" fmla="*/ 1023937 w 1883568"/>
              <a:gd name="connsiteY0" fmla="*/ 1012031 h 1409700"/>
              <a:gd name="connsiteX1" fmla="*/ 1100137 w 1883568"/>
              <a:gd name="connsiteY1" fmla="*/ 945356 h 1409700"/>
              <a:gd name="connsiteX2" fmla="*/ 1152525 w 1883568"/>
              <a:gd name="connsiteY2" fmla="*/ 942975 h 1409700"/>
              <a:gd name="connsiteX3" fmla="*/ 1193006 w 1883568"/>
              <a:gd name="connsiteY3" fmla="*/ 966787 h 1409700"/>
              <a:gd name="connsiteX4" fmla="*/ 1202531 w 1883568"/>
              <a:gd name="connsiteY4" fmla="*/ 985837 h 1409700"/>
              <a:gd name="connsiteX5" fmla="*/ 1190625 w 1883568"/>
              <a:gd name="connsiteY5" fmla="*/ 1014412 h 1409700"/>
              <a:gd name="connsiteX6" fmla="*/ 1264443 w 1883568"/>
              <a:gd name="connsiteY6" fmla="*/ 1054893 h 1409700"/>
              <a:gd name="connsiteX7" fmla="*/ 1323975 w 1883568"/>
              <a:gd name="connsiteY7" fmla="*/ 1069181 h 1409700"/>
              <a:gd name="connsiteX8" fmla="*/ 1350168 w 1883568"/>
              <a:gd name="connsiteY8" fmla="*/ 1090612 h 1409700"/>
              <a:gd name="connsiteX9" fmla="*/ 1385887 w 1883568"/>
              <a:gd name="connsiteY9" fmla="*/ 1076325 h 1409700"/>
              <a:gd name="connsiteX10" fmla="*/ 1540668 w 1883568"/>
              <a:gd name="connsiteY10" fmla="*/ 1081087 h 1409700"/>
              <a:gd name="connsiteX11" fmla="*/ 1569243 w 1883568"/>
              <a:gd name="connsiteY11" fmla="*/ 1128712 h 1409700"/>
              <a:gd name="connsiteX12" fmla="*/ 1612106 w 1883568"/>
              <a:gd name="connsiteY12" fmla="*/ 1188243 h 1409700"/>
              <a:gd name="connsiteX13" fmla="*/ 1616868 w 1883568"/>
              <a:gd name="connsiteY13" fmla="*/ 1219200 h 1409700"/>
              <a:gd name="connsiteX14" fmla="*/ 1600200 w 1883568"/>
              <a:gd name="connsiteY14" fmla="*/ 1243012 h 1409700"/>
              <a:gd name="connsiteX15" fmla="*/ 1626393 w 1883568"/>
              <a:gd name="connsiteY15" fmla="*/ 1254918 h 1409700"/>
              <a:gd name="connsiteX16" fmla="*/ 1609725 w 1883568"/>
              <a:gd name="connsiteY16" fmla="*/ 1283493 h 1409700"/>
              <a:gd name="connsiteX17" fmla="*/ 1702593 w 1883568"/>
              <a:gd name="connsiteY17" fmla="*/ 1369218 h 1409700"/>
              <a:gd name="connsiteX18" fmla="*/ 1721643 w 1883568"/>
              <a:gd name="connsiteY18" fmla="*/ 1376362 h 1409700"/>
              <a:gd name="connsiteX19" fmla="*/ 1776412 w 1883568"/>
              <a:gd name="connsiteY19" fmla="*/ 1390650 h 1409700"/>
              <a:gd name="connsiteX20" fmla="*/ 1826418 w 1883568"/>
              <a:gd name="connsiteY20" fmla="*/ 1409700 h 1409700"/>
              <a:gd name="connsiteX21" fmla="*/ 1826418 w 1883568"/>
              <a:gd name="connsiteY21" fmla="*/ 1357312 h 1409700"/>
              <a:gd name="connsiteX22" fmla="*/ 1819275 w 1883568"/>
              <a:gd name="connsiteY22" fmla="*/ 1319212 h 1409700"/>
              <a:gd name="connsiteX23" fmla="*/ 1840706 w 1883568"/>
              <a:gd name="connsiteY23" fmla="*/ 1281112 h 1409700"/>
              <a:gd name="connsiteX24" fmla="*/ 1843087 w 1883568"/>
              <a:gd name="connsiteY24" fmla="*/ 1235868 h 1409700"/>
              <a:gd name="connsiteX25" fmla="*/ 1883568 w 1883568"/>
              <a:gd name="connsiteY25" fmla="*/ 1188243 h 1409700"/>
              <a:gd name="connsiteX26" fmla="*/ 1869281 w 1883568"/>
              <a:gd name="connsiteY26" fmla="*/ 1145381 h 1409700"/>
              <a:gd name="connsiteX27" fmla="*/ 1843087 w 1883568"/>
              <a:gd name="connsiteY27" fmla="*/ 1073943 h 1409700"/>
              <a:gd name="connsiteX28" fmla="*/ 1793081 w 1883568"/>
              <a:gd name="connsiteY28" fmla="*/ 1031081 h 1409700"/>
              <a:gd name="connsiteX29" fmla="*/ 1731168 w 1883568"/>
              <a:gd name="connsiteY29" fmla="*/ 973931 h 1409700"/>
              <a:gd name="connsiteX30" fmla="*/ 1674018 w 1883568"/>
              <a:gd name="connsiteY30" fmla="*/ 947737 h 1409700"/>
              <a:gd name="connsiteX31" fmla="*/ 1609725 w 1883568"/>
              <a:gd name="connsiteY31" fmla="*/ 888206 h 1409700"/>
              <a:gd name="connsiteX32" fmla="*/ 1595437 w 1883568"/>
              <a:gd name="connsiteY32" fmla="*/ 838200 h 1409700"/>
              <a:gd name="connsiteX33" fmla="*/ 1538287 w 1883568"/>
              <a:gd name="connsiteY33" fmla="*/ 842962 h 1409700"/>
              <a:gd name="connsiteX34" fmla="*/ 1552575 w 1883568"/>
              <a:gd name="connsiteY34" fmla="*/ 814387 h 1409700"/>
              <a:gd name="connsiteX35" fmla="*/ 1483518 w 1883568"/>
              <a:gd name="connsiteY35" fmla="*/ 812006 h 1409700"/>
              <a:gd name="connsiteX36" fmla="*/ 1390650 w 1883568"/>
              <a:gd name="connsiteY36" fmla="*/ 754856 h 1409700"/>
              <a:gd name="connsiteX37" fmla="*/ 1352550 w 1883568"/>
              <a:gd name="connsiteY37" fmla="*/ 762000 h 1409700"/>
              <a:gd name="connsiteX38" fmla="*/ 1250156 w 1883568"/>
              <a:gd name="connsiteY38" fmla="*/ 676275 h 1409700"/>
              <a:gd name="connsiteX39" fmla="*/ 1221581 w 1883568"/>
              <a:gd name="connsiteY39" fmla="*/ 640556 h 1409700"/>
              <a:gd name="connsiteX40" fmla="*/ 1071562 w 1883568"/>
              <a:gd name="connsiteY40" fmla="*/ 566737 h 1409700"/>
              <a:gd name="connsiteX41" fmla="*/ 971550 w 1883568"/>
              <a:gd name="connsiteY41" fmla="*/ 528637 h 1409700"/>
              <a:gd name="connsiteX42" fmla="*/ 845343 w 1883568"/>
              <a:gd name="connsiteY42" fmla="*/ 483393 h 1409700"/>
              <a:gd name="connsiteX43" fmla="*/ 719137 w 1883568"/>
              <a:gd name="connsiteY43" fmla="*/ 433387 h 1409700"/>
              <a:gd name="connsiteX44" fmla="*/ 631031 w 1883568"/>
              <a:gd name="connsiteY44" fmla="*/ 373856 h 1409700"/>
              <a:gd name="connsiteX45" fmla="*/ 507206 w 1883568"/>
              <a:gd name="connsiteY45" fmla="*/ 304800 h 1409700"/>
              <a:gd name="connsiteX46" fmla="*/ 476250 w 1883568"/>
              <a:gd name="connsiteY46" fmla="*/ 238125 h 1409700"/>
              <a:gd name="connsiteX47" fmla="*/ 547687 w 1883568"/>
              <a:gd name="connsiteY47" fmla="*/ 197643 h 1409700"/>
              <a:gd name="connsiteX48" fmla="*/ 652462 w 1883568"/>
              <a:gd name="connsiteY48" fmla="*/ 121443 h 1409700"/>
              <a:gd name="connsiteX49" fmla="*/ 645318 w 1883568"/>
              <a:gd name="connsiteY49" fmla="*/ 52387 h 1409700"/>
              <a:gd name="connsiteX50" fmla="*/ 623887 w 1883568"/>
              <a:gd name="connsiteY50" fmla="*/ 19050 h 1409700"/>
              <a:gd name="connsiteX51" fmla="*/ 554831 w 1883568"/>
              <a:gd name="connsiteY51" fmla="*/ 0 h 1409700"/>
              <a:gd name="connsiteX52" fmla="*/ 492918 w 1883568"/>
              <a:gd name="connsiteY52" fmla="*/ 2381 h 1409700"/>
              <a:gd name="connsiteX53" fmla="*/ 414337 w 1883568"/>
              <a:gd name="connsiteY53" fmla="*/ 28575 h 1409700"/>
              <a:gd name="connsiteX54" fmla="*/ 340518 w 1883568"/>
              <a:gd name="connsiteY54" fmla="*/ 26193 h 1409700"/>
              <a:gd name="connsiteX55" fmla="*/ 319087 w 1883568"/>
              <a:gd name="connsiteY55" fmla="*/ 16668 h 1409700"/>
              <a:gd name="connsiteX56" fmla="*/ 269081 w 1883568"/>
              <a:gd name="connsiteY56" fmla="*/ 26193 h 1409700"/>
              <a:gd name="connsiteX57" fmla="*/ 169068 w 1883568"/>
              <a:gd name="connsiteY57" fmla="*/ 23812 h 1409700"/>
              <a:gd name="connsiteX58" fmla="*/ 92868 w 1883568"/>
              <a:gd name="connsiteY58" fmla="*/ 14287 h 1409700"/>
              <a:gd name="connsiteX59" fmla="*/ 83343 w 1883568"/>
              <a:gd name="connsiteY59" fmla="*/ 126206 h 1409700"/>
              <a:gd name="connsiteX60" fmla="*/ 111918 w 1883568"/>
              <a:gd name="connsiteY60" fmla="*/ 166687 h 1409700"/>
              <a:gd name="connsiteX61" fmla="*/ 92868 w 1883568"/>
              <a:gd name="connsiteY61" fmla="*/ 190500 h 1409700"/>
              <a:gd name="connsiteX62" fmla="*/ 54768 w 1883568"/>
              <a:gd name="connsiteY62" fmla="*/ 223837 h 1409700"/>
              <a:gd name="connsiteX63" fmla="*/ 19050 w 1883568"/>
              <a:gd name="connsiteY63" fmla="*/ 195262 h 1409700"/>
              <a:gd name="connsiteX64" fmla="*/ 0 w 1883568"/>
              <a:gd name="connsiteY64" fmla="*/ 254793 h 1409700"/>
              <a:gd name="connsiteX65" fmla="*/ 23812 w 1883568"/>
              <a:gd name="connsiteY65" fmla="*/ 290512 h 1409700"/>
              <a:gd name="connsiteX66" fmla="*/ 38100 w 1883568"/>
              <a:gd name="connsiteY66" fmla="*/ 330993 h 1409700"/>
              <a:gd name="connsiteX67" fmla="*/ 78581 w 1883568"/>
              <a:gd name="connsiteY67" fmla="*/ 354806 h 1409700"/>
              <a:gd name="connsiteX68" fmla="*/ 57150 w 1883568"/>
              <a:gd name="connsiteY68" fmla="*/ 378618 h 1409700"/>
              <a:gd name="connsiteX69" fmla="*/ 80962 w 1883568"/>
              <a:gd name="connsiteY69" fmla="*/ 419100 h 1409700"/>
              <a:gd name="connsiteX70" fmla="*/ 164306 w 1883568"/>
              <a:gd name="connsiteY70" fmla="*/ 461962 h 1409700"/>
              <a:gd name="connsiteX71" fmla="*/ 188118 w 1883568"/>
              <a:gd name="connsiteY71" fmla="*/ 471487 h 1409700"/>
              <a:gd name="connsiteX72" fmla="*/ 171450 w 1883568"/>
              <a:gd name="connsiteY72" fmla="*/ 483393 h 1409700"/>
              <a:gd name="connsiteX73" fmla="*/ 150018 w 1883568"/>
              <a:gd name="connsiteY73" fmla="*/ 516731 h 1409700"/>
              <a:gd name="connsiteX74" fmla="*/ 188118 w 1883568"/>
              <a:gd name="connsiteY74" fmla="*/ 573881 h 1409700"/>
              <a:gd name="connsiteX75" fmla="*/ 257175 w 1883568"/>
              <a:gd name="connsiteY75" fmla="*/ 559593 h 1409700"/>
              <a:gd name="connsiteX76" fmla="*/ 273843 w 1883568"/>
              <a:gd name="connsiteY76" fmla="*/ 583406 h 1409700"/>
              <a:gd name="connsiteX77" fmla="*/ 297656 w 1883568"/>
              <a:gd name="connsiteY77" fmla="*/ 583406 h 1409700"/>
              <a:gd name="connsiteX78" fmla="*/ 323850 w 1883568"/>
              <a:gd name="connsiteY78" fmla="*/ 600075 h 1409700"/>
              <a:gd name="connsiteX79" fmla="*/ 354806 w 1883568"/>
              <a:gd name="connsiteY79" fmla="*/ 581025 h 1409700"/>
              <a:gd name="connsiteX80" fmla="*/ 409575 w 1883568"/>
              <a:gd name="connsiteY80" fmla="*/ 578643 h 1409700"/>
              <a:gd name="connsiteX81" fmla="*/ 450056 w 1883568"/>
              <a:gd name="connsiteY81" fmla="*/ 578643 h 1409700"/>
              <a:gd name="connsiteX82" fmla="*/ 488156 w 1883568"/>
              <a:gd name="connsiteY82" fmla="*/ 533400 h 1409700"/>
              <a:gd name="connsiteX83" fmla="*/ 531018 w 1883568"/>
              <a:gd name="connsiteY83" fmla="*/ 571500 h 1409700"/>
              <a:gd name="connsiteX84" fmla="*/ 547687 w 1883568"/>
              <a:gd name="connsiteY84" fmla="*/ 588168 h 1409700"/>
              <a:gd name="connsiteX85" fmla="*/ 559593 w 1883568"/>
              <a:gd name="connsiteY85" fmla="*/ 597693 h 1409700"/>
              <a:gd name="connsiteX86" fmla="*/ 583406 w 1883568"/>
              <a:gd name="connsiteY86" fmla="*/ 614362 h 1409700"/>
              <a:gd name="connsiteX87" fmla="*/ 533400 w 1883568"/>
              <a:gd name="connsiteY87" fmla="*/ 650081 h 1409700"/>
              <a:gd name="connsiteX88" fmla="*/ 581025 w 1883568"/>
              <a:gd name="connsiteY88" fmla="*/ 681037 h 1409700"/>
              <a:gd name="connsiteX89" fmla="*/ 623887 w 1883568"/>
              <a:gd name="connsiteY89" fmla="*/ 709612 h 1409700"/>
              <a:gd name="connsiteX90" fmla="*/ 661987 w 1883568"/>
              <a:gd name="connsiteY90" fmla="*/ 671512 h 1409700"/>
              <a:gd name="connsiteX91" fmla="*/ 678656 w 1883568"/>
              <a:gd name="connsiteY91" fmla="*/ 683418 h 1409700"/>
              <a:gd name="connsiteX92" fmla="*/ 700087 w 1883568"/>
              <a:gd name="connsiteY92" fmla="*/ 759618 h 1409700"/>
              <a:gd name="connsiteX93" fmla="*/ 752475 w 1883568"/>
              <a:gd name="connsiteY93" fmla="*/ 792956 h 1409700"/>
              <a:gd name="connsiteX94" fmla="*/ 783431 w 1883568"/>
              <a:gd name="connsiteY94" fmla="*/ 838200 h 1409700"/>
              <a:gd name="connsiteX95" fmla="*/ 795337 w 1883568"/>
              <a:gd name="connsiteY95" fmla="*/ 807243 h 1409700"/>
              <a:gd name="connsiteX96" fmla="*/ 852487 w 1883568"/>
              <a:gd name="connsiteY96" fmla="*/ 792956 h 1409700"/>
              <a:gd name="connsiteX97" fmla="*/ 902493 w 1883568"/>
              <a:gd name="connsiteY97" fmla="*/ 800100 h 1409700"/>
              <a:gd name="connsiteX98" fmla="*/ 947737 w 1883568"/>
              <a:gd name="connsiteY98" fmla="*/ 823912 h 1409700"/>
              <a:gd name="connsiteX99" fmla="*/ 928687 w 1883568"/>
              <a:gd name="connsiteY99" fmla="*/ 878681 h 1409700"/>
              <a:gd name="connsiteX100" fmla="*/ 931068 w 1883568"/>
              <a:gd name="connsiteY100" fmla="*/ 928687 h 1409700"/>
              <a:gd name="connsiteX101" fmla="*/ 931068 w 1883568"/>
              <a:gd name="connsiteY101" fmla="*/ 983456 h 1409700"/>
              <a:gd name="connsiteX102" fmla="*/ 962025 w 1883568"/>
              <a:gd name="connsiteY102" fmla="*/ 973931 h 1409700"/>
              <a:gd name="connsiteX103" fmla="*/ 1023937 w 1883568"/>
              <a:gd name="connsiteY103" fmla="*/ 1012031 h 14097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</a:cxnLst>
            <a:rect l="l" t="t" r="r" b="b"/>
            <a:pathLst>
              <a:path w="1883568" h="1409700">
                <a:moveTo>
                  <a:pt x="1023937" y="1012031"/>
                </a:moveTo>
                <a:lnTo>
                  <a:pt x="1100137" y="945356"/>
                </a:lnTo>
                <a:lnTo>
                  <a:pt x="1152525" y="942975"/>
                </a:lnTo>
                <a:lnTo>
                  <a:pt x="1193006" y="966787"/>
                </a:lnTo>
                <a:lnTo>
                  <a:pt x="1202531" y="985837"/>
                </a:lnTo>
                <a:lnTo>
                  <a:pt x="1190625" y="1014412"/>
                </a:lnTo>
                <a:lnTo>
                  <a:pt x="1264443" y="1054893"/>
                </a:lnTo>
                <a:lnTo>
                  <a:pt x="1323975" y="1069181"/>
                </a:lnTo>
                <a:lnTo>
                  <a:pt x="1350168" y="1090612"/>
                </a:lnTo>
                <a:lnTo>
                  <a:pt x="1385887" y="1076325"/>
                </a:lnTo>
                <a:lnTo>
                  <a:pt x="1540668" y="1081087"/>
                </a:lnTo>
                <a:lnTo>
                  <a:pt x="1569243" y="1128712"/>
                </a:lnTo>
                <a:lnTo>
                  <a:pt x="1612106" y="1188243"/>
                </a:lnTo>
                <a:lnTo>
                  <a:pt x="1616868" y="1219200"/>
                </a:lnTo>
                <a:lnTo>
                  <a:pt x="1600200" y="1243012"/>
                </a:lnTo>
                <a:lnTo>
                  <a:pt x="1626393" y="1254918"/>
                </a:lnTo>
                <a:lnTo>
                  <a:pt x="1609725" y="1283493"/>
                </a:lnTo>
                <a:lnTo>
                  <a:pt x="1702593" y="1369218"/>
                </a:lnTo>
                <a:lnTo>
                  <a:pt x="1721643" y="1376362"/>
                </a:lnTo>
                <a:lnTo>
                  <a:pt x="1776412" y="1390650"/>
                </a:lnTo>
                <a:lnTo>
                  <a:pt x="1826418" y="1409700"/>
                </a:lnTo>
                <a:lnTo>
                  <a:pt x="1826418" y="1357312"/>
                </a:lnTo>
                <a:lnTo>
                  <a:pt x="1819275" y="1319212"/>
                </a:lnTo>
                <a:lnTo>
                  <a:pt x="1840706" y="1281112"/>
                </a:lnTo>
                <a:lnTo>
                  <a:pt x="1843087" y="1235868"/>
                </a:lnTo>
                <a:lnTo>
                  <a:pt x="1883568" y="1188243"/>
                </a:lnTo>
                <a:lnTo>
                  <a:pt x="1869281" y="1145381"/>
                </a:lnTo>
                <a:lnTo>
                  <a:pt x="1843087" y="1073943"/>
                </a:lnTo>
                <a:lnTo>
                  <a:pt x="1793081" y="1031081"/>
                </a:lnTo>
                <a:lnTo>
                  <a:pt x="1731168" y="973931"/>
                </a:lnTo>
                <a:lnTo>
                  <a:pt x="1674018" y="947737"/>
                </a:lnTo>
                <a:lnTo>
                  <a:pt x="1609725" y="888206"/>
                </a:lnTo>
                <a:lnTo>
                  <a:pt x="1595437" y="838200"/>
                </a:lnTo>
                <a:lnTo>
                  <a:pt x="1538287" y="842962"/>
                </a:lnTo>
                <a:lnTo>
                  <a:pt x="1552575" y="814387"/>
                </a:lnTo>
                <a:lnTo>
                  <a:pt x="1483518" y="812006"/>
                </a:lnTo>
                <a:lnTo>
                  <a:pt x="1390650" y="754856"/>
                </a:lnTo>
                <a:lnTo>
                  <a:pt x="1352550" y="762000"/>
                </a:lnTo>
                <a:lnTo>
                  <a:pt x="1250156" y="676275"/>
                </a:lnTo>
                <a:lnTo>
                  <a:pt x="1221581" y="640556"/>
                </a:lnTo>
                <a:lnTo>
                  <a:pt x="1071562" y="566737"/>
                </a:lnTo>
                <a:lnTo>
                  <a:pt x="971550" y="528637"/>
                </a:lnTo>
                <a:lnTo>
                  <a:pt x="845343" y="483393"/>
                </a:lnTo>
                <a:lnTo>
                  <a:pt x="719137" y="433387"/>
                </a:lnTo>
                <a:lnTo>
                  <a:pt x="631031" y="373856"/>
                </a:lnTo>
                <a:lnTo>
                  <a:pt x="507206" y="304800"/>
                </a:lnTo>
                <a:lnTo>
                  <a:pt x="476250" y="238125"/>
                </a:lnTo>
                <a:lnTo>
                  <a:pt x="547687" y="197643"/>
                </a:lnTo>
                <a:lnTo>
                  <a:pt x="652462" y="121443"/>
                </a:lnTo>
                <a:lnTo>
                  <a:pt x="645318" y="52387"/>
                </a:lnTo>
                <a:lnTo>
                  <a:pt x="623887" y="19050"/>
                </a:lnTo>
                <a:lnTo>
                  <a:pt x="554831" y="0"/>
                </a:lnTo>
                <a:lnTo>
                  <a:pt x="492918" y="2381"/>
                </a:lnTo>
                <a:lnTo>
                  <a:pt x="414337" y="28575"/>
                </a:lnTo>
                <a:lnTo>
                  <a:pt x="340518" y="26193"/>
                </a:lnTo>
                <a:lnTo>
                  <a:pt x="319087" y="16668"/>
                </a:lnTo>
                <a:lnTo>
                  <a:pt x="269081" y="26193"/>
                </a:lnTo>
                <a:lnTo>
                  <a:pt x="169068" y="23812"/>
                </a:lnTo>
                <a:lnTo>
                  <a:pt x="92868" y="14287"/>
                </a:lnTo>
                <a:lnTo>
                  <a:pt x="83343" y="126206"/>
                </a:lnTo>
                <a:lnTo>
                  <a:pt x="111918" y="166687"/>
                </a:lnTo>
                <a:lnTo>
                  <a:pt x="92868" y="190500"/>
                </a:lnTo>
                <a:lnTo>
                  <a:pt x="54768" y="223837"/>
                </a:lnTo>
                <a:lnTo>
                  <a:pt x="19050" y="195262"/>
                </a:lnTo>
                <a:lnTo>
                  <a:pt x="0" y="254793"/>
                </a:lnTo>
                <a:lnTo>
                  <a:pt x="23812" y="290512"/>
                </a:lnTo>
                <a:lnTo>
                  <a:pt x="38100" y="330993"/>
                </a:lnTo>
                <a:lnTo>
                  <a:pt x="78581" y="354806"/>
                </a:lnTo>
                <a:lnTo>
                  <a:pt x="57150" y="378618"/>
                </a:lnTo>
                <a:lnTo>
                  <a:pt x="80962" y="419100"/>
                </a:lnTo>
                <a:lnTo>
                  <a:pt x="164306" y="461962"/>
                </a:lnTo>
                <a:lnTo>
                  <a:pt x="188118" y="471487"/>
                </a:lnTo>
                <a:lnTo>
                  <a:pt x="171450" y="483393"/>
                </a:lnTo>
                <a:lnTo>
                  <a:pt x="150018" y="516731"/>
                </a:lnTo>
                <a:lnTo>
                  <a:pt x="188118" y="573881"/>
                </a:lnTo>
                <a:lnTo>
                  <a:pt x="257175" y="559593"/>
                </a:lnTo>
                <a:lnTo>
                  <a:pt x="273843" y="583406"/>
                </a:lnTo>
                <a:lnTo>
                  <a:pt x="297656" y="583406"/>
                </a:lnTo>
                <a:lnTo>
                  <a:pt x="323850" y="600075"/>
                </a:lnTo>
                <a:lnTo>
                  <a:pt x="354806" y="581025"/>
                </a:lnTo>
                <a:lnTo>
                  <a:pt x="409575" y="578643"/>
                </a:lnTo>
                <a:lnTo>
                  <a:pt x="450056" y="578643"/>
                </a:lnTo>
                <a:lnTo>
                  <a:pt x="488156" y="533400"/>
                </a:lnTo>
                <a:lnTo>
                  <a:pt x="531018" y="571500"/>
                </a:lnTo>
                <a:lnTo>
                  <a:pt x="547687" y="588168"/>
                </a:lnTo>
                <a:lnTo>
                  <a:pt x="559593" y="597693"/>
                </a:lnTo>
                <a:lnTo>
                  <a:pt x="583406" y="614362"/>
                </a:lnTo>
                <a:lnTo>
                  <a:pt x="533400" y="650081"/>
                </a:lnTo>
                <a:lnTo>
                  <a:pt x="581025" y="681037"/>
                </a:lnTo>
                <a:lnTo>
                  <a:pt x="623887" y="709612"/>
                </a:lnTo>
                <a:lnTo>
                  <a:pt x="661987" y="671512"/>
                </a:lnTo>
                <a:lnTo>
                  <a:pt x="678656" y="683418"/>
                </a:lnTo>
                <a:lnTo>
                  <a:pt x="700087" y="759618"/>
                </a:lnTo>
                <a:lnTo>
                  <a:pt x="752475" y="792956"/>
                </a:lnTo>
                <a:lnTo>
                  <a:pt x="783431" y="838200"/>
                </a:lnTo>
                <a:lnTo>
                  <a:pt x="795337" y="807243"/>
                </a:lnTo>
                <a:lnTo>
                  <a:pt x="852487" y="792956"/>
                </a:lnTo>
                <a:lnTo>
                  <a:pt x="902493" y="800100"/>
                </a:lnTo>
                <a:lnTo>
                  <a:pt x="947737" y="823912"/>
                </a:lnTo>
                <a:lnTo>
                  <a:pt x="928687" y="878681"/>
                </a:lnTo>
                <a:lnTo>
                  <a:pt x="931068" y="928687"/>
                </a:lnTo>
                <a:lnTo>
                  <a:pt x="931068" y="983456"/>
                </a:lnTo>
                <a:lnTo>
                  <a:pt x="962025" y="973931"/>
                </a:lnTo>
                <a:lnTo>
                  <a:pt x="1023937" y="1012031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>
              <a:defRPr/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4" name="Figura a mano libera 223"/>
          <p:cNvSpPr/>
          <p:nvPr/>
        </p:nvSpPr>
        <p:spPr bwMode="auto">
          <a:xfrm>
            <a:off x="2987786" y="3466646"/>
            <a:ext cx="405350" cy="302149"/>
          </a:xfrm>
          <a:custGeom>
            <a:avLst/>
            <a:gdLst>
              <a:gd name="connsiteX0" fmla="*/ 571500 w 609600"/>
              <a:gd name="connsiteY0" fmla="*/ 83344 h 454819"/>
              <a:gd name="connsiteX1" fmla="*/ 528638 w 609600"/>
              <a:gd name="connsiteY1" fmla="*/ 47625 h 454819"/>
              <a:gd name="connsiteX2" fmla="*/ 514350 w 609600"/>
              <a:gd name="connsiteY2" fmla="*/ 19050 h 454819"/>
              <a:gd name="connsiteX3" fmla="*/ 457200 w 609600"/>
              <a:gd name="connsiteY3" fmla="*/ 23812 h 454819"/>
              <a:gd name="connsiteX4" fmla="*/ 423863 w 609600"/>
              <a:gd name="connsiteY4" fmla="*/ 0 h 454819"/>
              <a:gd name="connsiteX5" fmla="*/ 388144 w 609600"/>
              <a:gd name="connsiteY5" fmla="*/ 45244 h 454819"/>
              <a:gd name="connsiteX6" fmla="*/ 369094 w 609600"/>
              <a:gd name="connsiteY6" fmla="*/ 88106 h 454819"/>
              <a:gd name="connsiteX7" fmla="*/ 342900 w 609600"/>
              <a:gd name="connsiteY7" fmla="*/ 114300 h 454819"/>
              <a:gd name="connsiteX8" fmla="*/ 261938 w 609600"/>
              <a:gd name="connsiteY8" fmla="*/ 207169 h 454819"/>
              <a:gd name="connsiteX9" fmla="*/ 252413 w 609600"/>
              <a:gd name="connsiteY9" fmla="*/ 140494 h 454819"/>
              <a:gd name="connsiteX10" fmla="*/ 252413 w 609600"/>
              <a:gd name="connsiteY10" fmla="*/ 140494 h 454819"/>
              <a:gd name="connsiteX11" fmla="*/ 242888 w 609600"/>
              <a:gd name="connsiteY11" fmla="*/ 126206 h 454819"/>
              <a:gd name="connsiteX12" fmla="*/ 219075 w 609600"/>
              <a:gd name="connsiteY12" fmla="*/ 126206 h 454819"/>
              <a:gd name="connsiteX13" fmla="*/ 195263 w 609600"/>
              <a:gd name="connsiteY13" fmla="*/ 116681 h 454819"/>
              <a:gd name="connsiteX14" fmla="*/ 195263 w 609600"/>
              <a:gd name="connsiteY14" fmla="*/ 128587 h 454819"/>
              <a:gd name="connsiteX15" fmla="*/ 171450 w 609600"/>
              <a:gd name="connsiteY15" fmla="*/ 102394 h 454819"/>
              <a:gd name="connsiteX16" fmla="*/ 147638 w 609600"/>
              <a:gd name="connsiteY16" fmla="*/ 109537 h 454819"/>
              <a:gd name="connsiteX17" fmla="*/ 114300 w 609600"/>
              <a:gd name="connsiteY17" fmla="*/ 142875 h 454819"/>
              <a:gd name="connsiteX18" fmla="*/ 85725 w 609600"/>
              <a:gd name="connsiteY18" fmla="*/ 152400 h 454819"/>
              <a:gd name="connsiteX19" fmla="*/ 109538 w 609600"/>
              <a:gd name="connsiteY19" fmla="*/ 173831 h 454819"/>
              <a:gd name="connsiteX20" fmla="*/ 109538 w 609600"/>
              <a:gd name="connsiteY20" fmla="*/ 173831 h 454819"/>
              <a:gd name="connsiteX21" fmla="*/ 61913 w 609600"/>
              <a:gd name="connsiteY21" fmla="*/ 192881 h 454819"/>
              <a:gd name="connsiteX22" fmla="*/ 35719 w 609600"/>
              <a:gd name="connsiteY22" fmla="*/ 219075 h 454819"/>
              <a:gd name="connsiteX23" fmla="*/ 45244 w 609600"/>
              <a:gd name="connsiteY23" fmla="*/ 242887 h 454819"/>
              <a:gd name="connsiteX24" fmla="*/ 9525 w 609600"/>
              <a:gd name="connsiteY24" fmla="*/ 230981 h 454819"/>
              <a:gd name="connsiteX25" fmla="*/ 9525 w 609600"/>
              <a:gd name="connsiteY25" fmla="*/ 230981 h 454819"/>
              <a:gd name="connsiteX26" fmla="*/ 16669 w 609600"/>
              <a:gd name="connsiteY26" fmla="*/ 297656 h 454819"/>
              <a:gd name="connsiteX27" fmla="*/ 30957 w 609600"/>
              <a:gd name="connsiteY27" fmla="*/ 352425 h 454819"/>
              <a:gd name="connsiteX28" fmla="*/ 0 w 609600"/>
              <a:gd name="connsiteY28" fmla="*/ 376237 h 454819"/>
              <a:gd name="connsiteX29" fmla="*/ 35719 w 609600"/>
              <a:gd name="connsiteY29" fmla="*/ 388144 h 454819"/>
              <a:gd name="connsiteX30" fmla="*/ 61913 w 609600"/>
              <a:gd name="connsiteY30" fmla="*/ 400050 h 454819"/>
              <a:gd name="connsiteX31" fmla="*/ 73819 w 609600"/>
              <a:gd name="connsiteY31" fmla="*/ 357187 h 454819"/>
              <a:gd name="connsiteX32" fmla="*/ 145257 w 609600"/>
              <a:gd name="connsiteY32" fmla="*/ 378619 h 454819"/>
              <a:gd name="connsiteX33" fmla="*/ 188119 w 609600"/>
              <a:gd name="connsiteY33" fmla="*/ 404812 h 454819"/>
              <a:gd name="connsiteX34" fmla="*/ 252413 w 609600"/>
              <a:gd name="connsiteY34" fmla="*/ 416719 h 454819"/>
              <a:gd name="connsiteX35" fmla="*/ 292894 w 609600"/>
              <a:gd name="connsiteY35" fmla="*/ 452437 h 454819"/>
              <a:gd name="connsiteX36" fmla="*/ 323850 w 609600"/>
              <a:gd name="connsiteY36" fmla="*/ 454819 h 454819"/>
              <a:gd name="connsiteX37" fmla="*/ 388144 w 609600"/>
              <a:gd name="connsiteY37" fmla="*/ 428625 h 454819"/>
              <a:gd name="connsiteX38" fmla="*/ 411957 w 609600"/>
              <a:gd name="connsiteY38" fmla="*/ 419100 h 454819"/>
              <a:gd name="connsiteX39" fmla="*/ 414338 w 609600"/>
              <a:gd name="connsiteY39" fmla="*/ 404812 h 454819"/>
              <a:gd name="connsiteX40" fmla="*/ 459582 w 609600"/>
              <a:gd name="connsiteY40" fmla="*/ 409575 h 454819"/>
              <a:gd name="connsiteX41" fmla="*/ 528638 w 609600"/>
              <a:gd name="connsiteY41" fmla="*/ 388144 h 454819"/>
              <a:gd name="connsiteX42" fmla="*/ 504825 w 609600"/>
              <a:gd name="connsiteY42" fmla="*/ 311944 h 454819"/>
              <a:gd name="connsiteX43" fmla="*/ 516732 w 609600"/>
              <a:gd name="connsiteY43" fmla="*/ 259556 h 454819"/>
              <a:gd name="connsiteX44" fmla="*/ 552450 w 609600"/>
              <a:gd name="connsiteY44" fmla="*/ 288131 h 454819"/>
              <a:gd name="connsiteX45" fmla="*/ 609600 w 609600"/>
              <a:gd name="connsiteY45" fmla="*/ 233362 h 454819"/>
              <a:gd name="connsiteX46" fmla="*/ 592932 w 609600"/>
              <a:gd name="connsiteY46" fmla="*/ 197644 h 454819"/>
              <a:gd name="connsiteX47" fmla="*/ 571500 w 609600"/>
              <a:gd name="connsiteY47" fmla="*/ 83344 h 4548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609600" h="454819">
                <a:moveTo>
                  <a:pt x="571500" y="83344"/>
                </a:moveTo>
                <a:lnTo>
                  <a:pt x="528638" y="47625"/>
                </a:lnTo>
                <a:lnTo>
                  <a:pt x="514350" y="19050"/>
                </a:lnTo>
                <a:lnTo>
                  <a:pt x="457200" y="23812"/>
                </a:lnTo>
                <a:lnTo>
                  <a:pt x="423863" y="0"/>
                </a:lnTo>
                <a:lnTo>
                  <a:pt x="388144" y="45244"/>
                </a:lnTo>
                <a:lnTo>
                  <a:pt x="369094" y="88106"/>
                </a:lnTo>
                <a:lnTo>
                  <a:pt x="342900" y="114300"/>
                </a:lnTo>
                <a:lnTo>
                  <a:pt x="261938" y="207169"/>
                </a:lnTo>
                <a:lnTo>
                  <a:pt x="252413" y="140494"/>
                </a:lnTo>
                <a:lnTo>
                  <a:pt x="252413" y="140494"/>
                </a:lnTo>
                <a:lnTo>
                  <a:pt x="242888" y="126206"/>
                </a:lnTo>
                <a:lnTo>
                  <a:pt x="219075" y="126206"/>
                </a:lnTo>
                <a:lnTo>
                  <a:pt x="195263" y="116681"/>
                </a:lnTo>
                <a:lnTo>
                  <a:pt x="195263" y="128587"/>
                </a:lnTo>
                <a:lnTo>
                  <a:pt x="171450" y="102394"/>
                </a:lnTo>
                <a:lnTo>
                  <a:pt x="147638" y="109537"/>
                </a:lnTo>
                <a:lnTo>
                  <a:pt x="114300" y="142875"/>
                </a:lnTo>
                <a:lnTo>
                  <a:pt x="85725" y="152400"/>
                </a:lnTo>
                <a:lnTo>
                  <a:pt x="109538" y="173831"/>
                </a:lnTo>
                <a:lnTo>
                  <a:pt x="109538" y="173831"/>
                </a:lnTo>
                <a:lnTo>
                  <a:pt x="61913" y="192881"/>
                </a:lnTo>
                <a:lnTo>
                  <a:pt x="35719" y="219075"/>
                </a:lnTo>
                <a:lnTo>
                  <a:pt x="45244" y="242887"/>
                </a:lnTo>
                <a:lnTo>
                  <a:pt x="9525" y="230981"/>
                </a:lnTo>
                <a:lnTo>
                  <a:pt x="9525" y="230981"/>
                </a:lnTo>
                <a:lnTo>
                  <a:pt x="16669" y="297656"/>
                </a:lnTo>
                <a:lnTo>
                  <a:pt x="30957" y="352425"/>
                </a:lnTo>
                <a:lnTo>
                  <a:pt x="0" y="376237"/>
                </a:lnTo>
                <a:lnTo>
                  <a:pt x="35719" y="388144"/>
                </a:lnTo>
                <a:lnTo>
                  <a:pt x="61913" y="400050"/>
                </a:lnTo>
                <a:lnTo>
                  <a:pt x="73819" y="357187"/>
                </a:lnTo>
                <a:lnTo>
                  <a:pt x="145257" y="378619"/>
                </a:lnTo>
                <a:lnTo>
                  <a:pt x="188119" y="404812"/>
                </a:lnTo>
                <a:lnTo>
                  <a:pt x="252413" y="416719"/>
                </a:lnTo>
                <a:lnTo>
                  <a:pt x="292894" y="452437"/>
                </a:lnTo>
                <a:lnTo>
                  <a:pt x="323850" y="454819"/>
                </a:lnTo>
                <a:lnTo>
                  <a:pt x="388144" y="428625"/>
                </a:lnTo>
                <a:lnTo>
                  <a:pt x="411957" y="419100"/>
                </a:lnTo>
                <a:lnTo>
                  <a:pt x="414338" y="404812"/>
                </a:lnTo>
                <a:lnTo>
                  <a:pt x="459582" y="409575"/>
                </a:lnTo>
                <a:lnTo>
                  <a:pt x="528638" y="388144"/>
                </a:lnTo>
                <a:lnTo>
                  <a:pt x="504825" y="311944"/>
                </a:lnTo>
                <a:lnTo>
                  <a:pt x="516732" y="259556"/>
                </a:lnTo>
                <a:lnTo>
                  <a:pt x="552450" y="288131"/>
                </a:lnTo>
                <a:lnTo>
                  <a:pt x="609600" y="233362"/>
                </a:lnTo>
                <a:lnTo>
                  <a:pt x="592932" y="197644"/>
                </a:lnTo>
                <a:cubicBezTo>
                  <a:pt x="593726" y="168275"/>
                  <a:pt x="594519" y="138906"/>
                  <a:pt x="571500" y="83344"/>
                </a:cubicBez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>
              <a:defRPr/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5" name="Figura a mano libera 224"/>
          <p:cNvSpPr/>
          <p:nvPr/>
        </p:nvSpPr>
        <p:spPr bwMode="auto">
          <a:xfrm>
            <a:off x="2663752" y="3098596"/>
            <a:ext cx="608641" cy="539641"/>
          </a:xfrm>
          <a:custGeom>
            <a:avLst/>
            <a:gdLst>
              <a:gd name="connsiteX0" fmla="*/ 464344 w 912019"/>
              <a:gd name="connsiteY0" fmla="*/ 0 h 812006"/>
              <a:gd name="connsiteX1" fmla="*/ 369094 w 912019"/>
              <a:gd name="connsiteY1" fmla="*/ 21431 h 812006"/>
              <a:gd name="connsiteX2" fmla="*/ 352425 w 912019"/>
              <a:gd name="connsiteY2" fmla="*/ 42862 h 812006"/>
              <a:gd name="connsiteX3" fmla="*/ 330994 w 912019"/>
              <a:gd name="connsiteY3" fmla="*/ 61912 h 812006"/>
              <a:gd name="connsiteX4" fmla="*/ 314325 w 912019"/>
              <a:gd name="connsiteY4" fmla="*/ 57150 h 812006"/>
              <a:gd name="connsiteX5" fmla="*/ 278607 w 912019"/>
              <a:gd name="connsiteY5" fmla="*/ 57150 h 812006"/>
              <a:gd name="connsiteX6" fmla="*/ 264319 w 912019"/>
              <a:gd name="connsiteY6" fmla="*/ 90487 h 812006"/>
              <a:gd name="connsiteX7" fmla="*/ 257175 w 912019"/>
              <a:gd name="connsiteY7" fmla="*/ 102393 h 812006"/>
              <a:gd name="connsiteX8" fmla="*/ 185738 w 912019"/>
              <a:gd name="connsiteY8" fmla="*/ 138112 h 812006"/>
              <a:gd name="connsiteX9" fmla="*/ 202407 w 912019"/>
              <a:gd name="connsiteY9" fmla="*/ 150018 h 812006"/>
              <a:gd name="connsiteX10" fmla="*/ 207169 w 912019"/>
              <a:gd name="connsiteY10" fmla="*/ 171450 h 812006"/>
              <a:gd name="connsiteX11" fmla="*/ 197644 w 912019"/>
              <a:gd name="connsiteY11" fmla="*/ 197643 h 812006"/>
              <a:gd name="connsiteX12" fmla="*/ 159544 w 912019"/>
              <a:gd name="connsiteY12" fmla="*/ 207168 h 812006"/>
              <a:gd name="connsiteX13" fmla="*/ 102394 w 912019"/>
              <a:gd name="connsiteY13" fmla="*/ 190500 h 812006"/>
              <a:gd name="connsiteX14" fmla="*/ 83344 w 912019"/>
              <a:gd name="connsiteY14" fmla="*/ 221456 h 812006"/>
              <a:gd name="connsiteX15" fmla="*/ 90488 w 912019"/>
              <a:gd name="connsiteY15" fmla="*/ 264318 h 812006"/>
              <a:gd name="connsiteX16" fmla="*/ 73819 w 912019"/>
              <a:gd name="connsiteY16" fmla="*/ 278606 h 812006"/>
              <a:gd name="connsiteX17" fmla="*/ 50007 w 912019"/>
              <a:gd name="connsiteY17" fmla="*/ 295275 h 812006"/>
              <a:gd name="connsiteX18" fmla="*/ 85725 w 912019"/>
              <a:gd name="connsiteY18" fmla="*/ 335756 h 812006"/>
              <a:gd name="connsiteX19" fmla="*/ 97632 w 912019"/>
              <a:gd name="connsiteY19" fmla="*/ 371475 h 812006"/>
              <a:gd name="connsiteX20" fmla="*/ 121444 w 912019"/>
              <a:gd name="connsiteY20" fmla="*/ 404812 h 812006"/>
              <a:gd name="connsiteX21" fmla="*/ 154782 w 912019"/>
              <a:gd name="connsiteY21" fmla="*/ 440531 h 812006"/>
              <a:gd name="connsiteX22" fmla="*/ 176213 w 912019"/>
              <a:gd name="connsiteY22" fmla="*/ 454818 h 812006"/>
              <a:gd name="connsiteX23" fmla="*/ 178594 w 912019"/>
              <a:gd name="connsiteY23" fmla="*/ 478631 h 812006"/>
              <a:gd name="connsiteX24" fmla="*/ 159544 w 912019"/>
              <a:gd name="connsiteY24" fmla="*/ 502443 h 812006"/>
              <a:gd name="connsiteX25" fmla="*/ 135732 w 912019"/>
              <a:gd name="connsiteY25" fmla="*/ 502443 h 812006"/>
              <a:gd name="connsiteX26" fmla="*/ 114300 w 912019"/>
              <a:gd name="connsiteY26" fmla="*/ 502443 h 812006"/>
              <a:gd name="connsiteX27" fmla="*/ 97632 w 912019"/>
              <a:gd name="connsiteY27" fmla="*/ 492918 h 812006"/>
              <a:gd name="connsiteX28" fmla="*/ 33338 w 912019"/>
              <a:gd name="connsiteY28" fmla="*/ 461962 h 812006"/>
              <a:gd name="connsiteX29" fmla="*/ 30957 w 912019"/>
              <a:gd name="connsiteY29" fmla="*/ 492918 h 812006"/>
              <a:gd name="connsiteX30" fmla="*/ 11907 w 912019"/>
              <a:gd name="connsiteY30" fmla="*/ 500062 h 812006"/>
              <a:gd name="connsiteX31" fmla="*/ 0 w 912019"/>
              <a:gd name="connsiteY31" fmla="*/ 528637 h 812006"/>
              <a:gd name="connsiteX32" fmla="*/ 11907 w 912019"/>
              <a:gd name="connsiteY32" fmla="*/ 569118 h 812006"/>
              <a:gd name="connsiteX33" fmla="*/ 102394 w 912019"/>
              <a:gd name="connsiteY33" fmla="*/ 595312 h 812006"/>
              <a:gd name="connsiteX34" fmla="*/ 180975 w 912019"/>
              <a:gd name="connsiteY34" fmla="*/ 640556 h 812006"/>
              <a:gd name="connsiteX35" fmla="*/ 192882 w 912019"/>
              <a:gd name="connsiteY35" fmla="*/ 714375 h 812006"/>
              <a:gd name="connsiteX36" fmla="*/ 221457 w 912019"/>
              <a:gd name="connsiteY36" fmla="*/ 700087 h 812006"/>
              <a:gd name="connsiteX37" fmla="*/ 269082 w 912019"/>
              <a:gd name="connsiteY37" fmla="*/ 742950 h 812006"/>
              <a:gd name="connsiteX38" fmla="*/ 302419 w 912019"/>
              <a:gd name="connsiteY38" fmla="*/ 735806 h 812006"/>
              <a:gd name="connsiteX39" fmla="*/ 347663 w 912019"/>
              <a:gd name="connsiteY39" fmla="*/ 709612 h 812006"/>
              <a:gd name="connsiteX40" fmla="*/ 366713 w 912019"/>
              <a:gd name="connsiteY40" fmla="*/ 728662 h 812006"/>
              <a:gd name="connsiteX41" fmla="*/ 402432 w 912019"/>
              <a:gd name="connsiteY41" fmla="*/ 762000 h 812006"/>
              <a:gd name="connsiteX42" fmla="*/ 402432 w 912019"/>
              <a:gd name="connsiteY42" fmla="*/ 762000 h 812006"/>
              <a:gd name="connsiteX43" fmla="*/ 459582 w 912019"/>
              <a:gd name="connsiteY43" fmla="*/ 785812 h 812006"/>
              <a:gd name="connsiteX44" fmla="*/ 478632 w 912019"/>
              <a:gd name="connsiteY44" fmla="*/ 812006 h 812006"/>
              <a:gd name="connsiteX45" fmla="*/ 478632 w 912019"/>
              <a:gd name="connsiteY45" fmla="*/ 812006 h 812006"/>
              <a:gd name="connsiteX46" fmla="*/ 478632 w 912019"/>
              <a:gd name="connsiteY46" fmla="*/ 783431 h 812006"/>
              <a:gd name="connsiteX47" fmla="*/ 533400 w 912019"/>
              <a:gd name="connsiteY47" fmla="*/ 800100 h 812006"/>
              <a:gd name="connsiteX48" fmla="*/ 545307 w 912019"/>
              <a:gd name="connsiteY48" fmla="*/ 735806 h 812006"/>
              <a:gd name="connsiteX49" fmla="*/ 590550 w 912019"/>
              <a:gd name="connsiteY49" fmla="*/ 733425 h 812006"/>
              <a:gd name="connsiteX50" fmla="*/ 578644 w 912019"/>
              <a:gd name="connsiteY50" fmla="*/ 707231 h 812006"/>
              <a:gd name="connsiteX51" fmla="*/ 657225 w 912019"/>
              <a:gd name="connsiteY51" fmla="*/ 652462 h 812006"/>
              <a:gd name="connsiteX52" fmla="*/ 669132 w 912019"/>
              <a:gd name="connsiteY52" fmla="*/ 683418 h 812006"/>
              <a:gd name="connsiteX53" fmla="*/ 726282 w 912019"/>
              <a:gd name="connsiteY53" fmla="*/ 681037 h 812006"/>
              <a:gd name="connsiteX54" fmla="*/ 740569 w 912019"/>
              <a:gd name="connsiteY54" fmla="*/ 685800 h 812006"/>
              <a:gd name="connsiteX55" fmla="*/ 745332 w 912019"/>
              <a:gd name="connsiteY55" fmla="*/ 754856 h 812006"/>
              <a:gd name="connsiteX56" fmla="*/ 850107 w 912019"/>
              <a:gd name="connsiteY56" fmla="*/ 640556 h 812006"/>
              <a:gd name="connsiteX57" fmla="*/ 912019 w 912019"/>
              <a:gd name="connsiteY57" fmla="*/ 547687 h 812006"/>
              <a:gd name="connsiteX58" fmla="*/ 876300 w 912019"/>
              <a:gd name="connsiteY58" fmla="*/ 542925 h 812006"/>
              <a:gd name="connsiteX59" fmla="*/ 866775 w 912019"/>
              <a:gd name="connsiteY59" fmla="*/ 481012 h 812006"/>
              <a:gd name="connsiteX60" fmla="*/ 831057 w 912019"/>
              <a:gd name="connsiteY60" fmla="*/ 457200 h 812006"/>
              <a:gd name="connsiteX61" fmla="*/ 781050 w 912019"/>
              <a:gd name="connsiteY61" fmla="*/ 457200 h 812006"/>
              <a:gd name="connsiteX62" fmla="*/ 721519 w 912019"/>
              <a:gd name="connsiteY62" fmla="*/ 395287 h 812006"/>
              <a:gd name="connsiteX63" fmla="*/ 711994 w 912019"/>
              <a:gd name="connsiteY63" fmla="*/ 345281 h 812006"/>
              <a:gd name="connsiteX64" fmla="*/ 645319 w 912019"/>
              <a:gd name="connsiteY64" fmla="*/ 314325 h 812006"/>
              <a:gd name="connsiteX65" fmla="*/ 611982 w 912019"/>
              <a:gd name="connsiteY65" fmla="*/ 288131 h 812006"/>
              <a:gd name="connsiteX66" fmla="*/ 540544 w 912019"/>
              <a:gd name="connsiteY66" fmla="*/ 188118 h 812006"/>
              <a:gd name="connsiteX67" fmla="*/ 490538 w 912019"/>
              <a:gd name="connsiteY67" fmla="*/ 100012 h 812006"/>
              <a:gd name="connsiteX68" fmla="*/ 464344 w 912019"/>
              <a:gd name="connsiteY68" fmla="*/ 0 h 8120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</a:cxnLst>
            <a:rect l="l" t="t" r="r" b="b"/>
            <a:pathLst>
              <a:path w="912019" h="812006">
                <a:moveTo>
                  <a:pt x="464344" y="0"/>
                </a:moveTo>
                <a:lnTo>
                  <a:pt x="369094" y="21431"/>
                </a:lnTo>
                <a:lnTo>
                  <a:pt x="352425" y="42862"/>
                </a:lnTo>
                <a:lnTo>
                  <a:pt x="330994" y="61912"/>
                </a:lnTo>
                <a:lnTo>
                  <a:pt x="314325" y="57150"/>
                </a:lnTo>
                <a:lnTo>
                  <a:pt x="278607" y="57150"/>
                </a:lnTo>
                <a:lnTo>
                  <a:pt x="264319" y="90487"/>
                </a:lnTo>
                <a:lnTo>
                  <a:pt x="257175" y="102393"/>
                </a:lnTo>
                <a:lnTo>
                  <a:pt x="185738" y="138112"/>
                </a:lnTo>
                <a:lnTo>
                  <a:pt x="202407" y="150018"/>
                </a:lnTo>
                <a:lnTo>
                  <a:pt x="207169" y="171450"/>
                </a:lnTo>
                <a:lnTo>
                  <a:pt x="197644" y="197643"/>
                </a:lnTo>
                <a:lnTo>
                  <a:pt x="159544" y="207168"/>
                </a:lnTo>
                <a:lnTo>
                  <a:pt x="102394" y="190500"/>
                </a:lnTo>
                <a:lnTo>
                  <a:pt x="83344" y="221456"/>
                </a:lnTo>
                <a:lnTo>
                  <a:pt x="90488" y="264318"/>
                </a:lnTo>
                <a:lnTo>
                  <a:pt x="73819" y="278606"/>
                </a:lnTo>
                <a:lnTo>
                  <a:pt x="50007" y="295275"/>
                </a:lnTo>
                <a:lnTo>
                  <a:pt x="85725" y="335756"/>
                </a:lnTo>
                <a:lnTo>
                  <a:pt x="97632" y="371475"/>
                </a:lnTo>
                <a:lnTo>
                  <a:pt x="121444" y="404812"/>
                </a:lnTo>
                <a:lnTo>
                  <a:pt x="154782" y="440531"/>
                </a:lnTo>
                <a:lnTo>
                  <a:pt x="176213" y="454818"/>
                </a:lnTo>
                <a:lnTo>
                  <a:pt x="178594" y="478631"/>
                </a:lnTo>
                <a:lnTo>
                  <a:pt x="159544" y="502443"/>
                </a:lnTo>
                <a:lnTo>
                  <a:pt x="135732" y="502443"/>
                </a:lnTo>
                <a:lnTo>
                  <a:pt x="114300" y="502443"/>
                </a:lnTo>
                <a:lnTo>
                  <a:pt x="97632" y="492918"/>
                </a:lnTo>
                <a:lnTo>
                  <a:pt x="33338" y="461962"/>
                </a:lnTo>
                <a:lnTo>
                  <a:pt x="30957" y="492918"/>
                </a:lnTo>
                <a:lnTo>
                  <a:pt x="11907" y="500062"/>
                </a:lnTo>
                <a:lnTo>
                  <a:pt x="0" y="528637"/>
                </a:lnTo>
                <a:lnTo>
                  <a:pt x="11907" y="569118"/>
                </a:lnTo>
                <a:lnTo>
                  <a:pt x="102394" y="595312"/>
                </a:lnTo>
                <a:lnTo>
                  <a:pt x="180975" y="640556"/>
                </a:lnTo>
                <a:lnTo>
                  <a:pt x="192882" y="714375"/>
                </a:lnTo>
                <a:lnTo>
                  <a:pt x="221457" y="700087"/>
                </a:lnTo>
                <a:lnTo>
                  <a:pt x="269082" y="742950"/>
                </a:lnTo>
                <a:lnTo>
                  <a:pt x="302419" y="735806"/>
                </a:lnTo>
                <a:lnTo>
                  <a:pt x="347663" y="709612"/>
                </a:lnTo>
                <a:lnTo>
                  <a:pt x="366713" y="728662"/>
                </a:lnTo>
                <a:lnTo>
                  <a:pt x="402432" y="762000"/>
                </a:lnTo>
                <a:lnTo>
                  <a:pt x="402432" y="762000"/>
                </a:lnTo>
                <a:lnTo>
                  <a:pt x="459582" y="785812"/>
                </a:lnTo>
                <a:lnTo>
                  <a:pt x="478632" y="812006"/>
                </a:lnTo>
                <a:lnTo>
                  <a:pt x="478632" y="812006"/>
                </a:lnTo>
                <a:lnTo>
                  <a:pt x="478632" y="783431"/>
                </a:lnTo>
                <a:lnTo>
                  <a:pt x="533400" y="800100"/>
                </a:lnTo>
                <a:lnTo>
                  <a:pt x="545307" y="735806"/>
                </a:lnTo>
                <a:lnTo>
                  <a:pt x="590550" y="733425"/>
                </a:lnTo>
                <a:lnTo>
                  <a:pt x="578644" y="707231"/>
                </a:lnTo>
                <a:lnTo>
                  <a:pt x="657225" y="652462"/>
                </a:lnTo>
                <a:lnTo>
                  <a:pt x="669132" y="683418"/>
                </a:lnTo>
                <a:lnTo>
                  <a:pt x="726282" y="681037"/>
                </a:lnTo>
                <a:lnTo>
                  <a:pt x="740569" y="685800"/>
                </a:lnTo>
                <a:lnTo>
                  <a:pt x="745332" y="754856"/>
                </a:lnTo>
                <a:lnTo>
                  <a:pt x="850107" y="640556"/>
                </a:lnTo>
                <a:lnTo>
                  <a:pt x="912019" y="547687"/>
                </a:lnTo>
                <a:lnTo>
                  <a:pt x="876300" y="542925"/>
                </a:lnTo>
                <a:lnTo>
                  <a:pt x="866775" y="481012"/>
                </a:lnTo>
                <a:lnTo>
                  <a:pt x="831057" y="457200"/>
                </a:lnTo>
                <a:lnTo>
                  <a:pt x="781050" y="457200"/>
                </a:lnTo>
                <a:lnTo>
                  <a:pt x="721519" y="395287"/>
                </a:lnTo>
                <a:lnTo>
                  <a:pt x="711994" y="345281"/>
                </a:lnTo>
                <a:lnTo>
                  <a:pt x="645319" y="314325"/>
                </a:lnTo>
                <a:lnTo>
                  <a:pt x="611982" y="288131"/>
                </a:lnTo>
                <a:lnTo>
                  <a:pt x="540544" y="188118"/>
                </a:lnTo>
                <a:lnTo>
                  <a:pt x="490538" y="100012"/>
                </a:lnTo>
                <a:lnTo>
                  <a:pt x="464344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>
              <a:defRPr/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6" name="Figura a mano libera 225"/>
          <p:cNvSpPr/>
          <p:nvPr/>
        </p:nvSpPr>
        <p:spPr bwMode="auto">
          <a:xfrm>
            <a:off x="848917" y="2264267"/>
            <a:ext cx="830413" cy="361833"/>
          </a:xfrm>
          <a:custGeom>
            <a:avLst/>
            <a:gdLst>
              <a:gd name="connsiteX0" fmla="*/ 1176337 w 1245394"/>
              <a:gd name="connsiteY0" fmla="*/ 335756 h 545306"/>
              <a:gd name="connsiteX1" fmla="*/ 1228725 w 1245394"/>
              <a:gd name="connsiteY1" fmla="*/ 335756 h 545306"/>
              <a:gd name="connsiteX2" fmla="*/ 1245394 w 1245394"/>
              <a:gd name="connsiteY2" fmla="*/ 378618 h 545306"/>
              <a:gd name="connsiteX3" fmla="*/ 1204912 w 1245394"/>
              <a:gd name="connsiteY3" fmla="*/ 381000 h 545306"/>
              <a:gd name="connsiteX4" fmla="*/ 1190625 w 1245394"/>
              <a:gd name="connsiteY4" fmla="*/ 409575 h 545306"/>
              <a:gd name="connsiteX5" fmla="*/ 1176337 w 1245394"/>
              <a:gd name="connsiteY5" fmla="*/ 390525 h 545306"/>
              <a:gd name="connsiteX6" fmla="*/ 1162050 w 1245394"/>
              <a:gd name="connsiteY6" fmla="*/ 407193 h 545306"/>
              <a:gd name="connsiteX7" fmla="*/ 1173956 w 1245394"/>
              <a:gd name="connsiteY7" fmla="*/ 438150 h 545306"/>
              <a:gd name="connsiteX8" fmla="*/ 1173956 w 1245394"/>
              <a:gd name="connsiteY8" fmla="*/ 438150 h 545306"/>
              <a:gd name="connsiteX9" fmla="*/ 1073944 w 1245394"/>
              <a:gd name="connsiteY9" fmla="*/ 352425 h 545306"/>
              <a:gd name="connsiteX10" fmla="*/ 1014412 w 1245394"/>
              <a:gd name="connsiteY10" fmla="*/ 307181 h 545306"/>
              <a:gd name="connsiteX11" fmla="*/ 978694 w 1245394"/>
              <a:gd name="connsiteY11" fmla="*/ 273843 h 545306"/>
              <a:gd name="connsiteX12" fmla="*/ 947737 w 1245394"/>
              <a:gd name="connsiteY12" fmla="*/ 245268 h 545306"/>
              <a:gd name="connsiteX13" fmla="*/ 885825 w 1245394"/>
              <a:gd name="connsiteY13" fmla="*/ 219075 h 545306"/>
              <a:gd name="connsiteX14" fmla="*/ 869156 w 1245394"/>
              <a:gd name="connsiteY14" fmla="*/ 223837 h 545306"/>
              <a:gd name="connsiteX15" fmla="*/ 859631 w 1245394"/>
              <a:gd name="connsiteY15" fmla="*/ 240506 h 545306"/>
              <a:gd name="connsiteX16" fmla="*/ 845344 w 1245394"/>
              <a:gd name="connsiteY16" fmla="*/ 226218 h 545306"/>
              <a:gd name="connsiteX17" fmla="*/ 828675 w 1245394"/>
              <a:gd name="connsiteY17" fmla="*/ 204787 h 545306"/>
              <a:gd name="connsiteX18" fmla="*/ 788194 w 1245394"/>
              <a:gd name="connsiteY18" fmla="*/ 192881 h 545306"/>
              <a:gd name="connsiteX19" fmla="*/ 707231 w 1245394"/>
              <a:gd name="connsiteY19" fmla="*/ 164306 h 545306"/>
              <a:gd name="connsiteX20" fmla="*/ 671512 w 1245394"/>
              <a:gd name="connsiteY20" fmla="*/ 150018 h 545306"/>
              <a:gd name="connsiteX21" fmla="*/ 614362 w 1245394"/>
              <a:gd name="connsiteY21" fmla="*/ 171450 h 545306"/>
              <a:gd name="connsiteX22" fmla="*/ 550069 w 1245394"/>
              <a:gd name="connsiteY22" fmla="*/ 200025 h 545306"/>
              <a:gd name="connsiteX23" fmla="*/ 483394 w 1245394"/>
              <a:gd name="connsiteY23" fmla="*/ 235743 h 545306"/>
              <a:gd name="connsiteX24" fmla="*/ 466725 w 1245394"/>
              <a:gd name="connsiteY24" fmla="*/ 280987 h 545306"/>
              <a:gd name="connsiteX25" fmla="*/ 445294 w 1245394"/>
              <a:gd name="connsiteY25" fmla="*/ 314325 h 545306"/>
              <a:gd name="connsiteX26" fmla="*/ 388144 w 1245394"/>
              <a:gd name="connsiteY26" fmla="*/ 326231 h 545306"/>
              <a:gd name="connsiteX27" fmla="*/ 364331 w 1245394"/>
              <a:gd name="connsiteY27" fmla="*/ 369093 h 545306"/>
              <a:gd name="connsiteX28" fmla="*/ 369094 w 1245394"/>
              <a:gd name="connsiteY28" fmla="*/ 388143 h 545306"/>
              <a:gd name="connsiteX29" fmla="*/ 342900 w 1245394"/>
              <a:gd name="connsiteY29" fmla="*/ 411956 h 545306"/>
              <a:gd name="connsiteX30" fmla="*/ 321469 w 1245394"/>
              <a:gd name="connsiteY30" fmla="*/ 442912 h 545306"/>
              <a:gd name="connsiteX31" fmla="*/ 311944 w 1245394"/>
              <a:gd name="connsiteY31" fmla="*/ 478631 h 545306"/>
              <a:gd name="connsiteX32" fmla="*/ 273844 w 1245394"/>
              <a:gd name="connsiteY32" fmla="*/ 478631 h 545306"/>
              <a:gd name="connsiteX33" fmla="*/ 235744 w 1245394"/>
              <a:gd name="connsiteY33" fmla="*/ 502443 h 545306"/>
              <a:gd name="connsiteX34" fmla="*/ 159544 w 1245394"/>
              <a:gd name="connsiteY34" fmla="*/ 504825 h 545306"/>
              <a:gd name="connsiteX35" fmla="*/ 126206 w 1245394"/>
              <a:gd name="connsiteY35" fmla="*/ 521493 h 545306"/>
              <a:gd name="connsiteX36" fmla="*/ 95250 w 1245394"/>
              <a:gd name="connsiteY36" fmla="*/ 540543 h 545306"/>
              <a:gd name="connsiteX37" fmla="*/ 64294 w 1245394"/>
              <a:gd name="connsiteY37" fmla="*/ 542925 h 545306"/>
              <a:gd name="connsiteX38" fmla="*/ 50006 w 1245394"/>
              <a:gd name="connsiteY38" fmla="*/ 528637 h 545306"/>
              <a:gd name="connsiteX39" fmla="*/ 28575 w 1245394"/>
              <a:gd name="connsiteY39" fmla="*/ 545306 h 545306"/>
              <a:gd name="connsiteX40" fmla="*/ 0 w 1245394"/>
              <a:gd name="connsiteY40" fmla="*/ 545306 h 545306"/>
              <a:gd name="connsiteX41" fmla="*/ 2381 w 1245394"/>
              <a:gd name="connsiteY41" fmla="*/ 471487 h 545306"/>
              <a:gd name="connsiteX42" fmla="*/ 35719 w 1245394"/>
              <a:gd name="connsiteY42" fmla="*/ 454818 h 545306"/>
              <a:gd name="connsiteX43" fmla="*/ 100012 w 1245394"/>
              <a:gd name="connsiteY43" fmla="*/ 381000 h 545306"/>
              <a:gd name="connsiteX44" fmla="*/ 130969 w 1245394"/>
              <a:gd name="connsiteY44" fmla="*/ 340518 h 545306"/>
              <a:gd name="connsiteX45" fmla="*/ 154781 w 1245394"/>
              <a:gd name="connsiteY45" fmla="*/ 307181 h 545306"/>
              <a:gd name="connsiteX46" fmla="*/ 219075 w 1245394"/>
              <a:gd name="connsiteY46" fmla="*/ 338137 h 545306"/>
              <a:gd name="connsiteX47" fmla="*/ 261937 w 1245394"/>
              <a:gd name="connsiteY47" fmla="*/ 335756 h 545306"/>
              <a:gd name="connsiteX48" fmla="*/ 283369 w 1245394"/>
              <a:gd name="connsiteY48" fmla="*/ 302418 h 545306"/>
              <a:gd name="connsiteX49" fmla="*/ 314325 w 1245394"/>
              <a:gd name="connsiteY49" fmla="*/ 319087 h 545306"/>
              <a:gd name="connsiteX50" fmla="*/ 316706 w 1245394"/>
              <a:gd name="connsiteY50" fmla="*/ 273843 h 545306"/>
              <a:gd name="connsiteX51" fmla="*/ 328612 w 1245394"/>
              <a:gd name="connsiteY51" fmla="*/ 178593 h 545306"/>
              <a:gd name="connsiteX52" fmla="*/ 354806 w 1245394"/>
              <a:gd name="connsiteY52" fmla="*/ 157162 h 545306"/>
              <a:gd name="connsiteX53" fmla="*/ 392906 w 1245394"/>
              <a:gd name="connsiteY53" fmla="*/ 104775 h 545306"/>
              <a:gd name="connsiteX54" fmla="*/ 402431 w 1245394"/>
              <a:gd name="connsiteY54" fmla="*/ 71437 h 545306"/>
              <a:gd name="connsiteX55" fmla="*/ 459581 w 1245394"/>
              <a:gd name="connsiteY55" fmla="*/ 107156 h 545306"/>
              <a:gd name="connsiteX56" fmla="*/ 528637 w 1245394"/>
              <a:gd name="connsiteY56" fmla="*/ 88106 h 545306"/>
              <a:gd name="connsiteX57" fmla="*/ 557212 w 1245394"/>
              <a:gd name="connsiteY57" fmla="*/ 107156 h 545306"/>
              <a:gd name="connsiteX58" fmla="*/ 590550 w 1245394"/>
              <a:gd name="connsiteY58" fmla="*/ 45243 h 545306"/>
              <a:gd name="connsiteX59" fmla="*/ 652462 w 1245394"/>
              <a:gd name="connsiteY59" fmla="*/ 54768 h 545306"/>
              <a:gd name="connsiteX60" fmla="*/ 676275 w 1245394"/>
              <a:gd name="connsiteY60" fmla="*/ 102393 h 545306"/>
              <a:gd name="connsiteX61" fmla="*/ 704850 w 1245394"/>
              <a:gd name="connsiteY61" fmla="*/ 71437 h 545306"/>
              <a:gd name="connsiteX62" fmla="*/ 742950 w 1245394"/>
              <a:gd name="connsiteY62" fmla="*/ 80962 h 545306"/>
              <a:gd name="connsiteX63" fmla="*/ 742950 w 1245394"/>
              <a:gd name="connsiteY63" fmla="*/ 42862 h 545306"/>
              <a:gd name="connsiteX64" fmla="*/ 776287 w 1245394"/>
              <a:gd name="connsiteY64" fmla="*/ 0 h 545306"/>
              <a:gd name="connsiteX65" fmla="*/ 814387 w 1245394"/>
              <a:gd name="connsiteY65" fmla="*/ 42862 h 545306"/>
              <a:gd name="connsiteX66" fmla="*/ 852487 w 1245394"/>
              <a:gd name="connsiteY66" fmla="*/ 61912 h 545306"/>
              <a:gd name="connsiteX67" fmla="*/ 859631 w 1245394"/>
              <a:gd name="connsiteY67" fmla="*/ 78581 h 545306"/>
              <a:gd name="connsiteX68" fmla="*/ 883444 w 1245394"/>
              <a:gd name="connsiteY68" fmla="*/ 42862 h 545306"/>
              <a:gd name="connsiteX69" fmla="*/ 928687 w 1245394"/>
              <a:gd name="connsiteY69" fmla="*/ 76200 h 545306"/>
              <a:gd name="connsiteX70" fmla="*/ 983456 w 1245394"/>
              <a:gd name="connsiteY70" fmla="*/ 69056 h 545306"/>
              <a:gd name="connsiteX71" fmla="*/ 1000125 w 1245394"/>
              <a:gd name="connsiteY71" fmla="*/ 80962 h 545306"/>
              <a:gd name="connsiteX72" fmla="*/ 1021556 w 1245394"/>
              <a:gd name="connsiteY72" fmla="*/ 104775 h 545306"/>
              <a:gd name="connsiteX73" fmla="*/ 1002506 w 1245394"/>
              <a:gd name="connsiteY73" fmla="*/ 178593 h 545306"/>
              <a:gd name="connsiteX74" fmla="*/ 1042987 w 1245394"/>
              <a:gd name="connsiteY74" fmla="*/ 180975 h 545306"/>
              <a:gd name="connsiteX75" fmla="*/ 1092994 w 1245394"/>
              <a:gd name="connsiteY75" fmla="*/ 173831 h 545306"/>
              <a:gd name="connsiteX76" fmla="*/ 1092994 w 1245394"/>
              <a:gd name="connsiteY76" fmla="*/ 207168 h 545306"/>
              <a:gd name="connsiteX77" fmla="*/ 1114425 w 1245394"/>
              <a:gd name="connsiteY77" fmla="*/ 230981 h 545306"/>
              <a:gd name="connsiteX78" fmla="*/ 1150144 w 1245394"/>
              <a:gd name="connsiteY78" fmla="*/ 276225 h 545306"/>
              <a:gd name="connsiteX79" fmla="*/ 1171575 w 1245394"/>
              <a:gd name="connsiteY79" fmla="*/ 285750 h 545306"/>
              <a:gd name="connsiteX80" fmla="*/ 1176337 w 1245394"/>
              <a:gd name="connsiteY80" fmla="*/ 335756 h 5453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</a:cxnLst>
            <a:rect l="l" t="t" r="r" b="b"/>
            <a:pathLst>
              <a:path w="1245394" h="545306">
                <a:moveTo>
                  <a:pt x="1176337" y="335756"/>
                </a:moveTo>
                <a:lnTo>
                  <a:pt x="1228725" y="335756"/>
                </a:lnTo>
                <a:lnTo>
                  <a:pt x="1245394" y="378618"/>
                </a:lnTo>
                <a:lnTo>
                  <a:pt x="1204912" y="381000"/>
                </a:lnTo>
                <a:lnTo>
                  <a:pt x="1190625" y="409575"/>
                </a:lnTo>
                <a:lnTo>
                  <a:pt x="1176337" y="390525"/>
                </a:lnTo>
                <a:lnTo>
                  <a:pt x="1162050" y="407193"/>
                </a:lnTo>
                <a:lnTo>
                  <a:pt x="1173956" y="438150"/>
                </a:lnTo>
                <a:lnTo>
                  <a:pt x="1173956" y="438150"/>
                </a:lnTo>
                <a:lnTo>
                  <a:pt x="1073944" y="352425"/>
                </a:lnTo>
                <a:lnTo>
                  <a:pt x="1014412" y="307181"/>
                </a:lnTo>
                <a:lnTo>
                  <a:pt x="978694" y="273843"/>
                </a:lnTo>
                <a:lnTo>
                  <a:pt x="947737" y="245268"/>
                </a:lnTo>
                <a:lnTo>
                  <a:pt x="885825" y="219075"/>
                </a:lnTo>
                <a:lnTo>
                  <a:pt x="869156" y="223837"/>
                </a:lnTo>
                <a:lnTo>
                  <a:pt x="859631" y="240506"/>
                </a:lnTo>
                <a:lnTo>
                  <a:pt x="845344" y="226218"/>
                </a:lnTo>
                <a:lnTo>
                  <a:pt x="828675" y="204787"/>
                </a:lnTo>
                <a:lnTo>
                  <a:pt x="788194" y="192881"/>
                </a:lnTo>
                <a:lnTo>
                  <a:pt x="707231" y="164306"/>
                </a:lnTo>
                <a:lnTo>
                  <a:pt x="671512" y="150018"/>
                </a:lnTo>
                <a:lnTo>
                  <a:pt x="614362" y="171450"/>
                </a:lnTo>
                <a:lnTo>
                  <a:pt x="550069" y="200025"/>
                </a:lnTo>
                <a:lnTo>
                  <a:pt x="483394" y="235743"/>
                </a:lnTo>
                <a:lnTo>
                  <a:pt x="466725" y="280987"/>
                </a:lnTo>
                <a:lnTo>
                  <a:pt x="445294" y="314325"/>
                </a:lnTo>
                <a:lnTo>
                  <a:pt x="388144" y="326231"/>
                </a:lnTo>
                <a:lnTo>
                  <a:pt x="364331" y="369093"/>
                </a:lnTo>
                <a:lnTo>
                  <a:pt x="369094" y="388143"/>
                </a:lnTo>
                <a:lnTo>
                  <a:pt x="342900" y="411956"/>
                </a:lnTo>
                <a:lnTo>
                  <a:pt x="321469" y="442912"/>
                </a:lnTo>
                <a:lnTo>
                  <a:pt x="311944" y="478631"/>
                </a:lnTo>
                <a:lnTo>
                  <a:pt x="273844" y="478631"/>
                </a:lnTo>
                <a:lnTo>
                  <a:pt x="235744" y="502443"/>
                </a:lnTo>
                <a:lnTo>
                  <a:pt x="159544" y="504825"/>
                </a:lnTo>
                <a:lnTo>
                  <a:pt x="126206" y="521493"/>
                </a:lnTo>
                <a:lnTo>
                  <a:pt x="95250" y="540543"/>
                </a:lnTo>
                <a:lnTo>
                  <a:pt x="64294" y="542925"/>
                </a:lnTo>
                <a:lnTo>
                  <a:pt x="50006" y="528637"/>
                </a:lnTo>
                <a:lnTo>
                  <a:pt x="28575" y="545306"/>
                </a:lnTo>
                <a:lnTo>
                  <a:pt x="0" y="545306"/>
                </a:lnTo>
                <a:cubicBezTo>
                  <a:pt x="794" y="520700"/>
                  <a:pt x="1587" y="496093"/>
                  <a:pt x="2381" y="471487"/>
                </a:cubicBezTo>
                <a:lnTo>
                  <a:pt x="35719" y="454818"/>
                </a:lnTo>
                <a:lnTo>
                  <a:pt x="100012" y="381000"/>
                </a:lnTo>
                <a:lnTo>
                  <a:pt x="130969" y="340518"/>
                </a:lnTo>
                <a:lnTo>
                  <a:pt x="154781" y="307181"/>
                </a:lnTo>
                <a:lnTo>
                  <a:pt x="219075" y="338137"/>
                </a:lnTo>
                <a:lnTo>
                  <a:pt x="261937" y="335756"/>
                </a:lnTo>
                <a:lnTo>
                  <a:pt x="283369" y="302418"/>
                </a:lnTo>
                <a:lnTo>
                  <a:pt x="314325" y="319087"/>
                </a:lnTo>
                <a:lnTo>
                  <a:pt x="316706" y="273843"/>
                </a:lnTo>
                <a:lnTo>
                  <a:pt x="328612" y="178593"/>
                </a:lnTo>
                <a:lnTo>
                  <a:pt x="354806" y="157162"/>
                </a:lnTo>
                <a:lnTo>
                  <a:pt x="392906" y="104775"/>
                </a:lnTo>
                <a:lnTo>
                  <a:pt x="402431" y="71437"/>
                </a:lnTo>
                <a:lnTo>
                  <a:pt x="459581" y="107156"/>
                </a:lnTo>
                <a:lnTo>
                  <a:pt x="528637" y="88106"/>
                </a:lnTo>
                <a:lnTo>
                  <a:pt x="557212" y="107156"/>
                </a:lnTo>
                <a:lnTo>
                  <a:pt x="590550" y="45243"/>
                </a:lnTo>
                <a:lnTo>
                  <a:pt x="652462" y="54768"/>
                </a:lnTo>
                <a:lnTo>
                  <a:pt x="676275" y="102393"/>
                </a:lnTo>
                <a:lnTo>
                  <a:pt x="704850" y="71437"/>
                </a:lnTo>
                <a:lnTo>
                  <a:pt x="742950" y="80962"/>
                </a:lnTo>
                <a:lnTo>
                  <a:pt x="742950" y="42862"/>
                </a:lnTo>
                <a:lnTo>
                  <a:pt x="776287" y="0"/>
                </a:lnTo>
                <a:lnTo>
                  <a:pt x="814387" y="42862"/>
                </a:lnTo>
                <a:lnTo>
                  <a:pt x="852487" y="61912"/>
                </a:lnTo>
                <a:lnTo>
                  <a:pt x="859631" y="78581"/>
                </a:lnTo>
                <a:lnTo>
                  <a:pt x="883444" y="42862"/>
                </a:lnTo>
                <a:lnTo>
                  <a:pt x="928687" y="76200"/>
                </a:lnTo>
                <a:lnTo>
                  <a:pt x="983456" y="69056"/>
                </a:lnTo>
                <a:lnTo>
                  <a:pt x="1000125" y="80962"/>
                </a:lnTo>
                <a:lnTo>
                  <a:pt x="1021556" y="104775"/>
                </a:lnTo>
                <a:lnTo>
                  <a:pt x="1002506" y="178593"/>
                </a:lnTo>
                <a:lnTo>
                  <a:pt x="1042987" y="180975"/>
                </a:lnTo>
                <a:lnTo>
                  <a:pt x="1092994" y="173831"/>
                </a:lnTo>
                <a:lnTo>
                  <a:pt x="1092994" y="207168"/>
                </a:lnTo>
                <a:lnTo>
                  <a:pt x="1114425" y="230981"/>
                </a:lnTo>
                <a:lnTo>
                  <a:pt x="1150144" y="276225"/>
                </a:lnTo>
                <a:lnTo>
                  <a:pt x="1171575" y="285750"/>
                </a:lnTo>
                <a:lnTo>
                  <a:pt x="1176337" y="335756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>
              <a:defRPr/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7" name="Figura a mano libera 226"/>
          <p:cNvSpPr/>
          <p:nvPr/>
        </p:nvSpPr>
        <p:spPr bwMode="auto">
          <a:xfrm>
            <a:off x="1429220" y="2085216"/>
            <a:ext cx="1181553" cy="629166"/>
          </a:xfrm>
          <a:custGeom>
            <a:avLst/>
            <a:gdLst>
              <a:gd name="connsiteX0" fmla="*/ 11906 w 1774031"/>
              <a:gd name="connsiteY0" fmla="*/ 311944 h 947738"/>
              <a:gd name="connsiteX1" fmla="*/ 0 w 1774031"/>
              <a:gd name="connsiteY1" fmla="*/ 292894 h 947738"/>
              <a:gd name="connsiteX2" fmla="*/ 16669 w 1774031"/>
              <a:gd name="connsiteY2" fmla="*/ 264319 h 947738"/>
              <a:gd name="connsiteX3" fmla="*/ 52388 w 1774031"/>
              <a:gd name="connsiteY3" fmla="*/ 266700 h 947738"/>
              <a:gd name="connsiteX4" fmla="*/ 52388 w 1774031"/>
              <a:gd name="connsiteY4" fmla="*/ 266700 h 947738"/>
              <a:gd name="connsiteX5" fmla="*/ 83344 w 1774031"/>
              <a:gd name="connsiteY5" fmla="*/ 242888 h 947738"/>
              <a:gd name="connsiteX6" fmla="*/ 54769 w 1774031"/>
              <a:gd name="connsiteY6" fmla="*/ 211932 h 947738"/>
              <a:gd name="connsiteX7" fmla="*/ 85725 w 1774031"/>
              <a:gd name="connsiteY7" fmla="*/ 180975 h 947738"/>
              <a:gd name="connsiteX8" fmla="*/ 95250 w 1774031"/>
              <a:gd name="connsiteY8" fmla="*/ 142875 h 947738"/>
              <a:gd name="connsiteX9" fmla="*/ 64294 w 1774031"/>
              <a:gd name="connsiteY9" fmla="*/ 135732 h 947738"/>
              <a:gd name="connsiteX10" fmla="*/ 76200 w 1774031"/>
              <a:gd name="connsiteY10" fmla="*/ 90488 h 947738"/>
              <a:gd name="connsiteX11" fmla="*/ 121444 w 1774031"/>
              <a:gd name="connsiteY11" fmla="*/ 33338 h 947738"/>
              <a:gd name="connsiteX12" fmla="*/ 133350 w 1774031"/>
              <a:gd name="connsiteY12" fmla="*/ 16669 h 947738"/>
              <a:gd name="connsiteX13" fmla="*/ 145256 w 1774031"/>
              <a:gd name="connsiteY13" fmla="*/ 4763 h 947738"/>
              <a:gd name="connsiteX14" fmla="*/ 178594 w 1774031"/>
              <a:gd name="connsiteY14" fmla="*/ 2382 h 947738"/>
              <a:gd name="connsiteX15" fmla="*/ 180975 w 1774031"/>
              <a:gd name="connsiteY15" fmla="*/ 21432 h 947738"/>
              <a:gd name="connsiteX16" fmla="*/ 204788 w 1774031"/>
              <a:gd name="connsiteY16" fmla="*/ 33338 h 947738"/>
              <a:gd name="connsiteX17" fmla="*/ 235744 w 1774031"/>
              <a:gd name="connsiteY17" fmla="*/ 33338 h 947738"/>
              <a:gd name="connsiteX18" fmla="*/ 271463 w 1774031"/>
              <a:gd name="connsiteY18" fmla="*/ 23813 h 947738"/>
              <a:gd name="connsiteX19" fmla="*/ 295275 w 1774031"/>
              <a:gd name="connsiteY19" fmla="*/ 11907 h 947738"/>
              <a:gd name="connsiteX20" fmla="*/ 297656 w 1774031"/>
              <a:gd name="connsiteY20" fmla="*/ 23813 h 947738"/>
              <a:gd name="connsiteX21" fmla="*/ 328613 w 1774031"/>
              <a:gd name="connsiteY21" fmla="*/ 23813 h 947738"/>
              <a:gd name="connsiteX22" fmla="*/ 328613 w 1774031"/>
              <a:gd name="connsiteY22" fmla="*/ 23813 h 947738"/>
              <a:gd name="connsiteX23" fmla="*/ 371475 w 1774031"/>
              <a:gd name="connsiteY23" fmla="*/ 0 h 947738"/>
              <a:gd name="connsiteX24" fmla="*/ 376238 w 1774031"/>
              <a:gd name="connsiteY24" fmla="*/ 28575 h 947738"/>
              <a:gd name="connsiteX25" fmla="*/ 411956 w 1774031"/>
              <a:gd name="connsiteY25" fmla="*/ 2382 h 947738"/>
              <a:gd name="connsiteX26" fmla="*/ 440531 w 1774031"/>
              <a:gd name="connsiteY26" fmla="*/ 23813 h 947738"/>
              <a:gd name="connsiteX27" fmla="*/ 445294 w 1774031"/>
              <a:gd name="connsiteY27" fmla="*/ 50007 h 947738"/>
              <a:gd name="connsiteX28" fmla="*/ 466725 w 1774031"/>
              <a:gd name="connsiteY28" fmla="*/ 66675 h 947738"/>
              <a:gd name="connsiteX29" fmla="*/ 514350 w 1774031"/>
              <a:gd name="connsiteY29" fmla="*/ 59532 h 947738"/>
              <a:gd name="connsiteX30" fmla="*/ 514350 w 1774031"/>
              <a:gd name="connsiteY30" fmla="*/ 83344 h 947738"/>
              <a:gd name="connsiteX31" fmla="*/ 545306 w 1774031"/>
              <a:gd name="connsiteY31" fmla="*/ 85725 h 947738"/>
              <a:gd name="connsiteX32" fmla="*/ 564356 w 1774031"/>
              <a:gd name="connsiteY32" fmla="*/ 102394 h 947738"/>
              <a:gd name="connsiteX33" fmla="*/ 583406 w 1774031"/>
              <a:gd name="connsiteY33" fmla="*/ 111919 h 947738"/>
              <a:gd name="connsiteX34" fmla="*/ 602456 w 1774031"/>
              <a:gd name="connsiteY34" fmla="*/ 119063 h 947738"/>
              <a:gd name="connsiteX35" fmla="*/ 647700 w 1774031"/>
              <a:gd name="connsiteY35" fmla="*/ 142875 h 947738"/>
              <a:gd name="connsiteX36" fmla="*/ 700088 w 1774031"/>
              <a:gd name="connsiteY36" fmla="*/ 164307 h 947738"/>
              <a:gd name="connsiteX37" fmla="*/ 750094 w 1774031"/>
              <a:gd name="connsiteY37" fmla="*/ 121444 h 947738"/>
              <a:gd name="connsiteX38" fmla="*/ 766763 w 1774031"/>
              <a:gd name="connsiteY38" fmla="*/ 109538 h 947738"/>
              <a:gd name="connsiteX39" fmla="*/ 785813 w 1774031"/>
              <a:gd name="connsiteY39" fmla="*/ 135732 h 947738"/>
              <a:gd name="connsiteX40" fmla="*/ 807244 w 1774031"/>
              <a:gd name="connsiteY40" fmla="*/ 152400 h 947738"/>
              <a:gd name="connsiteX41" fmla="*/ 873919 w 1774031"/>
              <a:gd name="connsiteY41" fmla="*/ 157163 h 947738"/>
              <a:gd name="connsiteX42" fmla="*/ 907256 w 1774031"/>
              <a:gd name="connsiteY42" fmla="*/ 135732 h 947738"/>
              <a:gd name="connsiteX43" fmla="*/ 969169 w 1774031"/>
              <a:gd name="connsiteY43" fmla="*/ 138113 h 947738"/>
              <a:gd name="connsiteX44" fmla="*/ 992981 w 1774031"/>
              <a:gd name="connsiteY44" fmla="*/ 145257 h 947738"/>
              <a:gd name="connsiteX45" fmla="*/ 1023938 w 1774031"/>
              <a:gd name="connsiteY45" fmla="*/ 147638 h 947738"/>
              <a:gd name="connsiteX46" fmla="*/ 1066800 w 1774031"/>
              <a:gd name="connsiteY46" fmla="*/ 133350 h 947738"/>
              <a:gd name="connsiteX47" fmla="*/ 1131094 w 1774031"/>
              <a:gd name="connsiteY47" fmla="*/ 142875 h 947738"/>
              <a:gd name="connsiteX48" fmla="*/ 1176338 w 1774031"/>
              <a:gd name="connsiteY48" fmla="*/ 161925 h 947738"/>
              <a:gd name="connsiteX49" fmla="*/ 1200150 w 1774031"/>
              <a:gd name="connsiteY49" fmla="*/ 192882 h 947738"/>
              <a:gd name="connsiteX50" fmla="*/ 1264444 w 1774031"/>
              <a:gd name="connsiteY50" fmla="*/ 157163 h 947738"/>
              <a:gd name="connsiteX51" fmla="*/ 1314450 w 1774031"/>
              <a:gd name="connsiteY51" fmla="*/ 130969 h 947738"/>
              <a:gd name="connsiteX52" fmla="*/ 1354931 w 1774031"/>
              <a:gd name="connsiteY52" fmla="*/ 138113 h 947738"/>
              <a:gd name="connsiteX53" fmla="*/ 1409700 w 1774031"/>
              <a:gd name="connsiteY53" fmla="*/ 138113 h 947738"/>
              <a:gd name="connsiteX54" fmla="*/ 1438275 w 1774031"/>
              <a:gd name="connsiteY54" fmla="*/ 157163 h 947738"/>
              <a:gd name="connsiteX55" fmla="*/ 1495425 w 1774031"/>
              <a:gd name="connsiteY55" fmla="*/ 183357 h 947738"/>
              <a:gd name="connsiteX56" fmla="*/ 1524000 w 1774031"/>
              <a:gd name="connsiteY56" fmla="*/ 157163 h 947738"/>
              <a:gd name="connsiteX57" fmla="*/ 1540669 w 1774031"/>
              <a:gd name="connsiteY57" fmla="*/ 226219 h 947738"/>
              <a:gd name="connsiteX58" fmla="*/ 1512094 w 1774031"/>
              <a:gd name="connsiteY58" fmla="*/ 247650 h 947738"/>
              <a:gd name="connsiteX59" fmla="*/ 1500188 w 1774031"/>
              <a:gd name="connsiteY59" fmla="*/ 288132 h 947738"/>
              <a:gd name="connsiteX60" fmla="*/ 1512094 w 1774031"/>
              <a:gd name="connsiteY60" fmla="*/ 364332 h 947738"/>
              <a:gd name="connsiteX61" fmla="*/ 1524000 w 1774031"/>
              <a:gd name="connsiteY61" fmla="*/ 452438 h 947738"/>
              <a:gd name="connsiteX62" fmla="*/ 1526381 w 1774031"/>
              <a:gd name="connsiteY62" fmla="*/ 490538 h 947738"/>
              <a:gd name="connsiteX63" fmla="*/ 1552575 w 1774031"/>
              <a:gd name="connsiteY63" fmla="*/ 559594 h 947738"/>
              <a:gd name="connsiteX64" fmla="*/ 1559719 w 1774031"/>
              <a:gd name="connsiteY64" fmla="*/ 607219 h 947738"/>
              <a:gd name="connsiteX65" fmla="*/ 1574006 w 1774031"/>
              <a:gd name="connsiteY65" fmla="*/ 664369 h 947738"/>
              <a:gd name="connsiteX66" fmla="*/ 1638300 w 1774031"/>
              <a:gd name="connsiteY66" fmla="*/ 723900 h 947738"/>
              <a:gd name="connsiteX67" fmla="*/ 1674019 w 1774031"/>
              <a:gd name="connsiteY67" fmla="*/ 759619 h 947738"/>
              <a:gd name="connsiteX68" fmla="*/ 1712119 w 1774031"/>
              <a:gd name="connsiteY68" fmla="*/ 788194 h 947738"/>
              <a:gd name="connsiteX69" fmla="*/ 1750219 w 1774031"/>
              <a:gd name="connsiteY69" fmla="*/ 804863 h 947738"/>
              <a:gd name="connsiteX70" fmla="*/ 1774031 w 1774031"/>
              <a:gd name="connsiteY70" fmla="*/ 812007 h 947738"/>
              <a:gd name="connsiteX71" fmla="*/ 1747838 w 1774031"/>
              <a:gd name="connsiteY71" fmla="*/ 869157 h 947738"/>
              <a:gd name="connsiteX72" fmla="*/ 1716881 w 1774031"/>
              <a:gd name="connsiteY72" fmla="*/ 876300 h 947738"/>
              <a:gd name="connsiteX73" fmla="*/ 1690688 w 1774031"/>
              <a:gd name="connsiteY73" fmla="*/ 904875 h 947738"/>
              <a:gd name="connsiteX74" fmla="*/ 1654969 w 1774031"/>
              <a:gd name="connsiteY74" fmla="*/ 873919 h 947738"/>
              <a:gd name="connsiteX75" fmla="*/ 1621631 w 1774031"/>
              <a:gd name="connsiteY75" fmla="*/ 831057 h 947738"/>
              <a:gd name="connsiteX76" fmla="*/ 1595438 w 1774031"/>
              <a:gd name="connsiteY76" fmla="*/ 850107 h 947738"/>
              <a:gd name="connsiteX77" fmla="*/ 1576388 w 1774031"/>
              <a:gd name="connsiteY77" fmla="*/ 809625 h 947738"/>
              <a:gd name="connsiteX78" fmla="*/ 1502569 w 1774031"/>
              <a:gd name="connsiteY78" fmla="*/ 835819 h 947738"/>
              <a:gd name="connsiteX79" fmla="*/ 1466850 w 1774031"/>
              <a:gd name="connsiteY79" fmla="*/ 838200 h 947738"/>
              <a:gd name="connsiteX80" fmla="*/ 1452563 w 1774031"/>
              <a:gd name="connsiteY80" fmla="*/ 838200 h 947738"/>
              <a:gd name="connsiteX81" fmla="*/ 1407319 w 1774031"/>
              <a:gd name="connsiteY81" fmla="*/ 947738 h 947738"/>
              <a:gd name="connsiteX82" fmla="*/ 1338263 w 1774031"/>
              <a:gd name="connsiteY82" fmla="*/ 909638 h 947738"/>
              <a:gd name="connsiteX83" fmla="*/ 1231106 w 1774031"/>
              <a:gd name="connsiteY83" fmla="*/ 871538 h 947738"/>
              <a:gd name="connsiteX84" fmla="*/ 1233488 w 1774031"/>
              <a:gd name="connsiteY84" fmla="*/ 821532 h 947738"/>
              <a:gd name="connsiteX85" fmla="*/ 1209675 w 1774031"/>
              <a:gd name="connsiteY85" fmla="*/ 809625 h 947738"/>
              <a:gd name="connsiteX86" fmla="*/ 1262063 w 1774031"/>
              <a:gd name="connsiteY86" fmla="*/ 695325 h 947738"/>
              <a:gd name="connsiteX87" fmla="*/ 1183481 w 1774031"/>
              <a:gd name="connsiteY87" fmla="*/ 711994 h 947738"/>
              <a:gd name="connsiteX88" fmla="*/ 1185863 w 1774031"/>
              <a:gd name="connsiteY88" fmla="*/ 669132 h 947738"/>
              <a:gd name="connsiteX89" fmla="*/ 1131094 w 1774031"/>
              <a:gd name="connsiteY89" fmla="*/ 669132 h 947738"/>
              <a:gd name="connsiteX90" fmla="*/ 1095375 w 1774031"/>
              <a:gd name="connsiteY90" fmla="*/ 626269 h 947738"/>
              <a:gd name="connsiteX91" fmla="*/ 1078706 w 1774031"/>
              <a:gd name="connsiteY91" fmla="*/ 619125 h 947738"/>
              <a:gd name="connsiteX92" fmla="*/ 1050131 w 1774031"/>
              <a:gd name="connsiteY92" fmla="*/ 645319 h 947738"/>
              <a:gd name="connsiteX93" fmla="*/ 1009650 w 1774031"/>
              <a:gd name="connsiteY93" fmla="*/ 669132 h 947738"/>
              <a:gd name="connsiteX94" fmla="*/ 981075 w 1774031"/>
              <a:gd name="connsiteY94" fmla="*/ 681038 h 947738"/>
              <a:gd name="connsiteX95" fmla="*/ 1004888 w 1774031"/>
              <a:gd name="connsiteY95" fmla="*/ 707232 h 947738"/>
              <a:gd name="connsiteX96" fmla="*/ 985838 w 1774031"/>
              <a:gd name="connsiteY96" fmla="*/ 702469 h 947738"/>
              <a:gd name="connsiteX97" fmla="*/ 947738 w 1774031"/>
              <a:gd name="connsiteY97" fmla="*/ 702469 h 947738"/>
              <a:gd name="connsiteX98" fmla="*/ 947738 w 1774031"/>
              <a:gd name="connsiteY98" fmla="*/ 702469 h 947738"/>
              <a:gd name="connsiteX99" fmla="*/ 885825 w 1774031"/>
              <a:gd name="connsiteY99" fmla="*/ 673894 h 947738"/>
              <a:gd name="connsiteX100" fmla="*/ 847725 w 1774031"/>
              <a:gd name="connsiteY100" fmla="*/ 728663 h 947738"/>
              <a:gd name="connsiteX101" fmla="*/ 747713 w 1774031"/>
              <a:gd name="connsiteY101" fmla="*/ 661988 h 947738"/>
              <a:gd name="connsiteX102" fmla="*/ 704850 w 1774031"/>
              <a:gd name="connsiteY102" fmla="*/ 657225 h 947738"/>
              <a:gd name="connsiteX103" fmla="*/ 681038 w 1774031"/>
              <a:gd name="connsiteY103" fmla="*/ 671513 h 947738"/>
              <a:gd name="connsiteX104" fmla="*/ 647700 w 1774031"/>
              <a:gd name="connsiteY104" fmla="*/ 633413 h 947738"/>
              <a:gd name="connsiteX105" fmla="*/ 623888 w 1774031"/>
              <a:gd name="connsiteY105" fmla="*/ 600075 h 947738"/>
              <a:gd name="connsiteX106" fmla="*/ 573881 w 1774031"/>
              <a:gd name="connsiteY106" fmla="*/ 566738 h 947738"/>
              <a:gd name="connsiteX107" fmla="*/ 514350 w 1774031"/>
              <a:gd name="connsiteY107" fmla="*/ 561975 h 947738"/>
              <a:gd name="connsiteX108" fmla="*/ 431006 w 1774031"/>
              <a:gd name="connsiteY108" fmla="*/ 521494 h 947738"/>
              <a:gd name="connsiteX109" fmla="*/ 414338 w 1774031"/>
              <a:gd name="connsiteY109" fmla="*/ 471488 h 947738"/>
              <a:gd name="connsiteX110" fmla="*/ 404813 w 1774031"/>
              <a:gd name="connsiteY110" fmla="*/ 423863 h 947738"/>
              <a:gd name="connsiteX111" fmla="*/ 314325 w 1774031"/>
              <a:gd name="connsiteY111" fmla="*/ 421482 h 947738"/>
              <a:gd name="connsiteX112" fmla="*/ 292894 w 1774031"/>
              <a:gd name="connsiteY112" fmla="*/ 461963 h 947738"/>
              <a:gd name="connsiteX113" fmla="*/ 276225 w 1774031"/>
              <a:gd name="connsiteY113" fmla="*/ 483394 h 947738"/>
              <a:gd name="connsiteX114" fmla="*/ 233363 w 1774031"/>
              <a:gd name="connsiteY114" fmla="*/ 495300 h 947738"/>
              <a:gd name="connsiteX115" fmla="*/ 219075 w 1774031"/>
              <a:gd name="connsiteY115" fmla="*/ 435769 h 947738"/>
              <a:gd name="connsiteX116" fmla="*/ 133350 w 1774031"/>
              <a:gd name="connsiteY116" fmla="*/ 454819 h 947738"/>
              <a:gd name="connsiteX117" fmla="*/ 152400 w 1774031"/>
              <a:gd name="connsiteY117" fmla="*/ 409575 h 947738"/>
              <a:gd name="connsiteX118" fmla="*/ 164306 w 1774031"/>
              <a:gd name="connsiteY118" fmla="*/ 369094 h 947738"/>
              <a:gd name="connsiteX119" fmla="*/ 116681 w 1774031"/>
              <a:gd name="connsiteY119" fmla="*/ 328613 h 947738"/>
              <a:gd name="connsiteX120" fmla="*/ 64294 w 1774031"/>
              <a:gd name="connsiteY120" fmla="*/ 340519 h 947738"/>
              <a:gd name="connsiteX121" fmla="*/ 11906 w 1774031"/>
              <a:gd name="connsiteY121" fmla="*/ 311944 h 9477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</a:cxnLst>
            <a:rect l="l" t="t" r="r" b="b"/>
            <a:pathLst>
              <a:path w="1774031" h="947738">
                <a:moveTo>
                  <a:pt x="11906" y="311944"/>
                </a:moveTo>
                <a:lnTo>
                  <a:pt x="0" y="292894"/>
                </a:lnTo>
                <a:lnTo>
                  <a:pt x="16669" y="264319"/>
                </a:lnTo>
                <a:lnTo>
                  <a:pt x="52388" y="266700"/>
                </a:lnTo>
                <a:lnTo>
                  <a:pt x="52388" y="266700"/>
                </a:lnTo>
                <a:lnTo>
                  <a:pt x="83344" y="242888"/>
                </a:lnTo>
                <a:lnTo>
                  <a:pt x="54769" y="211932"/>
                </a:lnTo>
                <a:lnTo>
                  <a:pt x="85725" y="180975"/>
                </a:lnTo>
                <a:lnTo>
                  <a:pt x="95250" y="142875"/>
                </a:lnTo>
                <a:lnTo>
                  <a:pt x="64294" y="135732"/>
                </a:lnTo>
                <a:lnTo>
                  <a:pt x="76200" y="90488"/>
                </a:lnTo>
                <a:lnTo>
                  <a:pt x="121444" y="33338"/>
                </a:lnTo>
                <a:lnTo>
                  <a:pt x="133350" y="16669"/>
                </a:lnTo>
                <a:lnTo>
                  <a:pt x="145256" y="4763"/>
                </a:lnTo>
                <a:lnTo>
                  <a:pt x="178594" y="2382"/>
                </a:lnTo>
                <a:lnTo>
                  <a:pt x="180975" y="21432"/>
                </a:lnTo>
                <a:lnTo>
                  <a:pt x="204788" y="33338"/>
                </a:lnTo>
                <a:lnTo>
                  <a:pt x="235744" y="33338"/>
                </a:lnTo>
                <a:lnTo>
                  <a:pt x="271463" y="23813"/>
                </a:lnTo>
                <a:lnTo>
                  <a:pt x="295275" y="11907"/>
                </a:lnTo>
                <a:lnTo>
                  <a:pt x="297656" y="23813"/>
                </a:lnTo>
                <a:lnTo>
                  <a:pt x="328613" y="23813"/>
                </a:lnTo>
                <a:lnTo>
                  <a:pt x="328613" y="23813"/>
                </a:lnTo>
                <a:lnTo>
                  <a:pt x="371475" y="0"/>
                </a:lnTo>
                <a:lnTo>
                  <a:pt x="376238" y="28575"/>
                </a:lnTo>
                <a:lnTo>
                  <a:pt x="411956" y="2382"/>
                </a:lnTo>
                <a:lnTo>
                  <a:pt x="440531" y="23813"/>
                </a:lnTo>
                <a:lnTo>
                  <a:pt x="445294" y="50007"/>
                </a:lnTo>
                <a:lnTo>
                  <a:pt x="466725" y="66675"/>
                </a:lnTo>
                <a:lnTo>
                  <a:pt x="514350" y="59532"/>
                </a:lnTo>
                <a:lnTo>
                  <a:pt x="514350" y="83344"/>
                </a:lnTo>
                <a:lnTo>
                  <a:pt x="545306" y="85725"/>
                </a:lnTo>
                <a:cubicBezTo>
                  <a:pt x="551656" y="91281"/>
                  <a:pt x="557403" y="97614"/>
                  <a:pt x="564356" y="102394"/>
                </a:cubicBezTo>
                <a:cubicBezTo>
                  <a:pt x="570206" y="106416"/>
                  <a:pt x="583406" y="111919"/>
                  <a:pt x="583406" y="111919"/>
                </a:cubicBezTo>
                <a:lnTo>
                  <a:pt x="602456" y="119063"/>
                </a:lnTo>
                <a:lnTo>
                  <a:pt x="647700" y="142875"/>
                </a:lnTo>
                <a:lnTo>
                  <a:pt x="700088" y="164307"/>
                </a:lnTo>
                <a:lnTo>
                  <a:pt x="750094" y="121444"/>
                </a:lnTo>
                <a:lnTo>
                  <a:pt x="766763" y="109538"/>
                </a:lnTo>
                <a:lnTo>
                  <a:pt x="785813" y="135732"/>
                </a:lnTo>
                <a:lnTo>
                  <a:pt x="807244" y="152400"/>
                </a:lnTo>
                <a:lnTo>
                  <a:pt x="873919" y="157163"/>
                </a:lnTo>
                <a:lnTo>
                  <a:pt x="907256" y="135732"/>
                </a:lnTo>
                <a:lnTo>
                  <a:pt x="969169" y="138113"/>
                </a:lnTo>
                <a:lnTo>
                  <a:pt x="992981" y="145257"/>
                </a:lnTo>
                <a:cubicBezTo>
                  <a:pt x="1017569" y="147989"/>
                  <a:pt x="1007225" y="147638"/>
                  <a:pt x="1023938" y="147638"/>
                </a:cubicBezTo>
                <a:lnTo>
                  <a:pt x="1066800" y="133350"/>
                </a:lnTo>
                <a:lnTo>
                  <a:pt x="1131094" y="142875"/>
                </a:lnTo>
                <a:lnTo>
                  <a:pt x="1176338" y="161925"/>
                </a:lnTo>
                <a:lnTo>
                  <a:pt x="1200150" y="192882"/>
                </a:lnTo>
                <a:lnTo>
                  <a:pt x="1264444" y="157163"/>
                </a:lnTo>
                <a:lnTo>
                  <a:pt x="1314450" y="130969"/>
                </a:lnTo>
                <a:lnTo>
                  <a:pt x="1354931" y="138113"/>
                </a:lnTo>
                <a:lnTo>
                  <a:pt x="1409700" y="138113"/>
                </a:lnTo>
                <a:lnTo>
                  <a:pt x="1438275" y="157163"/>
                </a:lnTo>
                <a:lnTo>
                  <a:pt x="1495425" y="183357"/>
                </a:lnTo>
                <a:lnTo>
                  <a:pt x="1524000" y="157163"/>
                </a:lnTo>
                <a:lnTo>
                  <a:pt x="1540669" y="226219"/>
                </a:lnTo>
                <a:lnTo>
                  <a:pt x="1512094" y="247650"/>
                </a:lnTo>
                <a:lnTo>
                  <a:pt x="1500188" y="288132"/>
                </a:lnTo>
                <a:lnTo>
                  <a:pt x="1512094" y="364332"/>
                </a:lnTo>
                <a:lnTo>
                  <a:pt x="1524000" y="452438"/>
                </a:lnTo>
                <a:lnTo>
                  <a:pt x="1526381" y="490538"/>
                </a:lnTo>
                <a:lnTo>
                  <a:pt x="1552575" y="559594"/>
                </a:lnTo>
                <a:lnTo>
                  <a:pt x="1559719" y="607219"/>
                </a:lnTo>
                <a:lnTo>
                  <a:pt x="1574006" y="664369"/>
                </a:lnTo>
                <a:lnTo>
                  <a:pt x="1638300" y="723900"/>
                </a:lnTo>
                <a:lnTo>
                  <a:pt x="1674019" y="759619"/>
                </a:lnTo>
                <a:lnTo>
                  <a:pt x="1712119" y="788194"/>
                </a:lnTo>
                <a:lnTo>
                  <a:pt x="1750219" y="804863"/>
                </a:lnTo>
                <a:lnTo>
                  <a:pt x="1774031" y="812007"/>
                </a:lnTo>
                <a:lnTo>
                  <a:pt x="1747838" y="869157"/>
                </a:lnTo>
                <a:lnTo>
                  <a:pt x="1716881" y="876300"/>
                </a:lnTo>
                <a:lnTo>
                  <a:pt x="1690688" y="904875"/>
                </a:lnTo>
                <a:lnTo>
                  <a:pt x="1654969" y="873919"/>
                </a:lnTo>
                <a:lnTo>
                  <a:pt x="1621631" y="831057"/>
                </a:lnTo>
                <a:lnTo>
                  <a:pt x="1595438" y="850107"/>
                </a:lnTo>
                <a:lnTo>
                  <a:pt x="1576388" y="809625"/>
                </a:lnTo>
                <a:lnTo>
                  <a:pt x="1502569" y="835819"/>
                </a:lnTo>
                <a:lnTo>
                  <a:pt x="1466850" y="838200"/>
                </a:lnTo>
                <a:lnTo>
                  <a:pt x="1452563" y="838200"/>
                </a:lnTo>
                <a:lnTo>
                  <a:pt x="1407319" y="947738"/>
                </a:lnTo>
                <a:lnTo>
                  <a:pt x="1338263" y="909638"/>
                </a:lnTo>
                <a:lnTo>
                  <a:pt x="1231106" y="871538"/>
                </a:lnTo>
                <a:lnTo>
                  <a:pt x="1233488" y="821532"/>
                </a:lnTo>
                <a:lnTo>
                  <a:pt x="1209675" y="809625"/>
                </a:lnTo>
                <a:lnTo>
                  <a:pt x="1262063" y="695325"/>
                </a:lnTo>
                <a:lnTo>
                  <a:pt x="1183481" y="711994"/>
                </a:lnTo>
                <a:lnTo>
                  <a:pt x="1185863" y="669132"/>
                </a:lnTo>
                <a:lnTo>
                  <a:pt x="1131094" y="669132"/>
                </a:lnTo>
                <a:lnTo>
                  <a:pt x="1095375" y="626269"/>
                </a:lnTo>
                <a:lnTo>
                  <a:pt x="1078706" y="619125"/>
                </a:lnTo>
                <a:lnTo>
                  <a:pt x="1050131" y="645319"/>
                </a:lnTo>
                <a:lnTo>
                  <a:pt x="1009650" y="669132"/>
                </a:lnTo>
                <a:lnTo>
                  <a:pt x="981075" y="681038"/>
                </a:lnTo>
                <a:lnTo>
                  <a:pt x="1004888" y="707232"/>
                </a:lnTo>
                <a:lnTo>
                  <a:pt x="985838" y="702469"/>
                </a:lnTo>
                <a:lnTo>
                  <a:pt x="947738" y="702469"/>
                </a:lnTo>
                <a:lnTo>
                  <a:pt x="947738" y="702469"/>
                </a:lnTo>
                <a:lnTo>
                  <a:pt x="885825" y="673894"/>
                </a:lnTo>
                <a:lnTo>
                  <a:pt x="847725" y="728663"/>
                </a:lnTo>
                <a:lnTo>
                  <a:pt x="747713" y="661988"/>
                </a:lnTo>
                <a:lnTo>
                  <a:pt x="704850" y="657225"/>
                </a:lnTo>
                <a:lnTo>
                  <a:pt x="681038" y="671513"/>
                </a:lnTo>
                <a:lnTo>
                  <a:pt x="647700" y="633413"/>
                </a:lnTo>
                <a:lnTo>
                  <a:pt x="623888" y="600075"/>
                </a:lnTo>
                <a:lnTo>
                  <a:pt x="573881" y="566738"/>
                </a:lnTo>
                <a:lnTo>
                  <a:pt x="514350" y="561975"/>
                </a:lnTo>
                <a:lnTo>
                  <a:pt x="431006" y="521494"/>
                </a:lnTo>
                <a:lnTo>
                  <a:pt x="414338" y="471488"/>
                </a:lnTo>
                <a:lnTo>
                  <a:pt x="404813" y="423863"/>
                </a:lnTo>
                <a:lnTo>
                  <a:pt x="314325" y="421482"/>
                </a:lnTo>
                <a:lnTo>
                  <a:pt x="292894" y="461963"/>
                </a:lnTo>
                <a:lnTo>
                  <a:pt x="276225" y="483394"/>
                </a:lnTo>
                <a:lnTo>
                  <a:pt x="233363" y="495300"/>
                </a:lnTo>
                <a:lnTo>
                  <a:pt x="219075" y="435769"/>
                </a:lnTo>
                <a:lnTo>
                  <a:pt x="133350" y="454819"/>
                </a:lnTo>
                <a:lnTo>
                  <a:pt x="152400" y="409575"/>
                </a:lnTo>
                <a:lnTo>
                  <a:pt x="164306" y="369094"/>
                </a:lnTo>
                <a:lnTo>
                  <a:pt x="116681" y="328613"/>
                </a:lnTo>
                <a:lnTo>
                  <a:pt x="64294" y="340519"/>
                </a:lnTo>
                <a:lnTo>
                  <a:pt x="11906" y="311944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>
              <a:defRPr/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8" name="Figura a mano libera 227"/>
          <p:cNvSpPr/>
          <p:nvPr/>
        </p:nvSpPr>
        <p:spPr bwMode="auto">
          <a:xfrm>
            <a:off x="696141" y="1661212"/>
            <a:ext cx="362228" cy="222571"/>
          </a:xfrm>
          <a:custGeom>
            <a:avLst/>
            <a:gdLst>
              <a:gd name="connsiteX0" fmla="*/ 121444 w 542925"/>
              <a:gd name="connsiteY0" fmla="*/ 335756 h 335756"/>
              <a:gd name="connsiteX1" fmla="*/ 135731 w 542925"/>
              <a:gd name="connsiteY1" fmla="*/ 304800 h 335756"/>
              <a:gd name="connsiteX2" fmla="*/ 195262 w 542925"/>
              <a:gd name="connsiteY2" fmla="*/ 330994 h 335756"/>
              <a:gd name="connsiteX3" fmla="*/ 242887 w 542925"/>
              <a:gd name="connsiteY3" fmla="*/ 295275 h 335756"/>
              <a:gd name="connsiteX4" fmla="*/ 335756 w 542925"/>
              <a:gd name="connsiteY4" fmla="*/ 264319 h 335756"/>
              <a:gd name="connsiteX5" fmla="*/ 404812 w 542925"/>
              <a:gd name="connsiteY5" fmla="*/ 302419 h 335756"/>
              <a:gd name="connsiteX6" fmla="*/ 483394 w 542925"/>
              <a:gd name="connsiteY6" fmla="*/ 269081 h 335756"/>
              <a:gd name="connsiteX7" fmla="*/ 521494 w 542925"/>
              <a:gd name="connsiteY7" fmla="*/ 269081 h 335756"/>
              <a:gd name="connsiteX8" fmla="*/ 535781 w 542925"/>
              <a:gd name="connsiteY8" fmla="*/ 247650 h 335756"/>
              <a:gd name="connsiteX9" fmla="*/ 526256 w 542925"/>
              <a:gd name="connsiteY9" fmla="*/ 195263 h 335756"/>
              <a:gd name="connsiteX10" fmla="*/ 542925 w 542925"/>
              <a:gd name="connsiteY10" fmla="*/ 188119 h 335756"/>
              <a:gd name="connsiteX11" fmla="*/ 511969 w 542925"/>
              <a:gd name="connsiteY11" fmla="*/ 135731 h 335756"/>
              <a:gd name="connsiteX12" fmla="*/ 519112 w 542925"/>
              <a:gd name="connsiteY12" fmla="*/ 71438 h 335756"/>
              <a:gd name="connsiteX13" fmla="*/ 521494 w 542925"/>
              <a:gd name="connsiteY13" fmla="*/ 50006 h 335756"/>
              <a:gd name="connsiteX14" fmla="*/ 500062 w 542925"/>
              <a:gd name="connsiteY14" fmla="*/ 52388 h 335756"/>
              <a:gd name="connsiteX15" fmla="*/ 452437 w 542925"/>
              <a:gd name="connsiteY15" fmla="*/ 50006 h 335756"/>
              <a:gd name="connsiteX16" fmla="*/ 445294 w 542925"/>
              <a:gd name="connsiteY16" fmla="*/ 54769 h 335756"/>
              <a:gd name="connsiteX17" fmla="*/ 426244 w 542925"/>
              <a:gd name="connsiteY17" fmla="*/ 21431 h 335756"/>
              <a:gd name="connsiteX18" fmla="*/ 404812 w 542925"/>
              <a:gd name="connsiteY18" fmla="*/ 4763 h 335756"/>
              <a:gd name="connsiteX19" fmla="*/ 364331 w 542925"/>
              <a:gd name="connsiteY19" fmla="*/ 0 h 335756"/>
              <a:gd name="connsiteX20" fmla="*/ 333375 w 542925"/>
              <a:gd name="connsiteY20" fmla="*/ 30956 h 335756"/>
              <a:gd name="connsiteX21" fmla="*/ 288131 w 542925"/>
              <a:gd name="connsiteY21" fmla="*/ 42863 h 335756"/>
              <a:gd name="connsiteX22" fmla="*/ 280987 w 542925"/>
              <a:gd name="connsiteY22" fmla="*/ 64294 h 335756"/>
              <a:gd name="connsiteX23" fmla="*/ 247650 w 542925"/>
              <a:gd name="connsiteY23" fmla="*/ 30956 h 335756"/>
              <a:gd name="connsiteX24" fmla="*/ 230981 w 542925"/>
              <a:gd name="connsiteY24" fmla="*/ 54769 h 335756"/>
              <a:gd name="connsiteX25" fmla="*/ 204787 w 542925"/>
              <a:gd name="connsiteY25" fmla="*/ 76200 h 335756"/>
              <a:gd name="connsiteX26" fmla="*/ 178594 w 542925"/>
              <a:gd name="connsiteY26" fmla="*/ 78581 h 335756"/>
              <a:gd name="connsiteX27" fmla="*/ 183356 w 542925"/>
              <a:gd name="connsiteY27" fmla="*/ 54769 h 335756"/>
              <a:gd name="connsiteX28" fmla="*/ 138112 w 542925"/>
              <a:gd name="connsiteY28" fmla="*/ 64294 h 335756"/>
              <a:gd name="connsiteX29" fmla="*/ 126206 w 542925"/>
              <a:gd name="connsiteY29" fmla="*/ 88106 h 335756"/>
              <a:gd name="connsiteX30" fmla="*/ 126206 w 542925"/>
              <a:gd name="connsiteY30" fmla="*/ 52388 h 335756"/>
              <a:gd name="connsiteX31" fmla="*/ 123825 w 542925"/>
              <a:gd name="connsiteY31" fmla="*/ 28575 h 335756"/>
              <a:gd name="connsiteX32" fmla="*/ 95250 w 542925"/>
              <a:gd name="connsiteY32" fmla="*/ 45244 h 335756"/>
              <a:gd name="connsiteX33" fmla="*/ 90487 w 542925"/>
              <a:gd name="connsiteY33" fmla="*/ 64294 h 335756"/>
              <a:gd name="connsiteX34" fmla="*/ 35719 w 542925"/>
              <a:gd name="connsiteY34" fmla="*/ 69056 h 335756"/>
              <a:gd name="connsiteX35" fmla="*/ 19050 w 542925"/>
              <a:gd name="connsiteY35" fmla="*/ 83344 h 335756"/>
              <a:gd name="connsiteX36" fmla="*/ 0 w 542925"/>
              <a:gd name="connsiteY36" fmla="*/ 128588 h 335756"/>
              <a:gd name="connsiteX37" fmla="*/ 16669 w 542925"/>
              <a:gd name="connsiteY37" fmla="*/ 161925 h 335756"/>
              <a:gd name="connsiteX38" fmla="*/ 50006 w 542925"/>
              <a:gd name="connsiteY38" fmla="*/ 202406 h 335756"/>
              <a:gd name="connsiteX39" fmla="*/ 76200 w 542925"/>
              <a:gd name="connsiteY39" fmla="*/ 200025 h 335756"/>
              <a:gd name="connsiteX40" fmla="*/ 88106 w 542925"/>
              <a:gd name="connsiteY40" fmla="*/ 223838 h 335756"/>
              <a:gd name="connsiteX41" fmla="*/ 69056 w 542925"/>
              <a:gd name="connsiteY41" fmla="*/ 233363 h 335756"/>
              <a:gd name="connsiteX42" fmla="*/ 52387 w 542925"/>
              <a:gd name="connsiteY42" fmla="*/ 250031 h 335756"/>
              <a:gd name="connsiteX43" fmla="*/ 121444 w 542925"/>
              <a:gd name="connsiteY43" fmla="*/ 335756 h 335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</a:cxnLst>
            <a:rect l="l" t="t" r="r" b="b"/>
            <a:pathLst>
              <a:path w="542925" h="335756">
                <a:moveTo>
                  <a:pt x="121444" y="335756"/>
                </a:moveTo>
                <a:lnTo>
                  <a:pt x="135731" y="304800"/>
                </a:lnTo>
                <a:lnTo>
                  <a:pt x="195262" y="330994"/>
                </a:lnTo>
                <a:lnTo>
                  <a:pt x="242887" y="295275"/>
                </a:lnTo>
                <a:lnTo>
                  <a:pt x="335756" y="264319"/>
                </a:lnTo>
                <a:lnTo>
                  <a:pt x="404812" y="302419"/>
                </a:lnTo>
                <a:lnTo>
                  <a:pt x="483394" y="269081"/>
                </a:lnTo>
                <a:lnTo>
                  <a:pt x="521494" y="269081"/>
                </a:lnTo>
                <a:lnTo>
                  <a:pt x="535781" y="247650"/>
                </a:lnTo>
                <a:lnTo>
                  <a:pt x="526256" y="195263"/>
                </a:lnTo>
                <a:lnTo>
                  <a:pt x="542925" y="188119"/>
                </a:lnTo>
                <a:lnTo>
                  <a:pt x="511969" y="135731"/>
                </a:lnTo>
                <a:lnTo>
                  <a:pt x="519112" y="71438"/>
                </a:lnTo>
                <a:lnTo>
                  <a:pt x="521494" y="50006"/>
                </a:lnTo>
                <a:lnTo>
                  <a:pt x="500062" y="52388"/>
                </a:lnTo>
                <a:lnTo>
                  <a:pt x="452437" y="50006"/>
                </a:lnTo>
                <a:lnTo>
                  <a:pt x="445294" y="54769"/>
                </a:lnTo>
                <a:lnTo>
                  <a:pt x="426244" y="21431"/>
                </a:lnTo>
                <a:lnTo>
                  <a:pt x="404812" y="4763"/>
                </a:lnTo>
                <a:lnTo>
                  <a:pt x="364331" y="0"/>
                </a:lnTo>
                <a:lnTo>
                  <a:pt x="333375" y="30956"/>
                </a:lnTo>
                <a:lnTo>
                  <a:pt x="288131" y="42863"/>
                </a:lnTo>
                <a:lnTo>
                  <a:pt x="280987" y="64294"/>
                </a:lnTo>
                <a:lnTo>
                  <a:pt x="247650" y="30956"/>
                </a:lnTo>
                <a:lnTo>
                  <a:pt x="230981" y="54769"/>
                </a:lnTo>
                <a:lnTo>
                  <a:pt x="204787" y="76200"/>
                </a:lnTo>
                <a:lnTo>
                  <a:pt x="178594" y="78581"/>
                </a:lnTo>
                <a:lnTo>
                  <a:pt x="183356" y="54769"/>
                </a:lnTo>
                <a:lnTo>
                  <a:pt x="138112" y="64294"/>
                </a:lnTo>
                <a:lnTo>
                  <a:pt x="126206" y="88106"/>
                </a:lnTo>
                <a:lnTo>
                  <a:pt x="126206" y="52388"/>
                </a:lnTo>
                <a:lnTo>
                  <a:pt x="123825" y="28575"/>
                </a:lnTo>
                <a:lnTo>
                  <a:pt x="95250" y="45244"/>
                </a:lnTo>
                <a:lnTo>
                  <a:pt x="90487" y="64294"/>
                </a:lnTo>
                <a:lnTo>
                  <a:pt x="35719" y="69056"/>
                </a:lnTo>
                <a:lnTo>
                  <a:pt x="19050" y="83344"/>
                </a:lnTo>
                <a:lnTo>
                  <a:pt x="0" y="128588"/>
                </a:lnTo>
                <a:lnTo>
                  <a:pt x="16669" y="161925"/>
                </a:lnTo>
                <a:lnTo>
                  <a:pt x="50006" y="202406"/>
                </a:lnTo>
                <a:lnTo>
                  <a:pt x="76200" y="200025"/>
                </a:lnTo>
                <a:lnTo>
                  <a:pt x="88106" y="223838"/>
                </a:lnTo>
                <a:lnTo>
                  <a:pt x="69056" y="233363"/>
                </a:lnTo>
                <a:lnTo>
                  <a:pt x="52387" y="250031"/>
                </a:lnTo>
                <a:lnTo>
                  <a:pt x="121444" y="335756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>
              <a:defRPr/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29" name="Figura a mano libera 228"/>
          <p:cNvSpPr/>
          <p:nvPr/>
        </p:nvSpPr>
        <p:spPr bwMode="auto">
          <a:xfrm>
            <a:off x="612360" y="1478431"/>
            <a:ext cx="845197" cy="1015867"/>
          </a:xfrm>
          <a:custGeom>
            <a:avLst/>
            <a:gdLst>
              <a:gd name="connsiteX0" fmla="*/ 483393 w 1624012"/>
              <a:gd name="connsiteY0" fmla="*/ 1533525 h 1533525"/>
              <a:gd name="connsiteX1" fmla="*/ 459581 w 1624012"/>
              <a:gd name="connsiteY1" fmla="*/ 1481138 h 1533525"/>
              <a:gd name="connsiteX2" fmla="*/ 438150 w 1624012"/>
              <a:gd name="connsiteY2" fmla="*/ 1471613 h 1533525"/>
              <a:gd name="connsiteX3" fmla="*/ 400050 w 1624012"/>
              <a:gd name="connsiteY3" fmla="*/ 1485900 h 1533525"/>
              <a:gd name="connsiteX4" fmla="*/ 338137 w 1624012"/>
              <a:gd name="connsiteY4" fmla="*/ 1490663 h 1533525"/>
              <a:gd name="connsiteX5" fmla="*/ 330993 w 1624012"/>
              <a:gd name="connsiteY5" fmla="*/ 1497806 h 1533525"/>
              <a:gd name="connsiteX6" fmla="*/ 271462 w 1624012"/>
              <a:gd name="connsiteY6" fmla="*/ 1471613 h 1533525"/>
              <a:gd name="connsiteX7" fmla="*/ 219075 w 1624012"/>
              <a:gd name="connsiteY7" fmla="*/ 1443038 h 1533525"/>
              <a:gd name="connsiteX8" fmla="*/ 138112 w 1624012"/>
              <a:gd name="connsiteY8" fmla="*/ 1402556 h 1533525"/>
              <a:gd name="connsiteX9" fmla="*/ 95250 w 1624012"/>
              <a:gd name="connsiteY9" fmla="*/ 1316831 h 1533525"/>
              <a:gd name="connsiteX10" fmla="*/ 80962 w 1624012"/>
              <a:gd name="connsiteY10" fmla="*/ 1288256 h 1533525"/>
              <a:gd name="connsiteX11" fmla="*/ 104775 w 1624012"/>
              <a:gd name="connsiteY11" fmla="*/ 1266825 h 1533525"/>
              <a:gd name="connsiteX12" fmla="*/ 76200 w 1624012"/>
              <a:gd name="connsiteY12" fmla="*/ 1212056 h 1533525"/>
              <a:gd name="connsiteX13" fmla="*/ 109537 w 1624012"/>
              <a:gd name="connsiteY13" fmla="*/ 1193006 h 1533525"/>
              <a:gd name="connsiteX14" fmla="*/ 140493 w 1624012"/>
              <a:gd name="connsiteY14" fmla="*/ 1143000 h 1533525"/>
              <a:gd name="connsiteX15" fmla="*/ 123825 w 1624012"/>
              <a:gd name="connsiteY15" fmla="*/ 1107281 h 1533525"/>
              <a:gd name="connsiteX16" fmla="*/ 178593 w 1624012"/>
              <a:gd name="connsiteY16" fmla="*/ 1107281 h 1533525"/>
              <a:gd name="connsiteX17" fmla="*/ 192881 w 1624012"/>
              <a:gd name="connsiteY17" fmla="*/ 1109663 h 1533525"/>
              <a:gd name="connsiteX18" fmla="*/ 159543 w 1624012"/>
              <a:gd name="connsiteY18" fmla="*/ 1064419 h 1533525"/>
              <a:gd name="connsiteX19" fmla="*/ 169068 w 1624012"/>
              <a:gd name="connsiteY19" fmla="*/ 1014413 h 1533525"/>
              <a:gd name="connsiteX20" fmla="*/ 123825 w 1624012"/>
              <a:gd name="connsiteY20" fmla="*/ 997744 h 1533525"/>
              <a:gd name="connsiteX21" fmla="*/ 61912 w 1624012"/>
              <a:gd name="connsiteY21" fmla="*/ 954881 h 1533525"/>
              <a:gd name="connsiteX22" fmla="*/ 45243 w 1624012"/>
              <a:gd name="connsiteY22" fmla="*/ 938213 h 1533525"/>
              <a:gd name="connsiteX23" fmla="*/ 64293 w 1624012"/>
              <a:gd name="connsiteY23" fmla="*/ 909638 h 1533525"/>
              <a:gd name="connsiteX24" fmla="*/ 47625 w 1624012"/>
              <a:gd name="connsiteY24" fmla="*/ 897731 h 1533525"/>
              <a:gd name="connsiteX25" fmla="*/ 47625 w 1624012"/>
              <a:gd name="connsiteY25" fmla="*/ 881063 h 1533525"/>
              <a:gd name="connsiteX26" fmla="*/ 26193 w 1624012"/>
              <a:gd name="connsiteY26" fmla="*/ 881063 h 1533525"/>
              <a:gd name="connsiteX27" fmla="*/ 7143 w 1624012"/>
              <a:gd name="connsiteY27" fmla="*/ 847725 h 1533525"/>
              <a:gd name="connsiteX28" fmla="*/ 0 w 1624012"/>
              <a:gd name="connsiteY28" fmla="*/ 816769 h 1533525"/>
              <a:gd name="connsiteX29" fmla="*/ 54768 w 1624012"/>
              <a:gd name="connsiteY29" fmla="*/ 800100 h 1533525"/>
              <a:gd name="connsiteX30" fmla="*/ 76200 w 1624012"/>
              <a:gd name="connsiteY30" fmla="*/ 788194 h 1533525"/>
              <a:gd name="connsiteX31" fmla="*/ 128587 w 1624012"/>
              <a:gd name="connsiteY31" fmla="*/ 821531 h 1533525"/>
              <a:gd name="connsiteX32" fmla="*/ 126206 w 1624012"/>
              <a:gd name="connsiteY32" fmla="*/ 800100 h 1533525"/>
              <a:gd name="connsiteX33" fmla="*/ 164306 w 1624012"/>
              <a:gd name="connsiteY33" fmla="*/ 795338 h 1533525"/>
              <a:gd name="connsiteX34" fmla="*/ 173831 w 1624012"/>
              <a:gd name="connsiteY34" fmla="*/ 759619 h 1533525"/>
              <a:gd name="connsiteX35" fmla="*/ 235743 w 1624012"/>
              <a:gd name="connsiteY35" fmla="*/ 764381 h 1533525"/>
              <a:gd name="connsiteX36" fmla="*/ 235743 w 1624012"/>
              <a:gd name="connsiteY36" fmla="*/ 764381 h 1533525"/>
              <a:gd name="connsiteX37" fmla="*/ 245268 w 1624012"/>
              <a:gd name="connsiteY37" fmla="*/ 704850 h 1533525"/>
              <a:gd name="connsiteX38" fmla="*/ 276225 w 1624012"/>
              <a:gd name="connsiteY38" fmla="*/ 666750 h 1533525"/>
              <a:gd name="connsiteX39" fmla="*/ 292893 w 1624012"/>
              <a:gd name="connsiteY39" fmla="*/ 638175 h 1533525"/>
              <a:gd name="connsiteX40" fmla="*/ 245268 w 1624012"/>
              <a:gd name="connsiteY40" fmla="*/ 602456 h 1533525"/>
              <a:gd name="connsiteX41" fmla="*/ 264318 w 1624012"/>
              <a:gd name="connsiteY41" fmla="*/ 585788 h 1533525"/>
              <a:gd name="connsiteX42" fmla="*/ 311943 w 1624012"/>
              <a:gd name="connsiteY42" fmla="*/ 602456 h 1533525"/>
              <a:gd name="connsiteX43" fmla="*/ 369093 w 1624012"/>
              <a:gd name="connsiteY43" fmla="*/ 573881 h 1533525"/>
              <a:gd name="connsiteX44" fmla="*/ 457200 w 1624012"/>
              <a:gd name="connsiteY44" fmla="*/ 545306 h 1533525"/>
              <a:gd name="connsiteX45" fmla="*/ 538162 w 1624012"/>
              <a:gd name="connsiteY45" fmla="*/ 578644 h 1533525"/>
              <a:gd name="connsiteX46" fmla="*/ 614362 w 1624012"/>
              <a:gd name="connsiteY46" fmla="*/ 550069 h 1533525"/>
              <a:gd name="connsiteX47" fmla="*/ 650081 w 1624012"/>
              <a:gd name="connsiteY47" fmla="*/ 552450 h 1533525"/>
              <a:gd name="connsiteX48" fmla="*/ 654843 w 1624012"/>
              <a:gd name="connsiteY48" fmla="*/ 523875 h 1533525"/>
              <a:gd name="connsiteX49" fmla="*/ 654843 w 1624012"/>
              <a:gd name="connsiteY49" fmla="*/ 490538 h 1533525"/>
              <a:gd name="connsiteX50" fmla="*/ 669131 w 1624012"/>
              <a:gd name="connsiteY50" fmla="*/ 469106 h 1533525"/>
              <a:gd name="connsiteX51" fmla="*/ 652462 w 1624012"/>
              <a:gd name="connsiteY51" fmla="*/ 450056 h 1533525"/>
              <a:gd name="connsiteX52" fmla="*/ 642937 w 1624012"/>
              <a:gd name="connsiteY52" fmla="*/ 411956 h 1533525"/>
              <a:gd name="connsiteX53" fmla="*/ 642937 w 1624012"/>
              <a:gd name="connsiteY53" fmla="*/ 330994 h 1533525"/>
              <a:gd name="connsiteX54" fmla="*/ 633412 w 1624012"/>
              <a:gd name="connsiteY54" fmla="*/ 319088 h 1533525"/>
              <a:gd name="connsiteX55" fmla="*/ 664368 w 1624012"/>
              <a:gd name="connsiteY55" fmla="*/ 285750 h 1533525"/>
              <a:gd name="connsiteX56" fmla="*/ 721518 w 1624012"/>
              <a:gd name="connsiteY56" fmla="*/ 292894 h 1533525"/>
              <a:gd name="connsiteX57" fmla="*/ 733425 w 1624012"/>
              <a:gd name="connsiteY57" fmla="*/ 264319 h 1533525"/>
              <a:gd name="connsiteX58" fmla="*/ 731043 w 1624012"/>
              <a:gd name="connsiteY58" fmla="*/ 228600 h 1533525"/>
              <a:gd name="connsiteX59" fmla="*/ 790575 w 1624012"/>
              <a:gd name="connsiteY59" fmla="*/ 192881 h 1533525"/>
              <a:gd name="connsiteX60" fmla="*/ 804862 w 1624012"/>
              <a:gd name="connsiteY60" fmla="*/ 166688 h 1533525"/>
              <a:gd name="connsiteX61" fmla="*/ 778668 w 1624012"/>
              <a:gd name="connsiteY61" fmla="*/ 128588 h 1533525"/>
              <a:gd name="connsiteX62" fmla="*/ 771525 w 1624012"/>
              <a:gd name="connsiteY62" fmla="*/ 104775 h 1533525"/>
              <a:gd name="connsiteX63" fmla="*/ 823912 w 1624012"/>
              <a:gd name="connsiteY63" fmla="*/ 97631 h 1533525"/>
              <a:gd name="connsiteX64" fmla="*/ 869156 w 1624012"/>
              <a:gd name="connsiteY64" fmla="*/ 52388 h 1533525"/>
              <a:gd name="connsiteX65" fmla="*/ 890587 w 1624012"/>
              <a:gd name="connsiteY65" fmla="*/ 23813 h 1533525"/>
              <a:gd name="connsiteX66" fmla="*/ 923925 w 1624012"/>
              <a:gd name="connsiteY66" fmla="*/ 9525 h 1533525"/>
              <a:gd name="connsiteX67" fmla="*/ 971550 w 1624012"/>
              <a:gd name="connsiteY67" fmla="*/ 0 h 1533525"/>
              <a:gd name="connsiteX68" fmla="*/ 971550 w 1624012"/>
              <a:gd name="connsiteY68" fmla="*/ 40481 h 1533525"/>
              <a:gd name="connsiteX69" fmla="*/ 950118 w 1624012"/>
              <a:gd name="connsiteY69" fmla="*/ 80963 h 1533525"/>
              <a:gd name="connsiteX70" fmla="*/ 950118 w 1624012"/>
              <a:gd name="connsiteY70" fmla="*/ 140494 h 1533525"/>
              <a:gd name="connsiteX71" fmla="*/ 969168 w 1624012"/>
              <a:gd name="connsiteY71" fmla="*/ 161925 h 1533525"/>
              <a:gd name="connsiteX72" fmla="*/ 1007268 w 1624012"/>
              <a:gd name="connsiteY72" fmla="*/ 188119 h 1533525"/>
              <a:gd name="connsiteX73" fmla="*/ 1019175 w 1624012"/>
              <a:gd name="connsiteY73" fmla="*/ 216694 h 1533525"/>
              <a:gd name="connsiteX74" fmla="*/ 1004887 w 1624012"/>
              <a:gd name="connsiteY74" fmla="*/ 226219 h 1533525"/>
              <a:gd name="connsiteX75" fmla="*/ 1057275 w 1624012"/>
              <a:gd name="connsiteY75" fmla="*/ 250031 h 1533525"/>
              <a:gd name="connsiteX76" fmla="*/ 1073943 w 1624012"/>
              <a:gd name="connsiteY76" fmla="*/ 228600 h 1533525"/>
              <a:gd name="connsiteX77" fmla="*/ 1083468 w 1624012"/>
              <a:gd name="connsiteY77" fmla="*/ 252413 h 1533525"/>
              <a:gd name="connsiteX78" fmla="*/ 1116806 w 1624012"/>
              <a:gd name="connsiteY78" fmla="*/ 252413 h 1533525"/>
              <a:gd name="connsiteX79" fmla="*/ 1123950 w 1624012"/>
              <a:gd name="connsiteY79" fmla="*/ 257175 h 1533525"/>
              <a:gd name="connsiteX80" fmla="*/ 1116806 w 1624012"/>
              <a:gd name="connsiteY80" fmla="*/ 276225 h 1533525"/>
              <a:gd name="connsiteX81" fmla="*/ 1088231 w 1624012"/>
              <a:gd name="connsiteY81" fmla="*/ 309563 h 1533525"/>
              <a:gd name="connsiteX82" fmla="*/ 1123950 w 1624012"/>
              <a:gd name="connsiteY82" fmla="*/ 333375 h 1533525"/>
              <a:gd name="connsiteX83" fmla="*/ 1135856 w 1624012"/>
              <a:gd name="connsiteY83" fmla="*/ 347663 h 1533525"/>
              <a:gd name="connsiteX84" fmla="*/ 1135856 w 1624012"/>
              <a:gd name="connsiteY84" fmla="*/ 376238 h 1533525"/>
              <a:gd name="connsiteX85" fmla="*/ 1119187 w 1624012"/>
              <a:gd name="connsiteY85" fmla="*/ 411956 h 1533525"/>
              <a:gd name="connsiteX86" fmla="*/ 1162050 w 1624012"/>
              <a:gd name="connsiteY86" fmla="*/ 423863 h 1533525"/>
              <a:gd name="connsiteX87" fmla="*/ 1233487 w 1624012"/>
              <a:gd name="connsiteY87" fmla="*/ 416719 h 1533525"/>
              <a:gd name="connsiteX88" fmla="*/ 1223962 w 1624012"/>
              <a:gd name="connsiteY88" fmla="*/ 385763 h 1533525"/>
              <a:gd name="connsiteX89" fmla="*/ 1188243 w 1624012"/>
              <a:gd name="connsiteY89" fmla="*/ 347663 h 1533525"/>
              <a:gd name="connsiteX90" fmla="*/ 1181100 w 1624012"/>
              <a:gd name="connsiteY90" fmla="*/ 333375 h 1533525"/>
              <a:gd name="connsiteX91" fmla="*/ 1207293 w 1624012"/>
              <a:gd name="connsiteY91" fmla="*/ 326231 h 1533525"/>
              <a:gd name="connsiteX92" fmla="*/ 1200150 w 1624012"/>
              <a:gd name="connsiteY92" fmla="*/ 302419 h 1533525"/>
              <a:gd name="connsiteX93" fmla="*/ 1223962 w 1624012"/>
              <a:gd name="connsiteY93" fmla="*/ 283369 h 1533525"/>
              <a:gd name="connsiteX94" fmla="*/ 1250156 w 1624012"/>
              <a:gd name="connsiteY94" fmla="*/ 242888 h 1533525"/>
              <a:gd name="connsiteX95" fmla="*/ 1302543 w 1624012"/>
              <a:gd name="connsiteY95" fmla="*/ 211931 h 1533525"/>
              <a:gd name="connsiteX96" fmla="*/ 1350168 w 1624012"/>
              <a:gd name="connsiteY96" fmla="*/ 123825 h 1533525"/>
              <a:gd name="connsiteX97" fmla="*/ 1343025 w 1624012"/>
              <a:gd name="connsiteY97" fmla="*/ 61913 h 1533525"/>
              <a:gd name="connsiteX98" fmla="*/ 1381125 w 1624012"/>
              <a:gd name="connsiteY98" fmla="*/ 0 h 1533525"/>
              <a:gd name="connsiteX99" fmla="*/ 1419225 w 1624012"/>
              <a:gd name="connsiteY99" fmla="*/ 11906 h 1533525"/>
              <a:gd name="connsiteX100" fmla="*/ 1440656 w 1624012"/>
              <a:gd name="connsiteY100" fmla="*/ 7144 h 1533525"/>
              <a:gd name="connsiteX101" fmla="*/ 1438275 w 1624012"/>
              <a:gd name="connsiteY101" fmla="*/ 69056 h 1533525"/>
              <a:gd name="connsiteX102" fmla="*/ 1440656 w 1624012"/>
              <a:gd name="connsiteY102" fmla="*/ 104775 h 1533525"/>
              <a:gd name="connsiteX103" fmla="*/ 1490662 w 1624012"/>
              <a:gd name="connsiteY103" fmla="*/ 142875 h 1533525"/>
              <a:gd name="connsiteX104" fmla="*/ 1543050 w 1624012"/>
              <a:gd name="connsiteY104" fmla="*/ 147638 h 1533525"/>
              <a:gd name="connsiteX105" fmla="*/ 1547812 w 1624012"/>
              <a:gd name="connsiteY105" fmla="*/ 121444 h 1533525"/>
              <a:gd name="connsiteX106" fmla="*/ 1574006 w 1624012"/>
              <a:gd name="connsiteY106" fmla="*/ 121444 h 1533525"/>
              <a:gd name="connsiteX107" fmla="*/ 1624012 w 1624012"/>
              <a:gd name="connsiteY107" fmla="*/ 109538 h 1533525"/>
              <a:gd name="connsiteX108" fmla="*/ 1057275 w 1624012"/>
              <a:gd name="connsiteY108" fmla="*/ 264319 h 1533525"/>
              <a:gd name="connsiteX109" fmla="*/ 1062037 w 1624012"/>
              <a:gd name="connsiteY109" fmla="*/ 304800 h 1533525"/>
              <a:gd name="connsiteX110" fmla="*/ 995362 w 1624012"/>
              <a:gd name="connsiteY110" fmla="*/ 352425 h 1533525"/>
              <a:gd name="connsiteX111" fmla="*/ 973931 w 1624012"/>
              <a:gd name="connsiteY111" fmla="*/ 383381 h 1533525"/>
              <a:gd name="connsiteX112" fmla="*/ 1000125 w 1624012"/>
              <a:gd name="connsiteY112" fmla="*/ 428625 h 1533525"/>
              <a:gd name="connsiteX113" fmla="*/ 983456 w 1624012"/>
              <a:gd name="connsiteY113" fmla="*/ 466725 h 1533525"/>
              <a:gd name="connsiteX114" fmla="*/ 1000125 w 1624012"/>
              <a:gd name="connsiteY114" fmla="*/ 519113 h 1533525"/>
              <a:gd name="connsiteX115" fmla="*/ 1033462 w 1624012"/>
              <a:gd name="connsiteY115" fmla="*/ 519113 h 1533525"/>
              <a:gd name="connsiteX116" fmla="*/ 1019175 w 1624012"/>
              <a:gd name="connsiteY116" fmla="*/ 552450 h 1533525"/>
              <a:gd name="connsiteX117" fmla="*/ 1035843 w 1624012"/>
              <a:gd name="connsiteY117" fmla="*/ 590550 h 1533525"/>
              <a:gd name="connsiteX118" fmla="*/ 1035843 w 1624012"/>
              <a:gd name="connsiteY118" fmla="*/ 607219 h 1533525"/>
              <a:gd name="connsiteX119" fmla="*/ 1045368 w 1624012"/>
              <a:gd name="connsiteY119" fmla="*/ 645319 h 1533525"/>
              <a:gd name="connsiteX120" fmla="*/ 1064418 w 1624012"/>
              <a:gd name="connsiteY120" fmla="*/ 645319 h 1533525"/>
              <a:gd name="connsiteX121" fmla="*/ 1078706 w 1624012"/>
              <a:gd name="connsiteY121" fmla="*/ 666750 h 1533525"/>
              <a:gd name="connsiteX122" fmla="*/ 1085850 w 1624012"/>
              <a:gd name="connsiteY122" fmla="*/ 688181 h 1533525"/>
              <a:gd name="connsiteX123" fmla="*/ 1076325 w 1624012"/>
              <a:gd name="connsiteY123" fmla="*/ 719138 h 1533525"/>
              <a:gd name="connsiteX124" fmla="*/ 1021556 w 1624012"/>
              <a:gd name="connsiteY124" fmla="*/ 714375 h 1533525"/>
              <a:gd name="connsiteX125" fmla="*/ 1002506 w 1624012"/>
              <a:gd name="connsiteY125" fmla="*/ 721519 h 1533525"/>
              <a:gd name="connsiteX126" fmla="*/ 995362 w 1624012"/>
              <a:gd name="connsiteY126" fmla="*/ 726281 h 1533525"/>
              <a:gd name="connsiteX127" fmla="*/ 995362 w 1624012"/>
              <a:gd name="connsiteY127" fmla="*/ 726281 h 1533525"/>
              <a:gd name="connsiteX128" fmla="*/ 923925 w 1624012"/>
              <a:gd name="connsiteY128" fmla="*/ 721519 h 1533525"/>
              <a:gd name="connsiteX129" fmla="*/ 940593 w 1624012"/>
              <a:gd name="connsiteY129" fmla="*/ 778669 h 1533525"/>
              <a:gd name="connsiteX130" fmla="*/ 938212 w 1624012"/>
              <a:gd name="connsiteY130" fmla="*/ 847725 h 1533525"/>
              <a:gd name="connsiteX131" fmla="*/ 954881 w 1624012"/>
              <a:gd name="connsiteY131" fmla="*/ 871538 h 1533525"/>
              <a:gd name="connsiteX132" fmla="*/ 997743 w 1624012"/>
              <a:gd name="connsiteY132" fmla="*/ 919163 h 1533525"/>
              <a:gd name="connsiteX133" fmla="*/ 1012031 w 1624012"/>
              <a:gd name="connsiteY133" fmla="*/ 954881 h 1533525"/>
              <a:gd name="connsiteX134" fmla="*/ 1031081 w 1624012"/>
              <a:gd name="connsiteY134" fmla="*/ 954881 h 1533525"/>
              <a:gd name="connsiteX135" fmla="*/ 1071562 w 1624012"/>
              <a:gd name="connsiteY135" fmla="*/ 940594 h 1533525"/>
              <a:gd name="connsiteX136" fmla="*/ 1102518 w 1624012"/>
              <a:gd name="connsiteY136" fmla="*/ 933450 h 1533525"/>
              <a:gd name="connsiteX137" fmla="*/ 1159668 w 1624012"/>
              <a:gd name="connsiteY137" fmla="*/ 997744 h 1533525"/>
              <a:gd name="connsiteX138" fmla="*/ 1178718 w 1624012"/>
              <a:gd name="connsiteY138" fmla="*/ 1052513 h 1533525"/>
              <a:gd name="connsiteX139" fmla="*/ 1190625 w 1624012"/>
              <a:gd name="connsiteY139" fmla="*/ 1081088 h 1533525"/>
              <a:gd name="connsiteX140" fmla="*/ 1212056 w 1624012"/>
              <a:gd name="connsiteY140" fmla="*/ 1109663 h 1533525"/>
              <a:gd name="connsiteX141" fmla="*/ 1231106 w 1624012"/>
              <a:gd name="connsiteY141" fmla="*/ 1102519 h 1533525"/>
              <a:gd name="connsiteX142" fmla="*/ 1231106 w 1624012"/>
              <a:gd name="connsiteY142" fmla="*/ 1131094 h 1533525"/>
              <a:gd name="connsiteX143" fmla="*/ 1233487 w 1624012"/>
              <a:gd name="connsiteY143" fmla="*/ 1145381 h 1533525"/>
              <a:gd name="connsiteX144" fmla="*/ 1266825 w 1624012"/>
              <a:gd name="connsiteY144" fmla="*/ 1181100 h 1533525"/>
              <a:gd name="connsiteX145" fmla="*/ 1233487 w 1624012"/>
              <a:gd name="connsiteY145" fmla="*/ 1181100 h 1533525"/>
              <a:gd name="connsiteX146" fmla="*/ 1228725 w 1624012"/>
              <a:gd name="connsiteY146" fmla="*/ 1223963 h 1533525"/>
              <a:gd name="connsiteX147" fmla="*/ 1226343 w 1624012"/>
              <a:gd name="connsiteY147" fmla="*/ 1243013 h 1533525"/>
              <a:gd name="connsiteX148" fmla="*/ 1216818 w 1624012"/>
              <a:gd name="connsiteY148" fmla="*/ 1264444 h 1533525"/>
              <a:gd name="connsiteX149" fmla="*/ 1190625 w 1624012"/>
              <a:gd name="connsiteY149" fmla="*/ 1238250 h 1533525"/>
              <a:gd name="connsiteX150" fmla="*/ 1157287 w 1624012"/>
              <a:gd name="connsiteY150" fmla="*/ 1209675 h 1533525"/>
              <a:gd name="connsiteX151" fmla="*/ 1131093 w 1624012"/>
              <a:gd name="connsiteY151" fmla="*/ 1185863 h 1533525"/>
              <a:gd name="connsiteX152" fmla="*/ 1107281 w 1624012"/>
              <a:gd name="connsiteY152" fmla="*/ 1219200 h 1533525"/>
              <a:gd name="connsiteX153" fmla="*/ 1104900 w 1624012"/>
              <a:gd name="connsiteY153" fmla="*/ 1264444 h 1533525"/>
              <a:gd name="connsiteX154" fmla="*/ 1062037 w 1624012"/>
              <a:gd name="connsiteY154" fmla="*/ 1259681 h 1533525"/>
              <a:gd name="connsiteX155" fmla="*/ 1026318 w 1624012"/>
              <a:gd name="connsiteY155" fmla="*/ 1288256 h 1533525"/>
              <a:gd name="connsiteX156" fmla="*/ 1007268 w 1624012"/>
              <a:gd name="connsiteY156" fmla="*/ 1240631 h 1533525"/>
              <a:gd name="connsiteX157" fmla="*/ 947737 w 1624012"/>
              <a:gd name="connsiteY157" fmla="*/ 1231106 h 1533525"/>
              <a:gd name="connsiteX158" fmla="*/ 921543 w 1624012"/>
              <a:gd name="connsiteY158" fmla="*/ 1297781 h 1533525"/>
              <a:gd name="connsiteX159" fmla="*/ 885825 w 1624012"/>
              <a:gd name="connsiteY159" fmla="*/ 1278731 h 1533525"/>
              <a:gd name="connsiteX160" fmla="*/ 816768 w 1624012"/>
              <a:gd name="connsiteY160" fmla="*/ 1295400 h 1533525"/>
              <a:gd name="connsiteX161" fmla="*/ 757237 w 1624012"/>
              <a:gd name="connsiteY161" fmla="*/ 1259681 h 1533525"/>
              <a:gd name="connsiteX162" fmla="*/ 742950 w 1624012"/>
              <a:gd name="connsiteY162" fmla="*/ 1312069 h 1533525"/>
              <a:gd name="connsiteX163" fmla="*/ 704850 w 1624012"/>
              <a:gd name="connsiteY163" fmla="*/ 1345406 h 1533525"/>
              <a:gd name="connsiteX164" fmla="*/ 692943 w 1624012"/>
              <a:gd name="connsiteY164" fmla="*/ 1366838 h 1533525"/>
              <a:gd name="connsiteX165" fmla="*/ 671512 w 1624012"/>
              <a:gd name="connsiteY165" fmla="*/ 1509713 h 1533525"/>
              <a:gd name="connsiteX166" fmla="*/ 633412 w 1624012"/>
              <a:gd name="connsiteY166" fmla="*/ 1490663 h 1533525"/>
              <a:gd name="connsiteX167" fmla="*/ 614362 w 1624012"/>
              <a:gd name="connsiteY167" fmla="*/ 1504950 h 1533525"/>
              <a:gd name="connsiteX168" fmla="*/ 581025 w 1624012"/>
              <a:gd name="connsiteY168" fmla="*/ 1531144 h 1533525"/>
              <a:gd name="connsiteX169" fmla="*/ 523875 w 1624012"/>
              <a:gd name="connsiteY169" fmla="*/ 1502569 h 1533525"/>
              <a:gd name="connsiteX170" fmla="*/ 514350 w 1624012"/>
              <a:gd name="connsiteY170" fmla="*/ 1490663 h 1533525"/>
              <a:gd name="connsiteX171" fmla="*/ 483393 w 1624012"/>
              <a:gd name="connsiteY171" fmla="*/ 1533525 h 1533525"/>
              <a:gd name="connsiteX0" fmla="*/ 483393 w 1624012"/>
              <a:gd name="connsiteY0" fmla="*/ 1533525 h 1533525"/>
              <a:gd name="connsiteX1" fmla="*/ 459581 w 1624012"/>
              <a:gd name="connsiteY1" fmla="*/ 1481138 h 1533525"/>
              <a:gd name="connsiteX2" fmla="*/ 438150 w 1624012"/>
              <a:gd name="connsiteY2" fmla="*/ 1471613 h 1533525"/>
              <a:gd name="connsiteX3" fmla="*/ 400050 w 1624012"/>
              <a:gd name="connsiteY3" fmla="*/ 1485900 h 1533525"/>
              <a:gd name="connsiteX4" fmla="*/ 338137 w 1624012"/>
              <a:gd name="connsiteY4" fmla="*/ 1490663 h 1533525"/>
              <a:gd name="connsiteX5" fmla="*/ 330993 w 1624012"/>
              <a:gd name="connsiteY5" fmla="*/ 1497806 h 1533525"/>
              <a:gd name="connsiteX6" fmla="*/ 271462 w 1624012"/>
              <a:gd name="connsiteY6" fmla="*/ 1471613 h 1533525"/>
              <a:gd name="connsiteX7" fmla="*/ 219075 w 1624012"/>
              <a:gd name="connsiteY7" fmla="*/ 1443038 h 1533525"/>
              <a:gd name="connsiteX8" fmla="*/ 138112 w 1624012"/>
              <a:gd name="connsiteY8" fmla="*/ 1402556 h 1533525"/>
              <a:gd name="connsiteX9" fmla="*/ 95250 w 1624012"/>
              <a:gd name="connsiteY9" fmla="*/ 1316831 h 1533525"/>
              <a:gd name="connsiteX10" fmla="*/ 80962 w 1624012"/>
              <a:gd name="connsiteY10" fmla="*/ 1288256 h 1533525"/>
              <a:gd name="connsiteX11" fmla="*/ 104775 w 1624012"/>
              <a:gd name="connsiteY11" fmla="*/ 1266825 h 1533525"/>
              <a:gd name="connsiteX12" fmla="*/ 76200 w 1624012"/>
              <a:gd name="connsiteY12" fmla="*/ 1212056 h 1533525"/>
              <a:gd name="connsiteX13" fmla="*/ 109537 w 1624012"/>
              <a:gd name="connsiteY13" fmla="*/ 1193006 h 1533525"/>
              <a:gd name="connsiteX14" fmla="*/ 140493 w 1624012"/>
              <a:gd name="connsiteY14" fmla="*/ 1143000 h 1533525"/>
              <a:gd name="connsiteX15" fmla="*/ 123825 w 1624012"/>
              <a:gd name="connsiteY15" fmla="*/ 1107281 h 1533525"/>
              <a:gd name="connsiteX16" fmla="*/ 178593 w 1624012"/>
              <a:gd name="connsiteY16" fmla="*/ 1107281 h 1533525"/>
              <a:gd name="connsiteX17" fmla="*/ 192881 w 1624012"/>
              <a:gd name="connsiteY17" fmla="*/ 1109663 h 1533525"/>
              <a:gd name="connsiteX18" fmla="*/ 159543 w 1624012"/>
              <a:gd name="connsiteY18" fmla="*/ 1064419 h 1533525"/>
              <a:gd name="connsiteX19" fmla="*/ 169068 w 1624012"/>
              <a:gd name="connsiteY19" fmla="*/ 1014413 h 1533525"/>
              <a:gd name="connsiteX20" fmla="*/ 123825 w 1624012"/>
              <a:gd name="connsiteY20" fmla="*/ 997744 h 1533525"/>
              <a:gd name="connsiteX21" fmla="*/ 61912 w 1624012"/>
              <a:gd name="connsiteY21" fmla="*/ 954881 h 1533525"/>
              <a:gd name="connsiteX22" fmla="*/ 45243 w 1624012"/>
              <a:gd name="connsiteY22" fmla="*/ 938213 h 1533525"/>
              <a:gd name="connsiteX23" fmla="*/ 64293 w 1624012"/>
              <a:gd name="connsiteY23" fmla="*/ 909638 h 1533525"/>
              <a:gd name="connsiteX24" fmla="*/ 47625 w 1624012"/>
              <a:gd name="connsiteY24" fmla="*/ 897731 h 1533525"/>
              <a:gd name="connsiteX25" fmla="*/ 47625 w 1624012"/>
              <a:gd name="connsiteY25" fmla="*/ 881063 h 1533525"/>
              <a:gd name="connsiteX26" fmla="*/ 26193 w 1624012"/>
              <a:gd name="connsiteY26" fmla="*/ 881063 h 1533525"/>
              <a:gd name="connsiteX27" fmla="*/ 7143 w 1624012"/>
              <a:gd name="connsiteY27" fmla="*/ 847725 h 1533525"/>
              <a:gd name="connsiteX28" fmla="*/ 0 w 1624012"/>
              <a:gd name="connsiteY28" fmla="*/ 816769 h 1533525"/>
              <a:gd name="connsiteX29" fmla="*/ 54768 w 1624012"/>
              <a:gd name="connsiteY29" fmla="*/ 800100 h 1533525"/>
              <a:gd name="connsiteX30" fmla="*/ 76200 w 1624012"/>
              <a:gd name="connsiteY30" fmla="*/ 788194 h 1533525"/>
              <a:gd name="connsiteX31" fmla="*/ 128587 w 1624012"/>
              <a:gd name="connsiteY31" fmla="*/ 821531 h 1533525"/>
              <a:gd name="connsiteX32" fmla="*/ 126206 w 1624012"/>
              <a:gd name="connsiteY32" fmla="*/ 800100 h 1533525"/>
              <a:gd name="connsiteX33" fmla="*/ 164306 w 1624012"/>
              <a:gd name="connsiteY33" fmla="*/ 795338 h 1533525"/>
              <a:gd name="connsiteX34" fmla="*/ 173831 w 1624012"/>
              <a:gd name="connsiteY34" fmla="*/ 759619 h 1533525"/>
              <a:gd name="connsiteX35" fmla="*/ 235743 w 1624012"/>
              <a:gd name="connsiteY35" fmla="*/ 764381 h 1533525"/>
              <a:gd name="connsiteX36" fmla="*/ 235743 w 1624012"/>
              <a:gd name="connsiteY36" fmla="*/ 764381 h 1533525"/>
              <a:gd name="connsiteX37" fmla="*/ 245268 w 1624012"/>
              <a:gd name="connsiteY37" fmla="*/ 704850 h 1533525"/>
              <a:gd name="connsiteX38" fmla="*/ 276225 w 1624012"/>
              <a:gd name="connsiteY38" fmla="*/ 666750 h 1533525"/>
              <a:gd name="connsiteX39" fmla="*/ 292893 w 1624012"/>
              <a:gd name="connsiteY39" fmla="*/ 638175 h 1533525"/>
              <a:gd name="connsiteX40" fmla="*/ 245268 w 1624012"/>
              <a:gd name="connsiteY40" fmla="*/ 602456 h 1533525"/>
              <a:gd name="connsiteX41" fmla="*/ 264318 w 1624012"/>
              <a:gd name="connsiteY41" fmla="*/ 585788 h 1533525"/>
              <a:gd name="connsiteX42" fmla="*/ 311943 w 1624012"/>
              <a:gd name="connsiteY42" fmla="*/ 602456 h 1533525"/>
              <a:gd name="connsiteX43" fmla="*/ 369093 w 1624012"/>
              <a:gd name="connsiteY43" fmla="*/ 573881 h 1533525"/>
              <a:gd name="connsiteX44" fmla="*/ 457200 w 1624012"/>
              <a:gd name="connsiteY44" fmla="*/ 545306 h 1533525"/>
              <a:gd name="connsiteX45" fmla="*/ 538162 w 1624012"/>
              <a:gd name="connsiteY45" fmla="*/ 578644 h 1533525"/>
              <a:gd name="connsiteX46" fmla="*/ 614362 w 1624012"/>
              <a:gd name="connsiteY46" fmla="*/ 550069 h 1533525"/>
              <a:gd name="connsiteX47" fmla="*/ 650081 w 1624012"/>
              <a:gd name="connsiteY47" fmla="*/ 552450 h 1533525"/>
              <a:gd name="connsiteX48" fmla="*/ 654843 w 1624012"/>
              <a:gd name="connsiteY48" fmla="*/ 523875 h 1533525"/>
              <a:gd name="connsiteX49" fmla="*/ 654843 w 1624012"/>
              <a:gd name="connsiteY49" fmla="*/ 490538 h 1533525"/>
              <a:gd name="connsiteX50" fmla="*/ 669131 w 1624012"/>
              <a:gd name="connsiteY50" fmla="*/ 469106 h 1533525"/>
              <a:gd name="connsiteX51" fmla="*/ 652462 w 1624012"/>
              <a:gd name="connsiteY51" fmla="*/ 450056 h 1533525"/>
              <a:gd name="connsiteX52" fmla="*/ 642937 w 1624012"/>
              <a:gd name="connsiteY52" fmla="*/ 411956 h 1533525"/>
              <a:gd name="connsiteX53" fmla="*/ 642937 w 1624012"/>
              <a:gd name="connsiteY53" fmla="*/ 330994 h 1533525"/>
              <a:gd name="connsiteX54" fmla="*/ 633412 w 1624012"/>
              <a:gd name="connsiteY54" fmla="*/ 319088 h 1533525"/>
              <a:gd name="connsiteX55" fmla="*/ 664368 w 1624012"/>
              <a:gd name="connsiteY55" fmla="*/ 285750 h 1533525"/>
              <a:gd name="connsiteX56" fmla="*/ 721518 w 1624012"/>
              <a:gd name="connsiteY56" fmla="*/ 292894 h 1533525"/>
              <a:gd name="connsiteX57" fmla="*/ 733425 w 1624012"/>
              <a:gd name="connsiteY57" fmla="*/ 264319 h 1533525"/>
              <a:gd name="connsiteX58" fmla="*/ 731043 w 1624012"/>
              <a:gd name="connsiteY58" fmla="*/ 228600 h 1533525"/>
              <a:gd name="connsiteX59" fmla="*/ 790575 w 1624012"/>
              <a:gd name="connsiteY59" fmla="*/ 192881 h 1533525"/>
              <a:gd name="connsiteX60" fmla="*/ 804862 w 1624012"/>
              <a:gd name="connsiteY60" fmla="*/ 166688 h 1533525"/>
              <a:gd name="connsiteX61" fmla="*/ 778668 w 1624012"/>
              <a:gd name="connsiteY61" fmla="*/ 128588 h 1533525"/>
              <a:gd name="connsiteX62" fmla="*/ 771525 w 1624012"/>
              <a:gd name="connsiteY62" fmla="*/ 104775 h 1533525"/>
              <a:gd name="connsiteX63" fmla="*/ 823912 w 1624012"/>
              <a:gd name="connsiteY63" fmla="*/ 97631 h 1533525"/>
              <a:gd name="connsiteX64" fmla="*/ 869156 w 1624012"/>
              <a:gd name="connsiteY64" fmla="*/ 52388 h 1533525"/>
              <a:gd name="connsiteX65" fmla="*/ 890587 w 1624012"/>
              <a:gd name="connsiteY65" fmla="*/ 23813 h 1533525"/>
              <a:gd name="connsiteX66" fmla="*/ 923925 w 1624012"/>
              <a:gd name="connsiteY66" fmla="*/ 9525 h 1533525"/>
              <a:gd name="connsiteX67" fmla="*/ 971550 w 1624012"/>
              <a:gd name="connsiteY67" fmla="*/ 0 h 1533525"/>
              <a:gd name="connsiteX68" fmla="*/ 971550 w 1624012"/>
              <a:gd name="connsiteY68" fmla="*/ 40481 h 1533525"/>
              <a:gd name="connsiteX69" fmla="*/ 950118 w 1624012"/>
              <a:gd name="connsiteY69" fmla="*/ 80963 h 1533525"/>
              <a:gd name="connsiteX70" fmla="*/ 950118 w 1624012"/>
              <a:gd name="connsiteY70" fmla="*/ 140494 h 1533525"/>
              <a:gd name="connsiteX71" fmla="*/ 969168 w 1624012"/>
              <a:gd name="connsiteY71" fmla="*/ 161925 h 1533525"/>
              <a:gd name="connsiteX72" fmla="*/ 1007268 w 1624012"/>
              <a:gd name="connsiteY72" fmla="*/ 188119 h 1533525"/>
              <a:gd name="connsiteX73" fmla="*/ 1019175 w 1624012"/>
              <a:gd name="connsiteY73" fmla="*/ 216694 h 1533525"/>
              <a:gd name="connsiteX74" fmla="*/ 1004887 w 1624012"/>
              <a:gd name="connsiteY74" fmla="*/ 226219 h 1533525"/>
              <a:gd name="connsiteX75" fmla="*/ 1057275 w 1624012"/>
              <a:gd name="connsiteY75" fmla="*/ 250031 h 1533525"/>
              <a:gd name="connsiteX76" fmla="*/ 1073943 w 1624012"/>
              <a:gd name="connsiteY76" fmla="*/ 228600 h 1533525"/>
              <a:gd name="connsiteX77" fmla="*/ 1083468 w 1624012"/>
              <a:gd name="connsiteY77" fmla="*/ 252413 h 1533525"/>
              <a:gd name="connsiteX78" fmla="*/ 1116806 w 1624012"/>
              <a:gd name="connsiteY78" fmla="*/ 252413 h 1533525"/>
              <a:gd name="connsiteX79" fmla="*/ 1123950 w 1624012"/>
              <a:gd name="connsiteY79" fmla="*/ 257175 h 1533525"/>
              <a:gd name="connsiteX80" fmla="*/ 1116806 w 1624012"/>
              <a:gd name="connsiteY80" fmla="*/ 276225 h 1533525"/>
              <a:gd name="connsiteX81" fmla="*/ 1088231 w 1624012"/>
              <a:gd name="connsiteY81" fmla="*/ 309563 h 1533525"/>
              <a:gd name="connsiteX82" fmla="*/ 1123950 w 1624012"/>
              <a:gd name="connsiteY82" fmla="*/ 333375 h 1533525"/>
              <a:gd name="connsiteX83" fmla="*/ 1135856 w 1624012"/>
              <a:gd name="connsiteY83" fmla="*/ 347663 h 1533525"/>
              <a:gd name="connsiteX84" fmla="*/ 1135856 w 1624012"/>
              <a:gd name="connsiteY84" fmla="*/ 376238 h 1533525"/>
              <a:gd name="connsiteX85" fmla="*/ 1119187 w 1624012"/>
              <a:gd name="connsiteY85" fmla="*/ 411956 h 1533525"/>
              <a:gd name="connsiteX86" fmla="*/ 1162050 w 1624012"/>
              <a:gd name="connsiteY86" fmla="*/ 423863 h 1533525"/>
              <a:gd name="connsiteX87" fmla="*/ 1233487 w 1624012"/>
              <a:gd name="connsiteY87" fmla="*/ 416719 h 1533525"/>
              <a:gd name="connsiteX88" fmla="*/ 1223962 w 1624012"/>
              <a:gd name="connsiteY88" fmla="*/ 385763 h 1533525"/>
              <a:gd name="connsiteX89" fmla="*/ 1188243 w 1624012"/>
              <a:gd name="connsiteY89" fmla="*/ 347663 h 1533525"/>
              <a:gd name="connsiteX90" fmla="*/ 1181100 w 1624012"/>
              <a:gd name="connsiteY90" fmla="*/ 333375 h 1533525"/>
              <a:gd name="connsiteX91" fmla="*/ 1207293 w 1624012"/>
              <a:gd name="connsiteY91" fmla="*/ 326231 h 1533525"/>
              <a:gd name="connsiteX92" fmla="*/ 1200150 w 1624012"/>
              <a:gd name="connsiteY92" fmla="*/ 302419 h 1533525"/>
              <a:gd name="connsiteX93" fmla="*/ 1223962 w 1624012"/>
              <a:gd name="connsiteY93" fmla="*/ 283369 h 1533525"/>
              <a:gd name="connsiteX94" fmla="*/ 1250156 w 1624012"/>
              <a:gd name="connsiteY94" fmla="*/ 242888 h 1533525"/>
              <a:gd name="connsiteX95" fmla="*/ 1302543 w 1624012"/>
              <a:gd name="connsiteY95" fmla="*/ 211931 h 1533525"/>
              <a:gd name="connsiteX96" fmla="*/ 1350168 w 1624012"/>
              <a:gd name="connsiteY96" fmla="*/ 123825 h 1533525"/>
              <a:gd name="connsiteX97" fmla="*/ 1343025 w 1624012"/>
              <a:gd name="connsiteY97" fmla="*/ 61913 h 1533525"/>
              <a:gd name="connsiteX98" fmla="*/ 1381125 w 1624012"/>
              <a:gd name="connsiteY98" fmla="*/ 0 h 1533525"/>
              <a:gd name="connsiteX99" fmla="*/ 1419225 w 1624012"/>
              <a:gd name="connsiteY99" fmla="*/ 11906 h 1533525"/>
              <a:gd name="connsiteX100" fmla="*/ 1438275 w 1624012"/>
              <a:gd name="connsiteY100" fmla="*/ 69056 h 1533525"/>
              <a:gd name="connsiteX101" fmla="*/ 1440656 w 1624012"/>
              <a:gd name="connsiteY101" fmla="*/ 104775 h 1533525"/>
              <a:gd name="connsiteX102" fmla="*/ 1490662 w 1624012"/>
              <a:gd name="connsiteY102" fmla="*/ 142875 h 1533525"/>
              <a:gd name="connsiteX103" fmla="*/ 1543050 w 1624012"/>
              <a:gd name="connsiteY103" fmla="*/ 147638 h 1533525"/>
              <a:gd name="connsiteX104" fmla="*/ 1547812 w 1624012"/>
              <a:gd name="connsiteY104" fmla="*/ 121444 h 1533525"/>
              <a:gd name="connsiteX105" fmla="*/ 1574006 w 1624012"/>
              <a:gd name="connsiteY105" fmla="*/ 121444 h 1533525"/>
              <a:gd name="connsiteX106" fmla="*/ 1624012 w 1624012"/>
              <a:gd name="connsiteY106" fmla="*/ 109538 h 1533525"/>
              <a:gd name="connsiteX107" fmla="*/ 1057275 w 1624012"/>
              <a:gd name="connsiteY107" fmla="*/ 264319 h 1533525"/>
              <a:gd name="connsiteX108" fmla="*/ 1062037 w 1624012"/>
              <a:gd name="connsiteY108" fmla="*/ 304800 h 1533525"/>
              <a:gd name="connsiteX109" fmla="*/ 995362 w 1624012"/>
              <a:gd name="connsiteY109" fmla="*/ 352425 h 1533525"/>
              <a:gd name="connsiteX110" fmla="*/ 973931 w 1624012"/>
              <a:gd name="connsiteY110" fmla="*/ 383381 h 1533525"/>
              <a:gd name="connsiteX111" fmla="*/ 1000125 w 1624012"/>
              <a:gd name="connsiteY111" fmla="*/ 428625 h 1533525"/>
              <a:gd name="connsiteX112" fmla="*/ 983456 w 1624012"/>
              <a:gd name="connsiteY112" fmla="*/ 466725 h 1533525"/>
              <a:gd name="connsiteX113" fmla="*/ 1000125 w 1624012"/>
              <a:gd name="connsiteY113" fmla="*/ 519113 h 1533525"/>
              <a:gd name="connsiteX114" fmla="*/ 1033462 w 1624012"/>
              <a:gd name="connsiteY114" fmla="*/ 519113 h 1533525"/>
              <a:gd name="connsiteX115" fmla="*/ 1019175 w 1624012"/>
              <a:gd name="connsiteY115" fmla="*/ 552450 h 1533525"/>
              <a:gd name="connsiteX116" fmla="*/ 1035843 w 1624012"/>
              <a:gd name="connsiteY116" fmla="*/ 590550 h 1533525"/>
              <a:gd name="connsiteX117" fmla="*/ 1035843 w 1624012"/>
              <a:gd name="connsiteY117" fmla="*/ 607219 h 1533525"/>
              <a:gd name="connsiteX118" fmla="*/ 1045368 w 1624012"/>
              <a:gd name="connsiteY118" fmla="*/ 645319 h 1533525"/>
              <a:gd name="connsiteX119" fmla="*/ 1064418 w 1624012"/>
              <a:gd name="connsiteY119" fmla="*/ 645319 h 1533525"/>
              <a:gd name="connsiteX120" fmla="*/ 1078706 w 1624012"/>
              <a:gd name="connsiteY120" fmla="*/ 666750 h 1533525"/>
              <a:gd name="connsiteX121" fmla="*/ 1085850 w 1624012"/>
              <a:gd name="connsiteY121" fmla="*/ 688181 h 1533525"/>
              <a:gd name="connsiteX122" fmla="*/ 1076325 w 1624012"/>
              <a:gd name="connsiteY122" fmla="*/ 719138 h 1533525"/>
              <a:gd name="connsiteX123" fmla="*/ 1021556 w 1624012"/>
              <a:gd name="connsiteY123" fmla="*/ 714375 h 1533525"/>
              <a:gd name="connsiteX124" fmla="*/ 1002506 w 1624012"/>
              <a:gd name="connsiteY124" fmla="*/ 721519 h 1533525"/>
              <a:gd name="connsiteX125" fmla="*/ 995362 w 1624012"/>
              <a:gd name="connsiteY125" fmla="*/ 726281 h 1533525"/>
              <a:gd name="connsiteX126" fmla="*/ 995362 w 1624012"/>
              <a:gd name="connsiteY126" fmla="*/ 726281 h 1533525"/>
              <a:gd name="connsiteX127" fmla="*/ 923925 w 1624012"/>
              <a:gd name="connsiteY127" fmla="*/ 721519 h 1533525"/>
              <a:gd name="connsiteX128" fmla="*/ 940593 w 1624012"/>
              <a:gd name="connsiteY128" fmla="*/ 778669 h 1533525"/>
              <a:gd name="connsiteX129" fmla="*/ 938212 w 1624012"/>
              <a:gd name="connsiteY129" fmla="*/ 847725 h 1533525"/>
              <a:gd name="connsiteX130" fmla="*/ 954881 w 1624012"/>
              <a:gd name="connsiteY130" fmla="*/ 871538 h 1533525"/>
              <a:gd name="connsiteX131" fmla="*/ 997743 w 1624012"/>
              <a:gd name="connsiteY131" fmla="*/ 919163 h 1533525"/>
              <a:gd name="connsiteX132" fmla="*/ 1012031 w 1624012"/>
              <a:gd name="connsiteY132" fmla="*/ 954881 h 1533525"/>
              <a:gd name="connsiteX133" fmla="*/ 1031081 w 1624012"/>
              <a:gd name="connsiteY133" fmla="*/ 954881 h 1533525"/>
              <a:gd name="connsiteX134" fmla="*/ 1071562 w 1624012"/>
              <a:gd name="connsiteY134" fmla="*/ 940594 h 1533525"/>
              <a:gd name="connsiteX135" fmla="*/ 1102518 w 1624012"/>
              <a:gd name="connsiteY135" fmla="*/ 933450 h 1533525"/>
              <a:gd name="connsiteX136" fmla="*/ 1159668 w 1624012"/>
              <a:gd name="connsiteY136" fmla="*/ 997744 h 1533525"/>
              <a:gd name="connsiteX137" fmla="*/ 1178718 w 1624012"/>
              <a:gd name="connsiteY137" fmla="*/ 1052513 h 1533525"/>
              <a:gd name="connsiteX138" fmla="*/ 1190625 w 1624012"/>
              <a:gd name="connsiteY138" fmla="*/ 1081088 h 1533525"/>
              <a:gd name="connsiteX139" fmla="*/ 1212056 w 1624012"/>
              <a:gd name="connsiteY139" fmla="*/ 1109663 h 1533525"/>
              <a:gd name="connsiteX140" fmla="*/ 1231106 w 1624012"/>
              <a:gd name="connsiteY140" fmla="*/ 1102519 h 1533525"/>
              <a:gd name="connsiteX141" fmla="*/ 1231106 w 1624012"/>
              <a:gd name="connsiteY141" fmla="*/ 1131094 h 1533525"/>
              <a:gd name="connsiteX142" fmla="*/ 1233487 w 1624012"/>
              <a:gd name="connsiteY142" fmla="*/ 1145381 h 1533525"/>
              <a:gd name="connsiteX143" fmla="*/ 1266825 w 1624012"/>
              <a:gd name="connsiteY143" fmla="*/ 1181100 h 1533525"/>
              <a:gd name="connsiteX144" fmla="*/ 1233487 w 1624012"/>
              <a:gd name="connsiteY144" fmla="*/ 1181100 h 1533525"/>
              <a:gd name="connsiteX145" fmla="*/ 1228725 w 1624012"/>
              <a:gd name="connsiteY145" fmla="*/ 1223963 h 1533525"/>
              <a:gd name="connsiteX146" fmla="*/ 1226343 w 1624012"/>
              <a:gd name="connsiteY146" fmla="*/ 1243013 h 1533525"/>
              <a:gd name="connsiteX147" fmla="*/ 1216818 w 1624012"/>
              <a:gd name="connsiteY147" fmla="*/ 1264444 h 1533525"/>
              <a:gd name="connsiteX148" fmla="*/ 1190625 w 1624012"/>
              <a:gd name="connsiteY148" fmla="*/ 1238250 h 1533525"/>
              <a:gd name="connsiteX149" fmla="*/ 1157287 w 1624012"/>
              <a:gd name="connsiteY149" fmla="*/ 1209675 h 1533525"/>
              <a:gd name="connsiteX150" fmla="*/ 1131093 w 1624012"/>
              <a:gd name="connsiteY150" fmla="*/ 1185863 h 1533525"/>
              <a:gd name="connsiteX151" fmla="*/ 1107281 w 1624012"/>
              <a:gd name="connsiteY151" fmla="*/ 1219200 h 1533525"/>
              <a:gd name="connsiteX152" fmla="*/ 1104900 w 1624012"/>
              <a:gd name="connsiteY152" fmla="*/ 1264444 h 1533525"/>
              <a:gd name="connsiteX153" fmla="*/ 1062037 w 1624012"/>
              <a:gd name="connsiteY153" fmla="*/ 1259681 h 1533525"/>
              <a:gd name="connsiteX154" fmla="*/ 1026318 w 1624012"/>
              <a:gd name="connsiteY154" fmla="*/ 1288256 h 1533525"/>
              <a:gd name="connsiteX155" fmla="*/ 1007268 w 1624012"/>
              <a:gd name="connsiteY155" fmla="*/ 1240631 h 1533525"/>
              <a:gd name="connsiteX156" fmla="*/ 947737 w 1624012"/>
              <a:gd name="connsiteY156" fmla="*/ 1231106 h 1533525"/>
              <a:gd name="connsiteX157" fmla="*/ 921543 w 1624012"/>
              <a:gd name="connsiteY157" fmla="*/ 1297781 h 1533525"/>
              <a:gd name="connsiteX158" fmla="*/ 885825 w 1624012"/>
              <a:gd name="connsiteY158" fmla="*/ 1278731 h 1533525"/>
              <a:gd name="connsiteX159" fmla="*/ 816768 w 1624012"/>
              <a:gd name="connsiteY159" fmla="*/ 1295400 h 1533525"/>
              <a:gd name="connsiteX160" fmla="*/ 757237 w 1624012"/>
              <a:gd name="connsiteY160" fmla="*/ 1259681 h 1533525"/>
              <a:gd name="connsiteX161" fmla="*/ 742950 w 1624012"/>
              <a:gd name="connsiteY161" fmla="*/ 1312069 h 1533525"/>
              <a:gd name="connsiteX162" fmla="*/ 704850 w 1624012"/>
              <a:gd name="connsiteY162" fmla="*/ 1345406 h 1533525"/>
              <a:gd name="connsiteX163" fmla="*/ 692943 w 1624012"/>
              <a:gd name="connsiteY163" fmla="*/ 1366838 h 1533525"/>
              <a:gd name="connsiteX164" fmla="*/ 671512 w 1624012"/>
              <a:gd name="connsiteY164" fmla="*/ 1509713 h 1533525"/>
              <a:gd name="connsiteX165" fmla="*/ 633412 w 1624012"/>
              <a:gd name="connsiteY165" fmla="*/ 1490663 h 1533525"/>
              <a:gd name="connsiteX166" fmla="*/ 614362 w 1624012"/>
              <a:gd name="connsiteY166" fmla="*/ 1504950 h 1533525"/>
              <a:gd name="connsiteX167" fmla="*/ 581025 w 1624012"/>
              <a:gd name="connsiteY167" fmla="*/ 1531144 h 1533525"/>
              <a:gd name="connsiteX168" fmla="*/ 523875 w 1624012"/>
              <a:gd name="connsiteY168" fmla="*/ 1502569 h 1533525"/>
              <a:gd name="connsiteX169" fmla="*/ 514350 w 1624012"/>
              <a:gd name="connsiteY169" fmla="*/ 1490663 h 1533525"/>
              <a:gd name="connsiteX170" fmla="*/ 483393 w 1624012"/>
              <a:gd name="connsiteY170" fmla="*/ 1533525 h 1533525"/>
              <a:gd name="connsiteX0" fmla="*/ 483393 w 1624012"/>
              <a:gd name="connsiteY0" fmla="*/ 1533525 h 1533525"/>
              <a:gd name="connsiteX1" fmla="*/ 459581 w 1624012"/>
              <a:gd name="connsiteY1" fmla="*/ 1481138 h 1533525"/>
              <a:gd name="connsiteX2" fmla="*/ 438150 w 1624012"/>
              <a:gd name="connsiteY2" fmla="*/ 1471613 h 1533525"/>
              <a:gd name="connsiteX3" fmla="*/ 400050 w 1624012"/>
              <a:gd name="connsiteY3" fmla="*/ 1485900 h 1533525"/>
              <a:gd name="connsiteX4" fmla="*/ 338137 w 1624012"/>
              <a:gd name="connsiteY4" fmla="*/ 1490663 h 1533525"/>
              <a:gd name="connsiteX5" fmla="*/ 330993 w 1624012"/>
              <a:gd name="connsiteY5" fmla="*/ 1497806 h 1533525"/>
              <a:gd name="connsiteX6" fmla="*/ 271462 w 1624012"/>
              <a:gd name="connsiteY6" fmla="*/ 1471613 h 1533525"/>
              <a:gd name="connsiteX7" fmla="*/ 219075 w 1624012"/>
              <a:gd name="connsiteY7" fmla="*/ 1443038 h 1533525"/>
              <a:gd name="connsiteX8" fmla="*/ 138112 w 1624012"/>
              <a:gd name="connsiteY8" fmla="*/ 1402556 h 1533525"/>
              <a:gd name="connsiteX9" fmla="*/ 95250 w 1624012"/>
              <a:gd name="connsiteY9" fmla="*/ 1316831 h 1533525"/>
              <a:gd name="connsiteX10" fmla="*/ 80962 w 1624012"/>
              <a:gd name="connsiteY10" fmla="*/ 1288256 h 1533525"/>
              <a:gd name="connsiteX11" fmla="*/ 104775 w 1624012"/>
              <a:gd name="connsiteY11" fmla="*/ 1266825 h 1533525"/>
              <a:gd name="connsiteX12" fmla="*/ 76200 w 1624012"/>
              <a:gd name="connsiteY12" fmla="*/ 1212056 h 1533525"/>
              <a:gd name="connsiteX13" fmla="*/ 109537 w 1624012"/>
              <a:gd name="connsiteY13" fmla="*/ 1193006 h 1533525"/>
              <a:gd name="connsiteX14" fmla="*/ 140493 w 1624012"/>
              <a:gd name="connsiteY14" fmla="*/ 1143000 h 1533525"/>
              <a:gd name="connsiteX15" fmla="*/ 123825 w 1624012"/>
              <a:gd name="connsiteY15" fmla="*/ 1107281 h 1533525"/>
              <a:gd name="connsiteX16" fmla="*/ 178593 w 1624012"/>
              <a:gd name="connsiteY16" fmla="*/ 1107281 h 1533525"/>
              <a:gd name="connsiteX17" fmla="*/ 192881 w 1624012"/>
              <a:gd name="connsiteY17" fmla="*/ 1109663 h 1533525"/>
              <a:gd name="connsiteX18" fmla="*/ 159543 w 1624012"/>
              <a:gd name="connsiteY18" fmla="*/ 1064419 h 1533525"/>
              <a:gd name="connsiteX19" fmla="*/ 169068 w 1624012"/>
              <a:gd name="connsiteY19" fmla="*/ 1014413 h 1533525"/>
              <a:gd name="connsiteX20" fmla="*/ 123825 w 1624012"/>
              <a:gd name="connsiteY20" fmla="*/ 997744 h 1533525"/>
              <a:gd name="connsiteX21" fmla="*/ 61912 w 1624012"/>
              <a:gd name="connsiteY21" fmla="*/ 954881 h 1533525"/>
              <a:gd name="connsiteX22" fmla="*/ 45243 w 1624012"/>
              <a:gd name="connsiteY22" fmla="*/ 938213 h 1533525"/>
              <a:gd name="connsiteX23" fmla="*/ 64293 w 1624012"/>
              <a:gd name="connsiteY23" fmla="*/ 909638 h 1533525"/>
              <a:gd name="connsiteX24" fmla="*/ 47625 w 1624012"/>
              <a:gd name="connsiteY24" fmla="*/ 897731 h 1533525"/>
              <a:gd name="connsiteX25" fmla="*/ 47625 w 1624012"/>
              <a:gd name="connsiteY25" fmla="*/ 881063 h 1533525"/>
              <a:gd name="connsiteX26" fmla="*/ 26193 w 1624012"/>
              <a:gd name="connsiteY26" fmla="*/ 881063 h 1533525"/>
              <a:gd name="connsiteX27" fmla="*/ 7143 w 1624012"/>
              <a:gd name="connsiteY27" fmla="*/ 847725 h 1533525"/>
              <a:gd name="connsiteX28" fmla="*/ 0 w 1624012"/>
              <a:gd name="connsiteY28" fmla="*/ 816769 h 1533525"/>
              <a:gd name="connsiteX29" fmla="*/ 54768 w 1624012"/>
              <a:gd name="connsiteY29" fmla="*/ 800100 h 1533525"/>
              <a:gd name="connsiteX30" fmla="*/ 76200 w 1624012"/>
              <a:gd name="connsiteY30" fmla="*/ 788194 h 1533525"/>
              <a:gd name="connsiteX31" fmla="*/ 128587 w 1624012"/>
              <a:gd name="connsiteY31" fmla="*/ 821531 h 1533525"/>
              <a:gd name="connsiteX32" fmla="*/ 126206 w 1624012"/>
              <a:gd name="connsiteY32" fmla="*/ 800100 h 1533525"/>
              <a:gd name="connsiteX33" fmla="*/ 164306 w 1624012"/>
              <a:gd name="connsiteY33" fmla="*/ 795338 h 1533525"/>
              <a:gd name="connsiteX34" fmla="*/ 173831 w 1624012"/>
              <a:gd name="connsiteY34" fmla="*/ 759619 h 1533525"/>
              <a:gd name="connsiteX35" fmla="*/ 235743 w 1624012"/>
              <a:gd name="connsiteY35" fmla="*/ 764381 h 1533525"/>
              <a:gd name="connsiteX36" fmla="*/ 235743 w 1624012"/>
              <a:gd name="connsiteY36" fmla="*/ 764381 h 1533525"/>
              <a:gd name="connsiteX37" fmla="*/ 245268 w 1624012"/>
              <a:gd name="connsiteY37" fmla="*/ 704850 h 1533525"/>
              <a:gd name="connsiteX38" fmla="*/ 276225 w 1624012"/>
              <a:gd name="connsiteY38" fmla="*/ 666750 h 1533525"/>
              <a:gd name="connsiteX39" fmla="*/ 292893 w 1624012"/>
              <a:gd name="connsiteY39" fmla="*/ 638175 h 1533525"/>
              <a:gd name="connsiteX40" fmla="*/ 245268 w 1624012"/>
              <a:gd name="connsiteY40" fmla="*/ 602456 h 1533525"/>
              <a:gd name="connsiteX41" fmla="*/ 264318 w 1624012"/>
              <a:gd name="connsiteY41" fmla="*/ 585788 h 1533525"/>
              <a:gd name="connsiteX42" fmla="*/ 311943 w 1624012"/>
              <a:gd name="connsiteY42" fmla="*/ 602456 h 1533525"/>
              <a:gd name="connsiteX43" fmla="*/ 369093 w 1624012"/>
              <a:gd name="connsiteY43" fmla="*/ 573881 h 1533525"/>
              <a:gd name="connsiteX44" fmla="*/ 457200 w 1624012"/>
              <a:gd name="connsiteY44" fmla="*/ 545306 h 1533525"/>
              <a:gd name="connsiteX45" fmla="*/ 538162 w 1624012"/>
              <a:gd name="connsiteY45" fmla="*/ 578644 h 1533525"/>
              <a:gd name="connsiteX46" fmla="*/ 614362 w 1624012"/>
              <a:gd name="connsiteY46" fmla="*/ 550069 h 1533525"/>
              <a:gd name="connsiteX47" fmla="*/ 650081 w 1624012"/>
              <a:gd name="connsiteY47" fmla="*/ 552450 h 1533525"/>
              <a:gd name="connsiteX48" fmla="*/ 654843 w 1624012"/>
              <a:gd name="connsiteY48" fmla="*/ 523875 h 1533525"/>
              <a:gd name="connsiteX49" fmla="*/ 654843 w 1624012"/>
              <a:gd name="connsiteY49" fmla="*/ 490538 h 1533525"/>
              <a:gd name="connsiteX50" fmla="*/ 669131 w 1624012"/>
              <a:gd name="connsiteY50" fmla="*/ 469106 h 1533525"/>
              <a:gd name="connsiteX51" fmla="*/ 652462 w 1624012"/>
              <a:gd name="connsiteY51" fmla="*/ 450056 h 1533525"/>
              <a:gd name="connsiteX52" fmla="*/ 642937 w 1624012"/>
              <a:gd name="connsiteY52" fmla="*/ 411956 h 1533525"/>
              <a:gd name="connsiteX53" fmla="*/ 642937 w 1624012"/>
              <a:gd name="connsiteY53" fmla="*/ 330994 h 1533525"/>
              <a:gd name="connsiteX54" fmla="*/ 633412 w 1624012"/>
              <a:gd name="connsiteY54" fmla="*/ 319088 h 1533525"/>
              <a:gd name="connsiteX55" fmla="*/ 664368 w 1624012"/>
              <a:gd name="connsiteY55" fmla="*/ 285750 h 1533525"/>
              <a:gd name="connsiteX56" fmla="*/ 721518 w 1624012"/>
              <a:gd name="connsiteY56" fmla="*/ 292894 h 1533525"/>
              <a:gd name="connsiteX57" fmla="*/ 733425 w 1624012"/>
              <a:gd name="connsiteY57" fmla="*/ 264319 h 1533525"/>
              <a:gd name="connsiteX58" fmla="*/ 731043 w 1624012"/>
              <a:gd name="connsiteY58" fmla="*/ 228600 h 1533525"/>
              <a:gd name="connsiteX59" fmla="*/ 790575 w 1624012"/>
              <a:gd name="connsiteY59" fmla="*/ 192881 h 1533525"/>
              <a:gd name="connsiteX60" fmla="*/ 804862 w 1624012"/>
              <a:gd name="connsiteY60" fmla="*/ 166688 h 1533525"/>
              <a:gd name="connsiteX61" fmla="*/ 778668 w 1624012"/>
              <a:gd name="connsiteY61" fmla="*/ 128588 h 1533525"/>
              <a:gd name="connsiteX62" fmla="*/ 771525 w 1624012"/>
              <a:gd name="connsiteY62" fmla="*/ 104775 h 1533525"/>
              <a:gd name="connsiteX63" fmla="*/ 823912 w 1624012"/>
              <a:gd name="connsiteY63" fmla="*/ 97631 h 1533525"/>
              <a:gd name="connsiteX64" fmla="*/ 869156 w 1624012"/>
              <a:gd name="connsiteY64" fmla="*/ 52388 h 1533525"/>
              <a:gd name="connsiteX65" fmla="*/ 890587 w 1624012"/>
              <a:gd name="connsiteY65" fmla="*/ 23813 h 1533525"/>
              <a:gd name="connsiteX66" fmla="*/ 923925 w 1624012"/>
              <a:gd name="connsiteY66" fmla="*/ 9525 h 1533525"/>
              <a:gd name="connsiteX67" fmla="*/ 971550 w 1624012"/>
              <a:gd name="connsiteY67" fmla="*/ 0 h 1533525"/>
              <a:gd name="connsiteX68" fmla="*/ 971550 w 1624012"/>
              <a:gd name="connsiteY68" fmla="*/ 40481 h 1533525"/>
              <a:gd name="connsiteX69" fmla="*/ 950118 w 1624012"/>
              <a:gd name="connsiteY69" fmla="*/ 80963 h 1533525"/>
              <a:gd name="connsiteX70" fmla="*/ 950118 w 1624012"/>
              <a:gd name="connsiteY70" fmla="*/ 140494 h 1533525"/>
              <a:gd name="connsiteX71" fmla="*/ 969168 w 1624012"/>
              <a:gd name="connsiteY71" fmla="*/ 161925 h 1533525"/>
              <a:gd name="connsiteX72" fmla="*/ 1007268 w 1624012"/>
              <a:gd name="connsiteY72" fmla="*/ 188119 h 1533525"/>
              <a:gd name="connsiteX73" fmla="*/ 1019175 w 1624012"/>
              <a:gd name="connsiteY73" fmla="*/ 216694 h 1533525"/>
              <a:gd name="connsiteX74" fmla="*/ 1004887 w 1624012"/>
              <a:gd name="connsiteY74" fmla="*/ 226219 h 1533525"/>
              <a:gd name="connsiteX75" fmla="*/ 1057275 w 1624012"/>
              <a:gd name="connsiteY75" fmla="*/ 250031 h 1533525"/>
              <a:gd name="connsiteX76" fmla="*/ 1073943 w 1624012"/>
              <a:gd name="connsiteY76" fmla="*/ 228600 h 1533525"/>
              <a:gd name="connsiteX77" fmla="*/ 1083468 w 1624012"/>
              <a:gd name="connsiteY77" fmla="*/ 252413 h 1533525"/>
              <a:gd name="connsiteX78" fmla="*/ 1116806 w 1624012"/>
              <a:gd name="connsiteY78" fmla="*/ 252413 h 1533525"/>
              <a:gd name="connsiteX79" fmla="*/ 1123950 w 1624012"/>
              <a:gd name="connsiteY79" fmla="*/ 257175 h 1533525"/>
              <a:gd name="connsiteX80" fmla="*/ 1116806 w 1624012"/>
              <a:gd name="connsiteY80" fmla="*/ 276225 h 1533525"/>
              <a:gd name="connsiteX81" fmla="*/ 1088231 w 1624012"/>
              <a:gd name="connsiteY81" fmla="*/ 309563 h 1533525"/>
              <a:gd name="connsiteX82" fmla="*/ 1123950 w 1624012"/>
              <a:gd name="connsiteY82" fmla="*/ 333375 h 1533525"/>
              <a:gd name="connsiteX83" fmla="*/ 1135856 w 1624012"/>
              <a:gd name="connsiteY83" fmla="*/ 347663 h 1533525"/>
              <a:gd name="connsiteX84" fmla="*/ 1135856 w 1624012"/>
              <a:gd name="connsiteY84" fmla="*/ 376238 h 1533525"/>
              <a:gd name="connsiteX85" fmla="*/ 1119187 w 1624012"/>
              <a:gd name="connsiteY85" fmla="*/ 411956 h 1533525"/>
              <a:gd name="connsiteX86" fmla="*/ 1162050 w 1624012"/>
              <a:gd name="connsiteY86" fmla="*/ 423863 h 1533525"/>
              <a:gd name="connsiteX87" fmla="*/ 1233487 w 1624012"/>
              <a:gd name="connsiteY87" fmla="*/ 416719 h 1533525"/>
              <a:gd name="connsiteX88" fmla="*/ 1223962 w 1624012"/>
              <a:gd name="connsiteY88" fmla="*/ 385763 h 1533525"/>
              <a:gd name="connsiteX89" fmla="*/ 1188243 w 1624012"/>
              <a:gd name="connsiteY89" fmla="*/ 347663 h 1533525"/>
              <a:gd name="connsiteX90" fmla="*/ 1181100 w 1624012"/>
              <a:gd name="connsiteY90" fmla="*/ 333375 h 1533525"/>
              <a:gd name="connsiteX91" fmla="*/ 1207293 w 1624012"/>
              <a:gd name="connsiteY91" fmla="*/ 326231 h 1533525"/>
              <a:gd name="connsiteX92" fmla="*/ 1200150 w 1624012"/>
              <a:gd name="connsiteY92" fmla="*/ 302419 h 1533525"/>
              <a:gd name="connsiteX93" fmla="*/ 1223962 w 1624012"/>
              <a:gd name="connsiteY93" fmla="*/ 283369 h 1533525"/>
              <a:gd name="connsiteX94" fmla="*/ 1250156 w 1624012"/>
              <a:gd name="connsiteY94" fmla="*/ 242888 h 1533525"/>
              <a:gd name="connsiteX95" fmla="*/ 1302543 w 1624012"/>
              <a:gd name="connsiteY95" fmla="*/ 211931 h 1533525"/>
              <a:gd name="connsiteX96" fmla="*/ 1350168 w 1624012"/>
              <a:gd name="connsiteY96" fmla="*/ 123825 h 1533525"/>
              <a:gd name="connsiteX97" fmla="*/ 1343025 w 1624012"/>
              <a:gd name="connsiteY97" fmla="*/ 61913 h 1533525"/>
              <a:gd name="connsiteX98" fmla="*/ 1419225 w 1624012"/>
              <a:gd name="connsiteY98" fmla="*/ 11906 h 1533525"/>
              <a:gd name="connsiteX99" fmla="*/ 1438275 w 1624012"/>
              <a:gd name="connsiteY99" fmla="*/ 69056 h 1533525"/>
              <a:gd name="connsiteX100" fmla="*/ 1440656 w 1624012"/>
              <a:gd name="connsiteY100" fmla="*/ 104775 h 1533525"/>
              <a:gd name="connsiteX101" fmla="*/ 1490662 w 1624012"/>
              <a:gd name="connsiteY101" fmla="*/ 142875 h 1533525"/>
              <a:gd name="connsiteX102" fmla="*/ 1543050 w 1624012"/>
              <a:gd name="connsiteY102" fmla="*/ 147638 h 1533525"/>
              <a:gd name="connsiteX103" fmla="*/ 1547812 w 1624012"/>
              <a:gd name="connsiteY103" fmla="*/ 121444 h 1533525"/>
              <a:gd name="connsiteX104" fmla="*/ 1574006 w 1624012"/>
              <a:gd name="connsiteY104" fmla="*/ 121444 h 1533525"/>
              <a:gd name="connsiteX105" fmla="*/ 1624012 w 1624012"/>
              <a:gd name="connsiteY105" fmla="*/ 109538 h 1533525"/>
              <a:gd name="connsiteX106" fmla="*/ 1057275 w 1624012"/>
              <a:gd name="connsiteY106" fmla="*/ 264319 h 1533525"/>
              <a:gd name="connsiteX107" fmla="*/ 1062037 w 1624012"/>
              <a:gd name="connsiteY107" fmla="*/ 304800 h 1533525"/>
              <a:gd name="connsiteX108" fmla="*/ 995362 w 1624012"/>
              <a:gd name="connsiteY108" fmla="*/ 352425 h 1533525"/>
              <a:gd name="connsiteX109" fmla="*/ 973931 w 1624012"/>
              <a:gd name="connsiteY109" fmla="*/ 383381 h 1533525"/>
              <a:gd name="connsiteX110" fmla="*/ 1000125 w 1624012"/>
              <a:gd name="connsiteY110" fmla="*/ 428625 h 1533525"/>
              <a:gd name="connsiteX111" fmla="*/ 983456 w 1624012"/>
              <a:gd name="connsiteY111" fmla="*/ 466725 h 1533525"/>
              <a:gd name="connsiteX112" fmla="*/ 1000125 w 1624012"/>
              <a:gd name="connsiteY112" fmla="*/ 519113 h 1533525"/>
              <a:gd name="connsiteX113" fmla="*/ 1033462 w 1624012"/>
              <a:gd name="connsiteY113" fmla="*/ 519113 h 1533525"/>
              <a:gd name="connsiteX114" fmla="*/ 1019175 w 1624012"/>
              <a:gd name="connsiteY114" fmla="*/ 552450 h 1533525"/>
              <a:gd name="connsiteX115" fmla="*/ 1035843 w 1624012"/>
              <a:gd name="connsiteY115" fmla="*/ 590550 h 1533525"/>
              <a:gd name="connsiteX116" fmla="*/ 1035843 w 1624012"/>
              <a:gd name="connsiteY116" fmla="*/ 607219 h 1533525"/>
              <a:gd name="connsiteX117" fmla="*/ 1045368 w 1624012"/>
              <a:gd name="connsiteY117" fmla="*/ 645319 h 1533525"/>
              <a:gd name="connsiteX118" fmla="*/ 1064418 w 1624012"/>
              <a:gd name="connsiteY118" fmla="*/ 645319 h 1533525"/>
              <a:gd name="connsiteX119" fmla="*/ 1078706 w 1624012"/>
              <a:gd name="connsiteY119" fmla="*/ 666750 h 1533525"/>
              <a:gd name="connsiteX120" fmla="*/ 1085850 w 1624012"/>
              <a:gd name="connsiteY120" fmla="*/ 688181 h 1533525"/>
              <a:gd name="connsiteX121" fmla="*/ 1076325 w 1624012"/>
              <a:gd name="connsiteY121" fmla="*/ 719138 h 1533525"/>
              <a:gd name="connsiteX122" fmla="*/ 1021556 w 1624012"/>
              <a:gd name="connsiteY122" fmla="*/ 714375 h 1533525"/>
              <a:gd name="connsiteX123" fmla="*/ 1002506 w 1624012"/>
              <a:gd name="connsiteY123" fmla="*/ 721519 h 1533525"/>
              <a:gd name="connsiteX124" fmla="*/ 995362 w 1624012"/>
              <a:gd name="connsiteY124" fmla="*/ 726281 h 1533525"/>
              <a:gd name="connsiteX125" fmla="*/ 995362 w 1624012"/>
              <a:gd name="connsiteY125" fmla="*/ 726281 h 1533525"/>
              <a:gd name="connsiteX126" fmla="*/ 923925 w 1624012"/>
              <a:gd name="connsiteY126" fmla="*/ 721519 h 1533525"/>
              <a:gd name="connsiteX127" fmla="*/ 940593 w 1624012"/>
              <a:gd name="connsiteY127" fmla="*/ 778669 h 1533525"/>
              <a:gd name="connsiteX128" fmla="*/ 938212 w 1624012"/>
              <a:gd name="connsiteY128" fmla="*/ 847725 h 1533525"/>
              <a:gd name="connsiteX129" fmla="*/ 954881 w 1624012"/>
              <a:gd name="connsiteY129" fmla="*/ 871538 h 1533525"/>
              <a:gd name="connsiteX130" fmla="*/ 997743 w 1624012"/>
              <a:gd name="connsiteY130" fmla="*/ 919163 h 1533525"/>
              <a:gd name="connsiteX131" fmla="*/ 1012031 w 1624012"/>
              <a:gd name="connsiteY131" fmla="*/ 954881 h 1533525"/>
              <a:gd name="connsiteX132" fmla="*/ 1031081 w 1624012"/>
              <a:gd name="connsiteY132" fmla="*/ 954881 h 1533525"/>
              <a:gd name="connsiteX133" fmla="*/ 1071562 w 1624012"/>
              <a:gd name="connsiteY133" fmla="*/ 940594 h 1533525"/>
              <a:gd name="connsiteX134" fmla="*/ 1102518 w 1624012"/>
              <a:gd name="connsiteY134" fmla="*/ 933450 h 1533525"/>
              <a:gd name="connsiteX135" fmla="*/ 1159668 w 1624012"/>
              <a:gd name="connsiteY135" fmla="*/ 997744 h 1533525"/>
              <a:gd name="connsiteX136" fmla="*/ 1178718 w 1624012"/>
              <a:gd name="connsiteY136" fmla="*/ 1052513 h 1533525"/>
              <a:gd name="connsiteX137" fmla="*/ 1190625 w 1624012"/>
              <a:gd name="connsiteY137" fmla="*/ 1081088 h 1533525"/>
              <a:gd name="connsiteX138" fmla="*/ 1212056 w 1624012"/>
              <a:gd name="connsiteY138" fmla="*/ 1109663 h 1533525"/>
              <a:gd name="connsiteX139" fmla="*/ 1231106 w 1624012"/>
              <a:gd name="connsiteY139" fmla="*/ 1102519 h 1533525"/>
              <a:gd name="connsiteX140" fmla="*/ 1231106 w 1624012"/>
              <a:gd name="connsiteY140" fmla="*/ 1131094 h 1533525"/>
              <a:gd name="connsiteX141" fmla="*/ 1233487 w 1624012"/>
              <a:gd name="connsiteY141" fmla="*/ 1145381 h 1533525"/>
              <a:gd name="connsiteX142" fmla="*/ 1266825 w 1624012"/>
              <a:gd name="connsiteY142" fmla="*/ 1181100 h 1533525"/>
              <a:gd name="connsiteX143" fmla="*/ 1233487 w 1624012"/>
              <a:gd name="connsiteY143" fmla="*/ 1181100 h 1533525"/>
              <a:gd name="connsiteX144" fmla="*/ 1228725 w 1624012"/>
              <a:gd name="connsiteY144" fmla="*/ 1223963 h 1533525"/>
              <a:gd name="connsiteX145" fmla="*/ 1226343 w 1624012"/>
              <a:gd name="connsiteY145" fmla="*/ 1243013 h 1533525"/>
              <a:gd name="connsiteX146" fmla="*/ 1216818 w 1624012"/>
              <a:gd name="connsiteY146" fmla="*/ 1264444 h 1533525"/>
              <a:gd name="connsiteX147" fmla="*/ 1190625 w 1624012"/>
              <a:gd name="connsiteY147" fmla="*/ 1238250 h 1533525"/>
              <a:gd name="connsiteX148" fmla="*/ 1157287 w 1624012"/>
              <a:gd name="connsiteY148" fmla="*/ 1209675 h 1533525"/>
              <a:gd name="connsiteX149" fmla="*/ 1131093 w 1624012"/>
              <a:gd name="connsiteY149" fmla="*/ 1185863 h 1533525"/>
              <a:gd name="connsiteX150" fmla="*/ 1107281 w 1624012"/>
              <a:gd name="connsiteY150" fmla="*/ 1219200 h 1533525"/>
              <a:gd name="connsiteX151" fmla="*/ 1104900 w 1624012"/>
              <a:gd name="connsiteY151" fmla="*/ 1264444 h 1533525"/>
              <a:gd name="connsiteX152" fmla="*/ 1062037 w 1624012"/>
              <a:gd name="connsiteY152" fmla="*/ 1259681 h 1533525"/>
              <a:gd name="connsiteX153" fmla="*/ 1026318 w 1624012"/>
              <a:gd name="connsiteY153" fmla="*/ 1288256 h 1533525"/>
              <a:gd name="connsiteX154" fmla="*/ 1007268 w 1624012"/>
              <a:gd name="connsiteY154" fmla="*/ 1240631 h 1533525"/>
              <a:gd name="connsiteX155" fmla="*/ 947737 w 1624012"/>
              <a:gd name="connsiteY155" fmla="*/ 1231106 h 1533525"/>
              <a:gd name="connsiteX156" fmla="*/ 921543 w 1624012"/>
              <a:gd name="connsiteY156" fmla="*/ 1297781 h 1533525"/>
              <a:gd name="connsiteX157" fmla="*/ 885825 w 1624012"/>
              <a:gd name="connsiteY157" fmla="*/ 1278731 h 1533525"/>
              <a:gd name="connsiteX158" fmla="*/ 816768 w 1624012"/>
              <a:gd name="connsiteY158" fmla="*/ 1295400 h 1533525"/>
              <a:gd name="connsiteX159" fmla="*/ 757237 w 1624012"/>
              <a:gd name="connsiteY159" fmla="*/ 1259681 h 1533525"/>
              <a:gd name="connsiteX160" fmla="*/ 742950 w 1624012"/>
              <a:gd name="connsiteY160" fmla="*/ 1312069 h 1533525"/>
              <a:gd name="connsiteX161" fmla="*/ 704850 w 1624012"/>
              <a:gd name="connsiteY161" fmla="*/ 1345406 h 1533525"/>
              <a:gd name="connsiteX162" fmla="*/ 692943 w 1624012"/>
              <a:gd name="connsiteY162" fmla="*/ 1366838 h 1533525"/>
              <a:gd name="connsiteX163" fmla="*/ 671512 w 1624012"/>
              <a:gd name="connsiteY163" fmla="*/ 1509713 h 1533525"/>
              <a:gd name="connsiteX164" fmla="*/ 633412 w 1624012"/>
              <a:gd name="connsiteY164" fmla="*/ 1490663 h 1533525"/>
              <a:gd name="connsiteX165" fmla="*/ 614362 w 1624012"/>
              <a:gd name="connsiteY165" fmla="*/ 1504950 h 1533525"/>
              <a:gd name="connsiteX166" fmla="*/ 581025 w 1624012"/>
              <a:gd name="connsiteY166" fmla="*/ 1531144 h 1533525"/>
              <a:gd name="connsiteX167" fmla="*/ 523875 w 1624012"/>
              <a:gd name="connsiteY167" fmla="*/ 1502569 h 1533525"/>
              <a:gd name="connsiteX168" fmla="*/ 514350 w 1624012"/>
              <a:gd name="connsiteY168" fmla="*/ 1490663 h 1533525"/>
              <a:gd name="connsiteX169" fmla="*/ 483393 w 1624012"/>
              <a:gd name="connsiteY169" fmla="*/ 1533525 h 1533525"/>
              <a:gd name="connsiteX0" fmla="*/ 483393 w 1624012"/>
              <a:gd name="connsiteY0" fmla="*/ 1533525 h 1533525"/>
              <a:gd name="connsiteX1" fmla="*/ 459581 w 1624012"/>
              <a:gd name="connsiteY1" fmla="*/ 1481138 h 1533525"/>
              <a:gd name="connsiteX2" fmla="*/ 438150 w 1624012"/>
              <a:gd name="connsiteY2" fmla="*/ 1471613 h 1533525"/>
              <a:gd name="connsiteX3" fmla="*/ 400050 w 1624012"/>
              <a:gd name="connsiteY3" fmla="*/ 1485900 h 1533525"/>
              <a:gd name="connsiteX4" fmla="*/ 338137 w 1624012"/>
              <a:gd name="connsiteY4" fmla="*/ 1490663 h 1533525"/>
              <a:gd name="connsiteX5" fmla="*/ 330993 w 1624012"/>
              <a:gd name="connsiteY5" fmla="*/ 1497806 h 1533525"/>
              <a:gd name="connsiteX6" fmla="*/ 271462 w 1624012"/>
              <a:gd name="connsiteY6" fmla="*/ 1471613 h 1533525"/>
              <a:gd name="connsiteX7" fmla="*/ 219075 w 1624012"/>
              <a:gd name="connsiteY7" fmla="*/ 1443038 h 1533525"/>
              <a:gd name="connsiteX8" fmla="*/ 138112 w 1624012"/>
              <a:gd name="connsiteY8" fmla="*/ 1402556 h 1533525"/>
              <a:gd name="connsiteX9" fmla="*/ 95250 w 1624012"/>
              <a:gd name="connsiteY9" fmla="*/ 1316831 h 1533525"/>
              <a:gd name="connsiteX10" fmla="*/ 80962 w 1624012"/>
              <a:gd name="connsiteY10" fmla="*/ 1288256 h 1533525"/>
              <a:gd name="connsiteX11" fmla="*/ 104775 w 1624012"/>
              <a:gd name="connsiteY11" fmla="*/ 1266825 h 1533525"/>
              <a:gd name="connsiteX12" fmla="*/ 76200 w 1624012"/>
              <a:gd name="connsiteY12" fmla="*/ 1212056 h 1533525"/>
              <a:gd name="connsiteX13" fmla="*/ 109537 w 1624012"/>
              <a:gd name="connsiteY13" fmla="*/ 1193006 h 1533525"/>
              <a:gd name="connsiteX14" fmla="*/ 140493 w 1624012"/>
              <a:gd name="connsiteY14" fmla="*/ 1143000 h 1533525"/>
              <a:gd name="connsiteX15" fmla="*/ 123825 w 1624012"/>
              <a:gd name="connsiteY15" fmla="*/ 1107281 h 1533525"/>
              <a:gd name="connsiteX16" fmla="*/ 178593 w 1624012"/>
              <a:gd name="connsiteY16" fmla="*/ 1107281 h 1533525"/>
              <a:gd name="connsiteX17" fmla="*/ 192881 w 1624012"/>
              <a:gd name="connsiteY17" fmla="*/ 1109663 h 1533525"/>
              <a:gd name="connsiteX18" fmla="*/ 159543 w 1624012"/>
              <a:gd name="connsiteY18" fmla="*/ 1064419 h 1533525"/>
              <a:gd name="connsiteX19" fmla="*/ 169068 w 1624012"/>
              <a:gd name="connsiteY19" fmla="*/ 1014413 h 1533525"/>
              <a:gd name="connsiteX20" fmla="*/ 123825 w 1624012"/>
              <a:gd name="connsiteY20" fmla="*/ 997744 h 1533525"/>
              <a:gd name="connsiteX21" fmla="*/ 61912 w 1624012"/>
              <a:gd name="connsiteY21" fmla="*/ 954881 h 1533525"/>
              <a:gd name="connsiteX22" fmla="*/ 45243 w 1624012"/>
              <a:gd name="connsiteY22" fmla="*/ 938213 h 1533525"/>
              <a:gd name="connsiteX23" fmla="*/ 64293 w 1624012"/>
              <a:gd name="connsiteY23" fmla="*/ 909638 h 1533525"/>
              <a:gd name="connsiteX24" fmla="*/ 47625 w 1624012"/>
              <a:gd name="connsiteY24" fmla="*/ 897731 h 1533525"/>
              <a:gd name="connsiteX25" fmla="*/ 47625 w 1624012"/>
              <a:gd name="connsiteY25" fmla="*/ 881063 h 1533525"/>
              <a:gd name="connsiteX26" fmla="*/ 26193 w 1624012"/>
              <a:gd name="connsiteY26" fmla="*/ 881063 h 1533525"/>
              <a:gd name="connsiteX27" fmla="*/ 7143 w 1624012"/>
              <a:gd name="connsiteY27" fmla="*/ 847725 h 1533525"/>
              <a:gd name="connsiteX28" fmla="*/ 0 w 1624012"/>
              <a:gd name="connsiteY28" fmla="*/ 816769 h 1533525"/>
              <a:gd name="connsiteX29" fmla="*/ 54768 w 1624012"/>
              <a:gd name="connsiteY29" fmla="*/ 800100 h 1533525"/>
              <a:gd name="connsiteX30" fmla="*/ 76200 w 1624012"/>
              <a:gd name="connsiteY30" fmla="*/ 788194 h 1533525"/>
              <a:gd name="connsiteX31" fmla="*/ 128587 w 1624012"/>
              <a:gd name="connsiteY31" fmla="*/ 821531 h 1533525"/>
              <a:gd name="connsiteX32" fmla="*/ 126206 w 1624012"/>
              <a:gd name="connsiteY32" fmla="*/ 800100 h 1533525"/>
              <a:gd name="connsiteX33" fmla="*/ 164306 w 1624012"/>
              <a:gd name="connsiteY33" fmla="*/ 795338 h 1533525"/>
              <a:gd name="connsiteX34" fmla="*/ 173831 w 1624012"/>
              <a:gd name="connsiteY34" fmla="*/ 759619 h 1533525"/>
              <a:gd name="connsiteX35" fmla="*/ 235743 w 1624012"/>
              <a:gd name="connsiteY35" fmla="*/ 764381 h 1533525"/>
              <a:gd name="connsiteX36" fmla="*/ 235743 w 1624012"/>
              <a:gd name="connsiteY36" fmla="*/ 764381 h 1533525"/>
              <a:gd name="connsiteX37" fmla="*/ 245268 w 1624012"/>
              <a:gd name="connsiteY37" fmla="*/ 704850 h 1533525"/>
              <a:gd name="connsiteX38" fmla="*/ 276225 w 1624012"/>
              <a:gd name="connsiteY38" fmla="*/ 666750 h 1533525"/>
              <a:gd name="connsiteX39" fmla="*/ 292893 w 1624012"/>
              <a:gd name="connsiteY39" fmla="*/ 638175 h 1533525"/>
              <a:gd name="connsiteX40" fmla="*/ 245268 w 1624012"/>
              <a:gd name="connsiteY40" fmla="*/ 602456 h 1533525"/>
              <a:gd name="connsiteX41" fmla="*/ 264318 w 1624012"/>
              <a:gd name="connsiteY41" fmla="*/ 585788 h 1533525"/>
              <a:gd name="connsiteX42" fmla="*/ 311943 w 1624012"/>
              <a:gd name="connsiteY42" fmla="*/ 602456 h 1533525"/>
              <a:gd name="connsiteX43" fmla="*/ 369093 w 1624012"/>
              <a:gd name="connsiteY43" fmla="*/ 573881 h 1533525"/>
              <a:gd name="connsiteX44" fmla="*/ 457200 w 1624012"/>
              <a:gd name="connsiteY44" fmla="*/ 545306 h 1533525"/>
              <a:gd name="connsiteX45" fmla="*/ 538162 w 1624012"/>
              <a:gd name="connsiteY45" fmla="*/ 578644 h 1533525"/>
              <a:gd name="connsiteX46" fmla="*/ 614362 w 1624012"/>
              <a:gd name="connsiteY46" fmla="*/ 550069 h 1533525"/>
              <a:gd name="connsiteX47" fmla="*/ 650081 w 1624012"/>
              <a:gd name="connsiteY47" fmla="*/ 552450 h 1533525"/>
              <a:gd name="connsiteX48" fmla="*/ 654843 w 1624012"/>
              <a:gd name="connsiteY48" fmla="*/ 523875 h 1533525"/>
              <a:gd name="connsiteX49" fmla="*/ 654843 w 1624012"/>
              <a:gd name="connsiteY49" fmla="*/ 490538 h 1533525"/>
              <a:gd name="connsiteX50" fmla="*/ 669131 w 1624012"/>
              <a:gd name="connsiteY50" fmla="*/ 469106 h 1533525"/>
              <a:gd name="connsiteX51" fmla="*/ 652462 w 1624012"/>
              <a:gd name="connsiteY51" fmla="*/ 450056 h 1533525"/>
              <a:gd name="connsiteX52" fmla="*/ 642937 w 1624012"/>
              <a:gd name="connsiteY52" fmla="*/ 411956 h 1533525"/>
              <a:gd name="connsiteX53" fmla="*/ 642937 w 1624012"/>
              <a:gd name="connsiteY53" fmla="*/ 330994 h 1533525"/>
              <a:gd name="connsiteX54" fmla="*/ 633412 w 1624012"/>
              <a:gd name="connsiteY54" fmla="*/ 319088 h 1533525"/>
              <a:gd name="connsiteX55" fmla="*/ 664368 w 1624012"/>
              <a:gd name="connsiteY55" fmla="*/ 285750 h 1533525"/>
              <a:gd name="connsiteX56" fmla="*/ 721518 w 1624012"/>
              <a:gd name="connsiteY56" fmla="*/ 292894 h 1533525"/>
              <a:gd name="connsiteX57" fmla="*/ 733425 w 1624012"/>
              <a:gd name="connsiteY57" fmla="*/ 264319 h 1533525"/>
              <a:gd name="connsiteX58" fmla="*/ 731043 w 1624012"/>
              <a:gd name="connsiteY58" fmla="*/ 228600 h 1533525"/>
              <a:gd name="connsiteX59" fmla="*/ 790575 w 1624012"/>
              <a:gd name="connsiteY59" fmla="*/ 192881 h 1533525"/>
              <a:gd name="connsiteX60" fmla="*/ 804862 w 1624012"/>
              <a:gd name="connsiteY60" fmla="*/ 166688 h 1533525"/>
              <a:gd name="connsiteX61" fmla="*/ 778668 w 1624012"/>
              <a:gd name="connsiteY61" fmla="*/ 128588 h 1533525"/>
              <a:gd name="connsiteX62" fmla="*/ 771525 w 1624012"/>
              <a:gd name="connsiteY62" fmla="*/ 104775 h 1533525"/>
              <a:gd name="connsiteX63" fmla="*/ 823912 w 1624012"/>
              <a:gd name="connsiteY63" fmla="*/ 97631 h 1533525"/>
              <a:gd name="connsiteX64" fmla="*/ 869156 w 1624012"/>
              <a:gd name="connsiteY64" fmla="*/ 52388 h 1533525"/>
              <a:gd name="connsiteX65" fmla="*/ 890587 w 1624012"/>
              <a:gd name="connsiteY65" fmla="*/ 23813 h 1533525"/>
              <a:gd name="connsiteX66" fmla="*/ 923925 w 1624012"/>
              <a:gd name="connsiteY66" fmla="*/ 9525 h 1533525"/>
              <a:gd name="connsiteX67" fmla="*/ 971550 w 1624012"/>
              <a:gd name="connsiteY67" fmla="*/ 0 h 1533525"/>
              <a:gd name="connsiteX68" fmla="*/ 971550 w 1624012"/>
              <a:gd name="connsiteY68" fmla="*/ 40481 h 1533525"/>
              <a:gd name="connsiteX69" fmla="*/ 950118 w 1624012"/>
              <a:gd name="connsiteY69" fmla="*/ 80963 h 1533525"/>
              <a:gd name="connsiteX70" fmla="*/ 950118 w 1624012"/>
              <a:gd name="connsiteY70" fmla="*/ 140494 h 1533525"/>
              <a:gd name="connsiteX71" fmla="*/ 969168 w 1624012"/>
              <a:gd name="connsiteY71" fmla="*/ 161925 h 1533525"/>
              <a:gd name="connsiteX72" fmla="*/ 1007268 w 1624012"/>
              <a:gd name="connsiteY72" fmla="*/ 188119 h 1533525"/>
              <a:gd name="connsiteX73" fmla="*/ 1019175 w 1624012"/>
              <a:gd name="connsiteY73" fmla="*/ 216694 h 1533525"/>
              <a:gd name="connsiteX74" fmla="*/ 1004887 w 1624012"/>
              <a:gd name="connsiteY74" fmla="*/ 226219 h 1533525"/>
              <a:gd name="connsiteX75" fmla="*/ 1057275 w 1624012"/>
              <a:gd name="connsiteY75" fmla="*/ 250031 h 1533525"/>
              <a:gd name="connsiteX76" fmla="*/ 1073943 w 1624012"/>
              <a:gd name="connsiteY76" fmla="*/ 228600 h 1533525"/>
              <a:gd name="connsiteX77" fmla="*/ 1083468 w 1624012"/>
              <a:gd name="connsiteY77" fmla="*/ 252413 h 1533525"/>
              <a:gd name="connsiteX78" fmla="*/ 1116806 w 1624012"/>
              <a:gd name="connsiteY78" fmla="*/ 252413 h 1533525"/>
              <a:gd name="connsiteX79" fmla="*/ 1123950 w 1624012"/>
              <a:gd name="connsiteY79" fmla="*/ 257175 h 1533525"/>
              <a:gd name="connsiteX80" fmla="*/ 1116806 w 1624012"/>
              <a:gd name="connsiteY80" fmla="*/ 276225 h 1533525"/>
              <a:gd name="connsiteX81" fmla="*/ 1088231 w 1624012"/>
              <a:gd name="connsiteY81" fmla="*/ 309563 h 1533525"/>
              <a:gd name="connsiteX82" fmla="*/ 1123950 w 1624012"/>
              <a:gd name="connsiteY82" fmla="*/ 333375 h 1533525"/>
              <a:gd name="connsiteX83" fmla="*/ 1135856 w 1624012"/>
              <a:gd name="connsiteY83" fmla="*/ 347663 h 1533525"/>
              <a:gd name="connsiteX84" fmla="*/ 1135856 w 1624012"/>
              <a:gd name="connsiteY84" fmla="*/ 376238 h 1533525"/>
              <a:gd name="connsiteX85" fmla="*/ 1119187 w 1624012"/>
              <a:gd name="connsiteY85" fmla="*/ 411956 h 1533525"/>
              <a:gd name="connsiteX86" fmla="*/ 1162050 w 1624012"/>
              <a:gd name="connsiteY86" fmla="*/ 423863 h 1533525"/>
              <a:gd name="connsiteX87" fmla="*/ 1233487 w 1624012"/>
              <a:gd name="connsiteY87" fmla="*/ 416719 h 1533525"/>
              <a:gd name="connsiteX88" fmla="*/ 1223962 w 1624012"/>
              <a:gd name="connsiteY88" fmla="*/ 385763 h 1533525"/>
              <a:gd name="connsiteX89" fmla="*/ 1188243 w 1624012"/>
              <a:gd name="connsiteY89" fmla="*/ 347663 h 1533525"/>
              <a:gd name="connsiteX90" fmla="*/ 1181100 w 1624012"/>
              <a:gd name="connsiteY90" fmla="*/ 333375 h 1533525"/>
              <a:gd name="connsiteX91" fmla="*/ 1207293 w 1624012"/>
              <a:gd name="connsiteY91" fmla="*/ 326231 h 1533525"/>
              <a:gd name="connsiteX92" fmla="*/ 1200150 w 1624012"/>
              <a:gd name="connsiteY92" fmla="*/ 302419 h 1533525"/>
              <a:gd name="connsiteX93" fmla="*/ 1223962 w 1624012"/>
              <a:gd name="connsiteY93" fmla="*/ 283369 h 1533525"/>
              <a:gd name="connsiteX94" fmla="*/ 1250156 w 1624012"/>
              <a:gd name="connsiteY94" fmla="*/ 242888 h 1533525"/>
              <a:gd name="connsiteX95" fmla="*/ 1302543 w 1624012"/>
              <a:gd name="connsiteY95" fmla="*/ 211931 h 1533525"/>
              <a:gd name="connsiteX96" fmla="*/ 1350168 w 1624012"/>
              <a:gd name="connsiteY96" fmla="*/ 123825 h 1533525"/>
              <a:gd name="connsiteX97" fmla="*/ 1343025 w 1624012"/>
              <a:gd name="connsiteY97" fmla="*/ 61913 h 1533525"/>
              <a:gd name="connsiteX98" fmla="*/ 1438275 w 1624012"/>
              <a:gd name="connsiteY98" fmla="*/ 69056 h 1533525"/>
              <a:gd name="connsiteX99" fmla="*/ 1440656 w 1624012"/>
              <a:gd name="connsiteY99" fmla="*/ 104775 h 1533525"/>
              <a:gd name="connsiteX100" fmla="*/ 1490662 w 1624012"/>
              <a:gd name="connsiteY100" fmla="*/ 142875 h 1533525"/>
              <a:gd name="connsiteX101" fmla="*/ 1543050 w 1624012"/>
              <a:gd name="connsiteY101" fmla="*/ 147638 h 1533525"/>
              <a:gd name="connsiteX102" fmla="*/ 1547812 w 1624012"/>
              <a:gd name="connsiteY102" fmla="*/ 121444 h 1533525"/>
              <a:gd name="connsiteX103" fmla="*/ 1574006 w 1624012"/>
              <a:gd name="connsiteY103" fmla="*/ 121444 h 1533525"/>
              <a:gd name="connsiteX104" fmla="*/ 1624012 w 1624012"/>
              <a:gd name="connsiteY104" fmla="*/ 109538 h 1533525"/>
              <a:gd name="connsiteX105" fmla="*/ 1057275 w 1624012"/>
              <a:gd name="connsiteY105" fmla="*/ 264319 h 1533525"/>
              <a:gd name="connsiteX106" fmla="*/ 1062037 w 1624012"/>
              <a:gd name="connsiteY106" fmla="*/ 304800 h 1533525"/>
              <a:gd name="connsiteX107" fmla="*/ 995362 w 1624012"/>
              <a:gd name="connsiteY107" fmla="*/ 352425 h 1533525"/>
              <a:gd name="connsiteX108" fmla="*/ 973931 w 1624012"/>
              <a:gd name="connsiteY108" fmla="*/ 383381 h 1533525"/>
              <a:gd name="connsiteX109" fmla="*/ 1000125 w 1624012"/>
              <a:gd name="connsiteY109" fmla="*/ 428625 h 1533525"/>
              <a:gd name="connsiteX110" fmla="*/ 983456 w 1624012"/>
              <a:gd name="connsiteY110" fmla="*/ 466725 h 1533525"/>
              <a:gd name="connsiteX111" fmla="*/ 1000125 w 1624012"/>
              <a:gd name="connsiteY111" fmla="*/ 519113 h 1533525"/>
              <a:gd name="connsiteX112" fmla="*/ 1033462 w 1624012"/>
              <a:gd name="connsiteY112" fmla="*/ 519113 h 1533525"/>
              <a:gd name="connsiteX113" fmla="*/ 1019175 w 1624012"/>
              <a:gd name="connsiteY113" fmla="*/ 552450 h 1533525"/>
              <a:gd name="connsiteX114" fmla="*/ 1035843 w 1624012"/>
              <a:gd name="connsiteY114" fmla="*/ 590550 h 1533525"/>
              <a:gd name="connsiteX115" fmla="*/ 1035843 w 1624012"/>
              <a:gd name="connsiteY115" fmla="*/ 607219 h 1533525"/>
              <a:gd name="connsiteX116" fmla="*/ 1045368 w 1624012"/>
              <a:gd name="connsiteY116" fmla="*/ 645319 h 1533525"/>
              <a:gd name="connsiteX117" fmla="*/ 1064418 w 1624012"/>
              <a:gd name="connsiteY117" fmla="*/ 645319 h 1533525"/>
              <a:gd name="connsiteX118" fmla="*/ 1078706 w 1624012"/>
              <a:gd name="connsiteY118" fmla="*/ 666750 h 1533525"/>
              <a:gd name="connsiteX119" fmla="*/ 1085850 w 1624012"/>
              <a:gd name="connsiteY119" fmla="*/ 688181 h 1533525"/>
              <a:gd name="connsiteX120" fmla="*/ 1076325 w 1624012"/>
              <a:gd name="connsiteY120" fmla="*/ 719138 h 1533525"/>
              <a:gd name="connsiteX121" fmla="*/ 1021556 w 1624012"/>
              <a:gd name="connsiteY121" fmla="*/ 714375 h 1533525"/>
              <a:gd name="connsiteX122" fmla="*/ 1002506 w 1624012"/>
              <a:gd name="connsiteY122" fmla="*/ 721519 h 1533525"/>
              <a:gd name="connsiteX123" fmla="*/ 995362 w 1624012"/>
              <a:gd name="connsiteY123" fmla="*/ 726281 h 1533525"/>
              <a:gd name="connsiteX124" fmla="*/ 995362 w 1624012"/>
              <a:gd name="connsiteY124" fmla="*/ 726281 h 1533525"/>
              <a:gd name="connsiteX125" fmla="*/ 923925 w 1624012"/>
              <a:gd name="connsiteY125" fmla="*/ 721519 h 1533525"/>
              <a:gd name="connsiteX126" fmla="*/ 940593 w 1624012"/>
              <a:gd name="connsiteY126" fmla="*/ 778669 h 1533525"/>
              <a:gd name="connsiteX127" fmla="*/ 938212 w 1624012"/>
              <a:gd name="connsiteY127" fmla="*/ 847725 h 1533525"/>
              <a:gd name="connsiteX128" fmla="*/ 954881 w 1624012"/>
              <a:gd name="connsiteY128" fmla="*/ 871538 h 1533525"/>
              <a:gd name="connsiteX129" fmla="*/ 997743 w 1624012"/>
              <a:gd name="connsiteY129" fmla="*/ 919163 h 1533525"/>
              <a:gd name="connsiteX130" fmla="*/ 1012031 w 1624012"/>
              <a:gd name="connsiteY130" fmla="*/ 954881 h 1533525"/>
              <a:gd name="connsiteX131" fmla="*/ 1031081 w 1624012"/>
              <a:gd name="connsiteY131" fmla="*/ 954881 h 1533525"/>
              <a:gd name="connsiteX132" fmla="*/ 1071562 w 1624012"/>
              <a:gd name="connsiteY132" fmla="*/ 940594 h 1533525"/>
              <a:gd name="connsiteX133" fmla="*/ 1102518 w 1624012"/>
              <a:gd name="connsiteY133" fmla="*/ 933450 h 1533525"/>
              <a:gd name="connsiteX134" fmla="*/ 1159668 w 1624012"/>
              <a:gd name="connsiteY134" fmla="*/ 997744 h 1533525"/>
              <a:gd name="connsiteX135" fmla="*/ 1178718 w 1624012"/>
              <a:gd name="connsiteY135" fmla="*/ 1052513 h 1533525"/>
              <a:gd name="connsiteX136" fmla="*/ 1190625 w 1624012"/>
              <a:gd name="connsiteY136" fmla="*/ 1081088 h 1533525"/>
              <a:gd name="connsiteX137" fmla="*/ 1212056 w 1624012"/>
              <a:gd name="connsiteY137" fmla="*/ 1109663 h 1533525"/>
              <a:gd name="connsiteX138" fmla="*/ 1231106 w 1624012"/>
              <a:gd name="connsiteY138" fmla="*/ 1102519 h 1533525"/>
              <a:gd name="connsiteX139" fmla="*/ 1231106 w 1624012"/>
              <a:gd name="connsiteY139" fmla="*/ 1131094 h 1533525"/>
              <a:gd name="connsiteX140" fmla="*/ 1233487 w 1624012"/>
              <a:gd name="connsiteY140" fmla="*/ 1145381 h 1533525"/>
              <a:gd name="connsiteX141" fmla="*/ 1266825 w 1624012"/>
              <a:gd name="connsiteY141" fmla="*/ 1181100 h 1533525"/>
              <a:gd name="connsiteX142" fmla="*/ 1233487 w 1624012"/>
              <a:gd name="connsiteY142" fmla="*/ 1181100 h 1533525"/>
              <a:gd name="connsiteX143" fmla="*/ 1228725 w 1624012"/>
              <a:gd name="connsiteY143" fmla="*/ 1223963 h 1533525"/>
              <a:gd name="connsiteX144" fmla="*/ 1226343 w 1624012"/>
              <a:gd name="connsiteY144" fmla="*/ 1243013 h 1533525"/>
              <a:gd name="connsiteX145" fmla="*/ 1216818 w 1624012"/>
              <a:gd name="connsiteY145" fmla="*/ 1264444 h 1533525"/>
              <a:gd name="connsiteX146" fmla="*/ 1190625 w 1624012"/>
              <a:gd name="connsiteY146" fmla="*/ 1238250 h 1533525"/>
              <a:gd name="connsiteX147" fmla="*/ 1157287 w 1624012"/>
              <a:gd name="connsiteY147" fmla="*/ 1209675 h 1533525"/>
              <a:gd name="connsiteX148" fmla="*/ 1131093 w 1624012"/>
              <a:gd name="connsiteY148" fmla="*/ 1185863 h 1533525"/>
              <a:gd name="connsiteX149" fmla="*/ 1107281 w 1624012"/>
              <a:gd name="connsiteY149" fmla="*/ 1219200 h 1533525"/>
              <a:gd name="connsiteX150" fmla="*/ 1104900 w 1624012"/>
              <a:gd name="connsiteY150" fmla="*/ 1264444 h 1533525"/>
              <a:gd name="connsiteX151" fmla="*/ 1062037 w 1624012"/>
              <a:gd name="connsiteY151" fmla="*/ 1259681 h 1533525"/>
              <a:gd name="connsiteX152" fmla="*/ 1026318 w 1624012"/>
              <a:gd name="connsiteY152" fmla="*/ 1288256 h 1533525"/>
              <a:gd name="connsiteX153" fmla="*/ 1007268 w 1624012"/>
              <a:gd name="connsiteY153" fmla="*/ 1240631 h 1533525"/>
              <a:gd name="connsiteX154" fmla="*/ 947737 w 1624012"/>
              <a:gd name="connsiteY154" fmla="*/ 1231106 h 1533525"/>
              <a:gd name="connsiteX155" fmla="*/ 921543 w 1624012"/>
              <a:gd name="connsiteY155" fmla="*/ 1297781 h 1533525"/>
              <a:gd name="connsiteX156" fmla="*/ 885825 w 1624012"/>
              <a:gd name="connsiteY156" fmla="*/ 1278731 h 1533525"/>
              <a:gd name="connsiteX157" fmla="*/ 816768 w 1624012"/>
              <a:gd name="connsiteY157" fmla="*/ 1295400 h 1533525"/>
              <a:gd name="connsiteX158" fmla="*/ 757237 w 1624012"/>
              <a:gd name="connsiteY158" fmla="*/ 1259681 h 1533525"/>
              <a:gd name="connsiteX159" fmla="*/ 742950 w 1624012"/>
              <a:gd name="connsiteY159" fmla="*/ 1312069 h 1533525"/>
              <a:gd name="connsiteX160" fmla="*/ 704850 w 1624012"/>
              <a:gd name="connsiteY160" fmla="*/ 1345406 h 1533525"/>
              <a:gd name="connsiteX161" fmla="*/ 692943 w 1624012"/>
              <a:gd name="connsiteY161" fmla="*/ 1366838 h 1533525"/>
              <a:gd name="connsiteX162" fmla="*/ 671512 w 1624012"/>
              <a:gd name="connsiteY162" fmla="*/ 1509713 h 1533525"/>
              <a:gd name="connsiteX163" fmla="*/ 633412 w 1624012"/>
              <a:gd name="connsiteY163" fmla="*/ 1490663 h 1533525"/>
              <a:gd name="connsiteX164" fmla="*/ 614362 w 1624012"/>
              <a:gd name="connsiteY164" fmla="*/ 1504950 h 1533525"/>
              <a:gd name="connsiteX165" fmla="*/ 581025 w 1624012"/>
              <a:gd name="connsiteY165" fmla="*/ 1531144 h 1533525"/>
              <a:gd name="connsiteX166" fmla="*/ 523875 w 1624012"/>
              <a:gd name="connsiteY166" fmla="*/ 1502569 h 1533525"/>
              <a:gd name="connsiteX167" fmla="*/ 514350 w 1624012"/>
              <a:gd name="connsiteY167" fmla="*/ 1490663 h 1533525"/>
              <a:gd name="connsiteX168" fmla="*/ 483393 w 1624012"/>
              <a:gd name="connsiteY168" fmla="*/ 1533525 h 1533525"/>
              <a:gd name="connsiteX0" fmla="*/ 483393 w 1624012"/>
              <a:gd name="connsiteY0" fmla="*/ 1533525 h 1533525"/>
              <a:gd name="connsiteX1" fmla="*/ 459581 w 1624012"/>
              <a:gd name="connsiteY1" fmla="*/ 1481138 h 1533525"/>
              <a:gd name="connsiteX2" fmla="*/ 438150 w 1624012"/>
              <a:gd name="connsiteY2" fmla="*/ 1471613 h 1533525"/>
              <a:gd name="connsiteX3" fmla="*/ 400050 w 1624012"/>
              <a:gd name="connsiteY3" fmla="*/ 1485900 h 1533525"/>
              <a:gd name="connsiteX4" fmla="*/ 338137 w 1624012"/>
              <a:gd name="connsiteY4" fmla="*/ 1490663 h 1533525"/>
              <a:gd name="connsiteX5" fmla="*/ 330993 w 1624012"/>
              <a:gd name="connsiteY5" fmla="*/ 1497806 h 1533525"/>
              <a:gd name="connsiteX6" fmla="*/ 271462 w 1624012"/>
              <a:gd name="connsiteY6" fmla="*/ 1471613 h 1533525"/>
              <a:gd name="connsiteX7" fmla="*/ 219075 w 1624012"/>
              <a:gd name="connsiteY7" fmla="*/ 1443038 h 1533525"/>
              <a:gd name="connsiteX8" fmla="*/ 138112 w 1624012"/>
              <a:gd name="connsiteY8" fmla="*/ 1402556 h 1533525"/>
              <a:gd name="connsiteX9" fmla="*/ 95250 w 1624012"/>
              <a:gd name="connsiteY9" fmla="*/ 1316831 h 1533525"/>
              <a:gd name="connsiteX10" fmla="*/ 80962 w 1624012"/>
              <a:gd name="connsiteY10" fmla="*/ 1288256 h 1533525"/>
              <a:gd name="connsiteX11" fmla="*/ 104775 w 1624012"/>
              <a:gd name="connsiteY11" fmla="*/ 1266825 h 1533525"/>
              <a:gd name="connsiteX12" fmla="*/ 76200 w 1624012"/>
              <a:gd name="connsiteY12" fmla="*/ 1212056 h 1533525"/>
              <a:gd name="connsiteX13" fmla="*/ 109537 w 1624012"/>
              <a:gd name="connsiteY13" fmla="*/ 1193006 h 1533525"/>
              <a:gd name="connsiteX14" fmla="*/ 140493 w 1624012"/>
              <a:gd name="connsiteY14" fmla="*/ 1143000 h 1533525"/>
              <a:gd name="connsiteX15" fmla="*/ 123825 w 1624012"/>
              <a:gd name="connsiteY15" fmla="*/ 1107281 h 1533525"/>
              <a:gd name="connsiteX16" fmla="*/ 178593 w 1624012"/>
              <a:gd name="connsiteY16" fmla="*/ 1107281 h 1533525"/>
              <a:gd name="connsiteX17" fmla="*/ 192881 w 1624012"/>
              <a:gd name="connsiteY17" fmla="*/ 1109663 h 1533525"/>
              <a:gd name="connsiteX18" fmla="*/ 159543 w 1624012"/>
              <a:gd name="connsiteY18" fmla="*/ 1064419 h 1533525"/>
              <a:gd name="connsiteX19" fmla="*/ 169068 w 1624012"/>
              <a:gd name="connsiteY19" fmla="*/ 1014413 h 1533525"/>
              <a:gd name="connsiteX20" fmla="*/ 123825 w 1624012"/>
              <a:gd name="connsiteY20" fmla="*/ 997744 h 1533525"/>
              <a:gd name="connsiteX21" fmla="*/ 61912 w 1624012"/>
              <a:gd name="connsiteY21" fmla="*/ 954881 h 1533525"/>
              <a:gd name="connsiteX22" fmla="*/ 45243 w 1624012"/>
              <a:gd name="connsiteY22" fmla="*/ 938213 h 1533525"/>
              <a:gd name="connsiteX23" fmla="*/ 64293 w 1624012"/>
              <a:gd name="connsiteY23" fmla="*/ 909638 h 1533525"/>
              <a:gd name="connsiteX24" fmla="*/ 47625 w 1624012"/>
              <a:gd name="connsiteY24" fmla="*/ 897731 h 1533525"/>
              <a:gd name="connsiteX25" fmla="*/ 47625 w 1624012"/>
              <a:gd name="connsiteY25" fmla="*/ 881063 h 1533525"/>
              <a:gd name="connsiteX26" fmla="*/ 26193 w 1624012"/>
              <a:gd name="connsiteY26" fmla="*/ 881063 h 1533525"/>
              <a:gd name="connsiteX27" fmla="*/ 7143 w 1624012"/>
              <a:gd name="connsiteY27" fmla="*/ 847725 h 1533525"/>
              <a:gd name="connsiteX28" fmla="*/ 0 w 1624012"/>
              <a:gd name="connsiteY28" fmla="*/ 816769 h 1533525"/>
              <a:gd name="connsiteX29" fmla="*/ 54768 w 1624012"/>
              <a:gd name="connsiteY29" fmla="*/ 800100 h 1533525"/>
              <a:gd name="connsiteX30" fmla="*/ 76200 w 1624012"/>
              <a:gd name="connsiteY30" fmla="*/ 788194 h 1533525"/>
              <a:gd name="connsiteX31" fmla="*/ 128587 w 1624012"/>
              <a:gd name="connsiteY31" fmla="*/ 821531 h 1533525"/>
              <a:gd name="connsiteX32" fmla="*/ 126206 w 1624012"/>
              <a:gd name="connsiteY32" fmla="*/ 800100 h 1533525"/>
              <a:gd name="connsiteX33" fmla="*/ 164306 w 1624012"/>
              <a:gd name="connsiteY33" fmla="*/ 795338 h 1533525"/>
              <a:gd name="connsiteX34" fmla="*/ 173831 w 1624012"/>
              <a:gd name="connsiteY34" fmla="*/ 759619 h 1533525"/>
              <a:gd name="connsiteX35" fmla="*/ 235743 w 1624012"/>
              <a:gd name="connsiteY35" fmla="*/ 764381 h 1533525"/>
              <a:gd name="connsiteX36" fmla="*/ 235743 w 1624012"/>
              <a:gd name="connsiteY36" fmla="*/ 764381 h 1533525"/>
              <a:gd name="connsiteX37" fmla="*/ 245268 w 1624012"/>
              <a:gd name="connsiteY37" fmla="*/ 704850 h 1533525"/>
              <a:gd name="connsiteX38" fmla="*/ 276225 w 1624012"/>
              <a:gd name="connsiteY38" fmla="*/ 666750 h 1533525"/>
              <a:gd name="connsiteX39" fmla="*/ 292893 w 1624012"/>
              <a:gd name="connsiteY39" fmla="*/ 638175 h 1533525"/>
              <a:gd name="connsiteX40" fmla="*/ 245268 w 1624012"/>
              <a:gd name="connsiteY40" fmla="*/ 602456 h 1533525"/>
              <a:gd name="connsiteX41" fmla="*/ 264318 w 1624012"/>
              <a:gd name="connsiteY41" fmla="*/ 585788 h 1533525"/>
              <a:gd name="connsiteX42" fmla="*/ 311943 w 1624012"/>
              <a:gd name="connsiteY42" fmla="*/ 602456 h 1533525"/>
              <a:gd name="connsiteX43" fmla="*/ 369093 w 1624012"/>
              <a:gd name="connsiteY43" fmla="*/ 573881 h 1533525"/>
              <a:gd name="connsiteX44" fmla="*/ 457200 w 1624012"/>
              <a:gd name="connsiteY44" fmla="*/ 545306 h 1533525"/>
              <a:gd name="connsiteX45" fmla="*/ 538162 w 1624012"/>
              <a:gd name="connsiteY45" fmla="*/ 578644 h 1533525"/>
              <a:gd name="connsiteX46" fmla="*/ 614362 w 1624012"/>
              <a:gd name="connsiteY46" fmla="*/ 550069 h 1533525"/>
              <a:gd name="connsiteX47" fmla="*/ 650081 w 1624012"/>
              <a:gd name="connsiteY47" fmla="*/ 552450 h 1533525"/>
              <a:gd name="connsiteX48" fmla="*/ 654843 w 1624012"/>
              <a:gd name="connsiteY48" fmla="*/ 523875 h 1533525"/>
              <a:gd name="connsiteX49" fmla="*/ 654843 w 1624012"/>
              <a:gd name="connsiteY49" fmla="*/ 490538 h 1533525"/>
              <a:gd name="connsiteX50" fmla="*/ 669131 w 1624012"/>
              <a:gd name="connsiteY50" fmla="*/ 469106 h 1533525"/>
              <a:gd name="connsiteX51" fmla="*/ 652462 w 1624012"/>
              <a:gd name="connsiteY51" fmla="*/ 450056 h 1533525"/>
              <a:gd name="connsiteX52" fmla="*/ 642937 w 1624012"/>
              <a:gd name="connsiteY52" fmla="*/ 411956 h 1533525"/>
              <a:gd name="connsiteX53" fmla="*/ 642937 w 1624012"/>
              <a:gd name="connsiteY53" fmla="*/ 330994 h 1533525"/>
              <a:gd name="connsiteX54" fmla="*/ 633412 w 1624012"/>
              <a:gd name="connsiteY54" fmla="*/ 319088 h 1533525"/>
              <a:gd name="connsiteX55" fmla="*/ 664368 w 1624012"/>
              <a:gd name="connsiteY55" fmla="*/ 285750 h 1533525"/>
              <a:gd name="connsiteX56" fmla="*/ 721518 w 1624012"/>
              <a:gd name="connsiteY56" fmla="*/ 292894 h 1533525"/>
              <a:gd name="connsiteX57" fmla="*/ 733425 w 1624012"/>
              <a:gd name="connsiteY57" fmla="*/ 264319 h 1533525"/>
              <a:gd name="connsiteX58" fmla="*/ 731043 w 1624012"/>
              <a:gd name="connsiteY58" fmla="*/ 228600 h 1533525"/>
              <a:gd name="connsiteX59" fmla="*/ 790575 w 1624012"/>
              <a:gd name="connsiteY59" fmla="*/ 192881 h 1533525"/>
              <a:gd name="connsiteX60" fmla="*/ 804862 w 1624012"/>
              <a:gd name="connsiteY60" fmla="*/ 166688 h 1533525"/>
              <a:gd name="connsiteX61" fmla="*/ 778668 w 1624012"/>
              <a:gd name="connsiteY61" fmla="*/ 128588 h 1533525"/>
              <a:gd name="connsiteX62" fmla="*/ 771525 w 1624012"/>
              <a:gd name="connsiteY62" fmla="*/ 104775 h 1533525"/>
              <a:gd name="connsiteX63" fmla="*/ 823912 w 1624012"/>
              <a:gd name="connsiteY63" fmla="*/ 97631 h 1533525"/>
              <a:gd name="connsiteX64" fmla="*/ 869156 w 1624012"/>
              <a:gd name="connsiteY64" fmla="*/ 52388 h 1533525"/>
              <a:gd name="connsiteX65" fmla="*/ 890587 w 1624012"/>
              <a:gd name="connsiteY65" fmla="*/ 23813 h 1533525"/>
              <a:gd name="connsiteX66" fmla="*/ 923925 w 1624012"/>
              <a:gd name="connsiteY66" fmla="*/ 9525 h 1533525"/>
              <a:gd name="connsiteX67" fmla="*/ 971550 w 1624012"/>
              <a:gd name="connsiteY67" fmla="*/ 0 h 1533525"/>
              <a:gd name="connsiteX68" fmla="*/ 971550 w 1624012"/>
              <a:gd name="connsiteY68" fmla="*/ 40481 h 1533525"/>
              <a:gd name="connsiteX69" fmla="*/ 950118 w 1624012"/>
              <a:gd name="connsiteY69" fmla="*/ 80963 h 1533525"/>
              <a:gd name="connsiteX70" fmla="*/ 950118 w 1624012"/>
              <a:gd name="connsiteY70" fmla="*/ 140494 h 1533525"/>
              <a:gd name="connsiteX71" fmla="*/ 969168 w 1624012"/>
              <a:gd name="connsiteY71" fmla="*/ 161925 h 1533525"/>
              <a:gd name="connsiteX72" fmla="*/ 1007268 w 1624012"/>
              <a:gd name="connsiteY72" fmla="*/ 188119 h 1533525"/>
              <a:gd name="connsiteX73" fmla="*/ 1019175 w 1624012"/>
              <a:gd name="connsiteY73" fmla="*/ 216694 h 1533525"/>
              <a:gd name="connsiteX74" fmla="*/ 1004887 w 1624012"/>
              <a:gd name="connsiteY74" fmla="*/ 226219 h 1533525"/>
              <a:gd name="connsiteX75" fmla="*/ 1057275 w 1624012"/>
              <a:gd name="connsiteY75" fmla="*/ 250031 h 1533525"/>
              <a:gd name="connsiteX76" fmla="*/ 1073943 w 1624012"/>
              <a:gd name="connsiteY76" fmla="*/ 228600 h 1533525"/>
              <a:gd name="connsiteX77" fmla="*/ 1083468 w 1624012"/>
              <a:gd name="connsiteY77" fmla="*/ 252413 h 1533525"/>
              <a:gd name="connsiteX78" fmla="*/ 1116806 w 1624012"/>
              <a:gd name="connsiteY78" fmla="*/ 252413 h 1533525"/>
              <a:gd name="connsiteX79" fmla="*/ 1123950 w 1624012"/>
              <a:gd name="connsiteY79" fmla="*/ 257175 h 1533525"/>
              <a:gd name="connsiteX80" fmla="*/ 1116806 w 1624012"/>
              <a:gd name="connsiteY80" fmla="*/ 276225 h 1533525"/>
              <a:gd name="connsiteX81" fmla="*/ 1088231 w 1624012"/>
              <a:gd name="connsiteY81" fmla="*/ 309563 h 1533525"/>
              <a:gd name="connsiteX82" fmla="*/ 1123950 w 1624012"/>
              <a:gd name="connsiteY82" fmla="*/ 333375 h 1533525"/>
              <a:gd name="connsiteX83" fmla="*/ 1135856 w 1624012"/>
              <a:gd name="connsiteY83" fmla="*/ 347663 h 1533525"/>
              <a:gd name="connsiteX84" fmla="*/ 1135856 w 1624012"/>
              <a:gd name="connsiteY84" fmla="*/ 376238 h 1533525"/>
              <a:gd name="connsiteX85" fmla="*/ 1119187 w 1624012"/>
              <a:gd name="connsiteY85" fmla="*/ 411956 h 1533525"/>
              <a:gd name="connsiteX86" fmla="*/ 1162050 w 1624012"/>
              <a:gd name="connsiteY86" fmla="*/ 423863 h 1533525"/>
              <a:gd name="connsiteX87" fmla="*/ 1233487 w 1624012"/>
              <a:gd name="connsiteY87" fmla="*/ 416719 h 1533525"/>
              <a:gd name="connsiteX88" fmla="*/ 1223962 w 1624012"/>
              <a:gd name="connsiteY88" fmla="*/ 385763 h 1533525"/>
              <a:gd name="connsiteX89" fmla="*/ 1188243 w 1624012"/>
              <a:gd name="connsiteY89" fmla="*/ 347663 h 1533525"/>
              <a:gd name="connsiteX90" fmla="*/ 1181100 w 1624012"/>
              <a:gd name="connsiteY90" fmla="*/ 333375 h 1533525"/>
              <a:gd name="connsiteX91" fmla="*/ 1207293 w 1624012"/>
              <a:gd name="connsiteY91" fmla="*/ 326231 h 1533525"/>
              <a:gd name="connsiteX92" fmla="*/ 1200150 w 1624012"/>
              <a:gd name="connsiteY92" fmla="*/ 302419 h 1533525"/>
              <a:gd name="connsiteX93" fmla="*/ 1223962 w 1624012"/>
              <a:gd name="connsiteY93" fmla="*/ 283369 h 1533525"/>
              <a:gd name="connsiteX94" fmla="*/ 1250156 w 1624012"/>
              <a:gd name="connsiteY94" fmla="*/ 242888 h 1533525"/>
              <a:gd name="connsiteX95" fmla="*/ 1302543 w 1624012"/>
              <a:gd name="connsiteY95" fmla="*/ 211931 h 1533525"/>
              <a:gd name="connsiteX96" fmla="*/ 1350168 w 1624012"/>
              <a:gd name="connsiteY96" fmla="*/ 123825 h 1533525"/>
              <a:gd name="connsiteX97" fmla="*/ 1438275 w 1624012"/>
              <a:gd name="connsiteY97" fmla="*/ 69056 h 1533525"/>
              <a:gd name="connsiteX98" fmla="*/ 1440656 w 1624012"/>
              <a:gd name="connsiteY98" fmla="*/ 104775 h 1533525"/>
              <a:gd name="connsiteX99" fmla="*/ 1490662 w 1624012"/>
              <a:gd name="connsiteY99" fmla="*/ 142875 h 1533525"/>
              <a:gd name="connsiteX100" fmla="*/ 1543050 w 1624012"/>
              <a:gd name="connsiteY100" fmla="*/ 147638 h 1533525"/>
              <a:gd name="connsiteX101" fmla="*/ 1547812 w 1624012"/>
              <a:gd name="connsiteY101" fmla="*/ 121444 h 1533525"/>
              <a:gd name="connsiteX102" fmla="*/ 1574006 w 1624012"/>
              <a:gd name="connsiteY102" fmla="*/ 121444 h 1533525"/>
              <a:gd name="connsiteX103" fmla="*/ 1624012 w 1624012"/>
              <a:gd name="connsiteY103" fmla="*/ 109538 h 1533525"/>
              <a:gd name="connsiteX104" fmla="*/ 1057275 w 1624012"/>
              <a:gd name="connsiteY104" fmla="*/ 264319 h 1533525"/>
              <a:gd name="connsiteX105" fmla="*/ 1062037 w 1624012"/>
              <a:gd name="connsiteY105" fmla="*/ 304800 h 1533525"/>
              <a:gd name="connsiteX106" fmla="*/ 995362 w 1624012"/>
              <a:gd name="connsiteY106" fmla="*/ 352425 h 1533525"/>
              <a:gd name="connsiteX107" fmla="*/ 973931 w 1624012"/>
              <a:gd name="connsiteY107" fmla="*/ 383381 h 1533525"/>
              <a:gd name="connsiteX108" fmla="*/ 1000125 w 1624012"/>
              <a:gd name="connsiteY108" fmla="*/ 428625 h 1533525"/>
              <a:gd name="connsiteX109" fmla="*/ 983456 w 1624012"/>
              <a:gd name="connsiteY109" fmla="*/ 466725 h 1533525"/>
              <a:gd name="connsiteX110" fmla="*/ 1000125 w 1624012"/>
              <a:gd name="connsiteY110" fmla="*/ 519113 h 1533525"/>
              <a:gd name="connsiteX111" fmla="*/ 1033462 w 1624012"/>
              <a:gd name="connsiteY111" fmla="*/ 519113 h 1533525"/>
              <a:gd name="connsiteX112" fmla="*/ 1019175 w 1624012"/>
              <a:gd name="connsiteY112" fmla="*/ 552450 h 1533525"/>
              <a:gd name="connsiteX113" fmla="*/ 1035843 w 1624012"/>
              <a:gd name="connsiteY113" fmla="*/ 590550 h 1533525"/>
              <a:gd name="connsiteX114" fmla="*/ 1035843 w 1624012"/>
              <a:gd name="connsiteY114" fmla="*/ 607219 h 1533525"/>
              <a:gd name="connsiteX115" fmla="*/ 1045368 w 1624012"/>
              <a:gd name="connsiteY115" fmla="*/ 645319 h 1533525"/>
              <a:gd name="connsiteX116" fmla="*/ 1064418 w 1624012"/>
              <a:gd name="connsiteY116" fmla="*/ 645319 h 1533525"/>
              <a:gd name="connsiteX117" fmla="*/ 1078706 w 1624012"/>
              <a:gd name="connsiteY117" fmla="*/ 666750 h 1533525"/>
              <a:gd name="connsiteX118" fmla="*/ 1085850 w 1624012"/>
              <a:gd name="connsiteY118" fmla="*/ 688181 h 1533525"/>
              <a:gd name="connsiteX119" fmla="*/ 1076325 w 1624012"/>
              <a:gd name="connsiteY119" fmla="*/ 719138 h 1533525"/>
              <a:gd name="connsiteX120" fmla="*/ 1021556 w 1624012"/>
              <a:gd name="connsiteY120" fmla="*/ 714375 h 1533525"/>
              <a:gd name="connsiteX121" fmla="*/ 1002506 w 1624012"/>
              <a:gd name="connsiteY121" fmla="*/ 721519 h 1533525"/>
              <a:gd name="connsiteX122" fmla="*/ 995362 w 1624012"/>
              <a:gd name="connsiteY122" fmla="*/ 726281 h 1533525"/>
              <a:gd name="connsiteX123" fmla="*/ 995362 w 1624012"/>
              <a:gd name="connsiteY123" fmla="*/ 726281 h 1533525"/>
              <a:gd name="connsiteX124" fmla="*/ 923925 w 1624012"/>
              <a:gd name="connsiteY124" fmla="*/ 721519 h 1533525"/>
              <a:gd name="connsiteX125" fmla="*/ 940593 w 1624012"/>
              <a:gd name="connsiteY125" fmla="*/ 778669 h 1533525"/>
              <a:gd name="connsiteX126" fmla="*/ 938212 w 1624012"/>
              <a:gd name="connsiteY126" fmla="*/ 847725 h 1533525"/>
              <a:gd name="connsiteX127" fmla="*/ 954881 w 1624012"/>
              <a:gd name="connsiteY127" fmla="*/ 871538 h 1533525"/>
              <a:gd name="connsiteX128" fmla="*/ 997743 w 1624012"/>
              <a:gd name="connsiteY128" fmla="*/ 919163 h 1533525"/>
              <a:gd name="connsiteX129" fmla="*/ 1012031 w 1624012"/>
              <a:gd name="connsiteY129" fmla="*/ 954881 h 1533525"/>
              <a:gd name="connsiteX130" fmla="*/ 1031081 w 1624012"/>
              <a:gd name="connsiteY130" fmla="*/ 954881 h 1533525"/>
              <a:gd name="connsiteX131" fmla="*/ 1071562 w 1624012"/>
              <a:gd name="connsiteY131" fmla="*/ 940594 h 1533525"/>
              <a:gd name="connsiteX132" fmla="*/ 1102518 w 1624012"/>
              <a:gd name="connsiteY132" fmla="*/ 933450 h 1533525"/>
              <a:gd name="connsiteX133" fmla="*/ 1159668 w 1624012"/>
              <a:gd name="connsiteY133" fmla="*/ 997744 h 1533525"/>
              <a:gd name="connsiteX134" fmla="*/ 1178718 w 1624012"/>
              <a:gd name="connsiteY134" fmla="*/ 1052513 h 1533525"/>
              <a:gd name="connsiteX135" fmla="*/ 1190625 w 1624012"/>
              <a:gd name="connsiteY135" fmla="*/ 1081088 h 1533525"/>
              <a:gd name="connsiteX136" fmla="*/ 1212056 w 1624012"/>
              <a:gd name="connsiteY136" fmla="*/ 1109663 h 1533525"/>
              <a:gd name="connsiteX137" fmla="*/ 1231106 w 1624012"/>
              <a:gd name="connsiteY137" fmla="*/ 1102519 h 1533525"/>
              <a:gd name="connsiteX138" fmla="*/ 1231106 w 1624012"/>
              <a:gd name="connsiteY138" fmla="*/ 1131094 h 1533525"/>
              <a:gd name="connsiteX139" fmla="*/ 1233487 w 1624012"/>
              <a:gd name="connsiteY139" fmla="*/ 1145381 h 1533525"/>
              <a:gd name="connsiteX140" fmla="*/ 1266825 w 1624012"/>
              <a:gd name="connsiteY140" fmla="*/ 1181100 h 1533525"/>
              <a:gd name="connsiteX141" fmla="*/ 1233487 w 1624012"/>
              <a:gd name="connsiteY141" fmla="*/ 1181100 h 1533525"/>
              <a:gd name="connsiteX142" fmla="*/ 1228725 w 1624012"/>
              <a:gd name="connsiteY142" fmla="*/ 1223963 h 1533525"/>
              <a:gd name="connsiteX143" fmla="*/ 1226343 w 1624012"/>
              <a:gd name="connsiteY143" fmla="*/ 1243013 h 1533525"/>
              <a:gd name="connsiteX144" fmla="*/ 1216818 w 1624012"/>
              <a:gd name="connsiteY144" fmla="*/ 1264444 h 1533525"/>
              <a:gd name="connsiteX145" fmla="*/ 1190625 w 1624012"/>
              <a:gd name="connsiteY145" fmla="*/ 1238250 h 1533525"/>
              <a:gd name="connsiteX146" fmla="*/ 1157287 w 1624012"/>
              <a:gd name="connsiteY146" fmla="*/ 1209675 h 1533525"/>
              <a:gd name="connsiteX147" fmla="*/ 1131093 w 1624012"/>
              <a:gd name="connsiteY147" fmla="*/ 1185863 h 1533525"/>
              <a:gd name="connsiteX148" fmla="*/ 1107281 w 1624012"/>
              <a:gd name="connsiteY148" fmla="*/ 1219200 h 1533525"/>
              <a:gd name="connsiteX149" fmla="*/ 1104900 w 1624012"/>
              <a:gd name="connsiteY149" fmla="*/ 1264444 h 1533525"/>
              <a:gd name="connsiteX150" fmla="*/ 1062037 w 1624012"/>
              <a:gd name="connsiteY150" fmla="*/ 1259681 h 1533525"/>
              <a:gd name="connsiteX151" fmla="*/ 1026318 w 1624012"/>
              <a:gd name="connsiteY151" fmla="*/ 1288256 h 1533525"/>
              <a:gd name="connsiteX152" fmla="*/ 1007268 w 1624012"/>
              <a:gd name="connsiteY152" fmla="*/ 1240631 h 1533525"/>
              <a:gd name="connsiteX153" fmla="*/ 947737 w 1624012"/>
              <a:gd name="connsiteY153" fmla="*/ 1231106 h 1533525"/>
              <a:gd name="connsiteX154" fmla="*/ 921543 w 1624012"/>
              <a:gd name="connsiteY154" fmla="*/ 1297781 h 1533525"/>
              <a:gd name="connsiteX155" fmla="*/ 885825 w 1624012"/>
              <a:gd name="connsiteY155" fmla="*/ 1278731 h 1533525"/>
              <a:gd name="connsiteX156" fmla="*/ 816768 w 1624012"/>
              <a:gd name="connsiteY156" fmla="*/ 1295400 h 1533525"/>
              <a:gd name="connsiteX157" fmla="*/ 757237 w 1624012"/>
              <a:gd name="connsiteY157" fmla="*/ 1259681 h 1533525"/>
              <a:gd name="connsiteX158" fmla="*/ 742950 w 1624012"/>
              <a:gd name="connsiteY158" fmla="*/ 1312069 h 1533525"/>
              <a:gd name="connsiteX159" fmla="*/ 704850 w 1624012"/>
              <a:gd name="connsiteY159" fmla="*/ 1345406 h 1533525"/>
              <a:gd name="connsiteX160" fmla="*/ 692943 w 1624012"/>
              <a:gd name="connsiteY160" fmla="*/ 1366838 h 1533525"/>
              <a:gd name="connsiteX161" fmla="*/ 671512 w 1624012"/>
              <a:gd name="connsiteY161" fmla="*/ 1509713 h 1533525"/>
              <a:gd name="connsiteX162" fmla="*/ 633412 w 1624012"/>
              <a:gd name="connsiteY162" fmla="*/ 1490663 h 1533525"/>
              <a:gd name="connsiteX163" fmla="*/ 614362 w 1624012"/>
              <a:gd name="connsiteY163" fmla="*/ 1504950 h 1533525"/>
              <a:gd name="connsiteX164" fmla="*/ 581025 w 1624012"/>
              <a:gd name="connsiteY164" fmla="*/ 1531144 h 1533525"/>
              <a:gd name="connsiteX165" fmla="*/ 523875 w 1624012"/>
              <a:gd name="connsiteY165" fmla="*/ 1502569 h 1533525"/>
              <a:gd name="connsiteX166" fmla="*/ 514350 w 1624012"/>
              <a:gd name="connsiteY166" fmla="*/ 1490663 h 1533525"/>
              <a:gd name="connsiteX167" fmla="*/ 483393 w 1624012"/>
              <a:gd name="connsiteY167" fmla="*/ 1533525 h 1533525"/>
              <a:gd name="connsiteX0" fmla="*/ 483393 w 1624012"/>
              <a:gd name="connsiteY0" fmla="*/ 1533525 h 1533525"/>
              <a:gd name="connsiteX1" fmla="*/ 459581 w 1624012"/>
              <a:gd name="connsiteY1" fmla="*/ 1481138 h 1533525"/>
              <a:gd name="connsiteX2" fmla="*/ 438150 w 1624012"/>
              <a:gd name="connsiteY2" fmla="*/ 1471613 h 1533525"/>
              <a:gd name="connsiteX3" fmla="*/ 400050 w 1624012"/>
              <a:gd name="connsiteY3" fmla="*/ 1485900 h 1533525"/>
              <a:gd name="connsiteX4" fmla="*/ 338137 w 1624012"/>
              <a:gd name="connsiteY4" fmla="*/ 1490663 h 1533525"/>
              <a:gd name="connsiteX5" fmla="*/ 330993 w 1624012"/>
              <a:gd name="connsiteY5" fmla="*/ 1497806 h 1533525"/>
              <a:gd name="connsiteX6" fmla="*/ 271462 w 1624012"/>
              <a:gd name="connsiteY6" fmla="*/ 1471613 h 1533525"/>
              <a:gd name="connsiteX7" fmla="*/ 219075 w 1624012"/>
              <a:gd name="connsiteY7" fmla="*/ 1443038 h 1533525"/>
              <a:gd name="connsiteX8" fmla="*/ 138112 w 1624012"/>
              <a:gd name="connsiteY8" fmla="*/ 1402556 h 1533525"/>
              <a:gd name="connsiteX9" fmla="*/ 95250 w 1624012"/>
              <a:gd name="connsiteY9" fmla="*/ 1316831 h 1533525"/>
              <a:gd name="connsiteX10" fmla="*/ 80962 w 1624012"/>
              <a:gd name="connsiteY10" fmla="*/ 1288256 h 1533525"/>
              <a:gd name="connsiteX11" fmla="*/ 104775 w 1624012"/>
              <a:gd name="connsiteY11" fmla="*/ 1266825 h 1533525"/>
              <a:gd name="connsiteX12" fmla="*/ 76200 w 1624012"/>
              <a:gd name="connsiteY12" fmla="*/ 1212056 h 1533525"/>
              <a:gd name="connsiteX13" fmla="*/ 109537 w 1624012"/>
              <a:gd name="connsiteY13" fmla="*/ 1193006 h 1533525"/>
              <a:gd name="connsiteX14" fmla="*/ 140493 w 1624012"/>
              <a:gd name="connsiteY14" fmla="*/ 1143000 h 1533525"/>
              <a:gd name="connsiteX15" fmla="*/ 123825 w 1624012"/>
              <a:gd name="connsiteY15" fmla="*/ 1107281 h 1533525"/>
              <a:gd name="connsiteX16" fmla="*/ 178593 w 1624012"/>
              <a:gd name="connsiteY16" fmla="*/ 1107281 h 1533525"/>
              <a:gd name="connsiteX17" fmla="*/ 192881 w 1624012"/>
              <a:gd name="connsiteY17" fmla="*/ 1109663 h 1533525"/>
              <a:gd name="connsiteX18" fmla="*/ 159543 w 1624012"/>
              <a:gd name="connsiteY18" fmla="*/ 1064419 h 1533525"/>
              <a:gd name="connsiteX19" fmla="*/ 169068 w 1624012"/>
              <a:gd name="connsiteY19" fmla="*/ 1014413 h 1533525"/>
              <a:gd name="connsiteX20" fmla="*/ 123825 w 1624012"/>
              <a:gd name="connsiteY20" fmla="*/ 997744 h 1533525"/>
              <a:gd name="connsiteX21" fmla="*/ 61912 w 1624012"/>
              <a:gd name="connsiteY21" fmla="*/ 954881 h 1533525"/>
              <a:gd name="connsiteX22" fmla="*/ 45243 w 1624012"/>
              <a:gd name="connsiteY22" fmla="*/ 938213 h 1533525"/>
              <a:gd name="connsiteX23" fmla="*/ 64293 w 1624012"/>
              <a:gd name="connsiteY23" fmla="*/ 909638 h 1533525"/>
              <a:gd name="connsiteX24" fmla="*/ 47625 w 1624012"/>
              <a:gd name="connsiteY24" fmla="*/ 897731 h 1533525"/>
              <a:gd name="connsiteX25" fmla="*/ 47625 w 1624012"/>
              <a:gd name="connsiteY25" fmla="*/ 881063 h 1533525"/>
              <a:gd name="connsiteX26" fmla="*/ 26193 w 1624012"/>
              <a:gd name="connsiteY26" fmla="*/ 881063 h 1533525"/>
              <a:gd name="connsiteX27" fmla="*/ 7143 w 1624012"/>
              <a:gd name="connsiteY27" fmla="*/ 847725 h 1533525"/>
              <a:gd name="connsiteX28" fmla="*/ 0 w 1624012"/>
              <a:gd name="connsiteY28" fmla="*/ 816769 h 1533525"/>
              <a:gd name="connsiteX29" fmla="*/ 54768 w 1624012"/>
              <a:gd name="connsiteY29" fmla="*/ 800100 h 1533525"/>
              <a:gd name="connsiteX30" fmla="*/ 76200 w 1624012"/>
              <a:gd name="connsiteY30" fmla="*/ 788194 h 1533525"/>
              <a:gd name="connsiteX31" fmla="*/ 128587 w 1624012"/>
              <a:gd name="connsiteY31" fmla="*/ 821531 h 1533525"/>
              <a:gd name="connsiteX32" fmla="*/ 126206 w 1624012"/>
              <a:gd name="connsiteY32" fmla="*/ 800100 h 1533525"/>
              <a:gd name="connsiteX33" fmla="*/ 164306 w 1624012"/>
              <a:gd name="connsiteY33" fmla="*/ 795338 h 1533525"/>
              <a:gd name="connsiteX34" fmla="*/ 173831 w 1624012"/>
              <a:gd name="connsiteY34" fmla="*/ 759619 h 1533525"/>
              <a:gd name="connsiteX35" fmla="*/ 235743 w 1624012"/>
              <a:gd name="connsiteY35" fmla="*/ 764381 h 1533525"/>
              <a:gd name="connsiteX36" fmla="*/ 235743 w 1624012"/>
              <a:gd name="connsiteY36" fmla="*/ 764381 h 1533525"/>
              <a:gd name="connsiteX37" fmla="*/ 245268 w 1624012"/>
              <a:gd name="connsiteY37" fmla="*/ 704850 h 1533525"/>
              <a:gd name="connsiteX38" fmla="*/ 276225 w 1624012"/>
              <a:gd name="connsiteY38" fmla="*/ 666750 h 1533525"/>
              <a:gd name="connsiteX39" fmla="*/ 292893 w 1624012"/>
              <a:gd name="connsiteY39" fmla="*/ 638175 h 1533525"/>
              <a:gd name="connsiteX40" fmla="*/ 245268 w 1624012"/>
              <a:gd name="connsiteY40" fmla="*/ 602456 h 1533525"/>
              <a:gd name="connsiteX41" fmla="*/ 264318 w 1624012"/>
              <a:gd name="connsiteY41" fmla="*/ 585788 h 1533525"/>
              <a:gd name="connsiteX42" fmla="*/ 311943 w 1624012"/>
              <a:gd name="connsiteY42" fmla="*/ 602456 h 1533525"/>
              <a:gd name="connsiteX43" fmla="*/ 369093 w 1624012"/>
              <a:gd name="connsiteY43" fmla="*/ 573881 h 1533525"/>
              <a:gd name="connsiteX44" fmla="*/ 457200 w 1624012"/>
              <a:gd name="connsiteY44" fmla="*/ 545306 h 1533525"/>
              <a:gd name="connsiteX45" fmla="*/ 538162 w 1624012"/>
              <a:gd name="connsiteY45" fmla="*/ 578644 h 1533525"/>
              <a:gd name="connsiteX46" fmla="*/ 614362 w 1624012"/>
              <a:gd name="connsiteY46" fmla="*/ 550069 h 1533525"/>
              <a:gd name="connsiteX47" fmla="*/ 650081 w 1624012"/>
              <a:gd name="connsiteY47" fmla="*/ 552450 h 1533525"/>
              <a:gd name="connsiteX48" fmla="*/ 654843 w 1624012"/>
              <a:gd name="connsiteY48" fmla="*/ 523875 h 1533525"/>
              <a:gd name="connsiteX49" fmla="*/ 654843 w 1624012"/>
              <a:gd name="connsiteY49" fmla="*/ 490538 h 1533525"/>
              <a:gd name="connsiteX50" fmla="*/ 669131 w 1624012"/>
              <a:gd name="connsiteY50" fmla="*/ 469106 h 1533525"/>
              <a:gd name="connsiteX51" fmla="*/ 652462 w 1624012"/>
              <a:gd name="connsiteY51" fmla="*/ 450056 h 1533525"/>
              <a:gd name="connsiteX52" fmla="*/ 642937 w 1624012"/>
              <a:gd name="connsiteY52" fmla="*/ 411956 h 1533525"/>
              <a:gd name="connsiteX53" fmla="*/ 642937 w 1624012"/>
              <a:gd name="connsiteY53" fmla="*/ 330994 h 1533525"/>
              <a:gd name="connsiteX54" fmla="*/ 633412 w 1624012"/>
              <a:gd name="connsiteY54" fmla="*/ 319088 h 1533525"/>
              <a:gd name="connsiteX55" fmla="*/ 664368 w 1624012"/>
              <a:gd name="connsiteY55" fmla="*/ 285750 h 1533525"/>
              <a:gd name="connsiteX56" fmla="*/ 721518 w 1624012"/>
              <a:gd name="connsiteY56" fmla="*/ 292894 h 1533525"/>
              <a:gd name="connsiteX57" fmla="*/ 733425 w 1624012"/>
              <a:gd name="connsiteY57" fmla="*/ 264319 h 1533525"/>
              <a:gd name="connsiteX58" fmla="*/ 731043 w 1624012"/>
              <a:gd name="connsiteY58" fmla="*/ 228600 h 1533525"/>
              <a:gd name="connsiteX59" fmla="*/ 790575 w 1624012"/>
              <a:gd name="connsiteY59" fmla="*/ 192881 h 1533525"/>
              <a:gd name="connsiteX60" fmla="*/ 804862 w 1624012"/>
              <a:gd name="connsiteY60" fmla="*/ 166688 h 1533525"/>
              <a:gd name="connsiteX61" fmla="*/ 778668 w 1624012"/>
              <a:gd name="connsiteY61" fmla="*/ 128588 h 1533525"/>
              <a:gd name="connsiteX62" fmla="*/ 771525 w 1624012"/>
              <a:gd name="connsiteY62" fmla="*/ 104775 h 1533525"/>
              <a:gd name="connsiteX63" fmla="*/ 823912 w 1624012"/>
              <a:gd name="connsiteY63" fmla="*/ 97631 h 1533525"/>
              <a:gd name="connsiteX64" fmla="*/ 869156 w 1624012"/>
              <a:gd name="connsiteY64" fmla="*/ 52388 h 1533525"/>
              <a:gd name="connsiteX65" fmla="*/ 890587 w 1624012"/>
              <a:gd name="connsiteY65" fmla="*/ 23813 h 1533525"/>
              <a:gd name="connsiteX66" fmla="*/ 923925 w 1624012"/>
              <a:gd name="connsiteY66" fmla="*/ 9525 h 1533525"/>
              <a:gd name="connsiteX67" fmla="*/ 971550 w 1624012"/>
              <a:gd name="connsiteY67" fmla="*/ 0 h 1533525"/>
              <a:gd name="connsiteX68" fmla="*/ 971550 w 1624012"/>
              <a:gd name="connsiteY68" fmla="*/ 40481 h 1533525"/>
              <a:gd name="connsiteX69" fmla="*/ 950118 w 1624012"/>
              <a:gd name="connsiteY69" fmla="*/ 80963 h 1533525"/>
              <a:gd name="connsiteX70" fmla="*/ 950118 w 1624012"/>
              <a:gd name="connsiteY70" fmla="*/ 140494 h 1533525"/>
              <a:gd name="connsiteX71" fmla="*/ 969168 w 1624012"/>
              <a:gd name="connsiteY71" fmla="*/ 161925 h 1533525"/>
              <a:gd name="connsiteX72" fmla="*/ 1007268 w 1624012"/>
              <a:gd name="connsiteY72" fmla="*/ 188119 h 1533525"/>
              <a:gd name="connsiteX73" fmla="*/ 1019175 w 1624012"/>
              <a:gd name="connsiteY73" fmla="*/ 216694 h 1533525"/>
              <a:gd name="connsiteX74" fmla="*/ 1004887 w 1624012"/>
              <a:gd name="connsiteY74" fmla="*/ 226219 h 1533525"/>
              <a:gd name="connsiteX75" fmla="*/ 1057275 w 1624012"/>
              <a:gd name="connsiteY75" fmla="*/ 250031 h 1533525"/>
              <a:gd name="connsiteX76" fmla="*/ 1073943 w 1624012"/>
              <a:gd name="connsiteY76" fmla="*/ 228600 h 1533525"/>
              <a:gd name="connsiteX77" fmla="*/ 1083468 w 1624012"/>
              <a:gd name="connsiteY77" fmla="*/ 252413 h 1533525"/>
              <a:gd name="connsiteX78" fmla="*/ 1116806 w 1624012"/>
              <a:gd name="connsiteY78" fmla="*/ 252413 h 1533525"/>
              <a:gd name="connsiteX79" fmla="*/ 1123950 w 1624012"/>
              <a:gd name="connsiteY79" fmla="*/ 257175 h 1533525"/>
              <a:gd name="connsiteX80" fmla="*/ 1116806 w 1624012"/>
              <a:gd name="connsiteY80" fmla="*/ 276225 h 1533525"/>
              <a:gd name="connsiteX81" fmla="*/ 1088231 w 1624012"/>
              <a:gd name="connsiteY81" fmla="*/ 309563 h 1533525"/>
              <a:gd name="connsiteX82" fmla="*/ 1123950 w 1624012"/>
              <a:gd name="connsiteY82" fmla="*/ 333375 h 1533525"/>
              <a:gd name="connsiteX83" fmla="*/ 1135856 w 1624012"/>
              <a:gd name="connsiteY83" fmla="*/ 347663 h 1533525"/>
              <a:gd name="connsiteX84" fmla="*/ 1135856 w 1624012"/>
              <a:gd name="connsiteY84" fmla="*/ 376238 h 1533525"/>
              <a:gd name="connsiteX85" fmla="*/ 1119187 w 1624012"/>
              <a:gd name="connsiteY85" fmla="*/ 411956 h 1533525"/>
              <a:gd name="connsiteX86" fmla="*/ 1162050 w 1624012"/>
              <a:gd name="connsiteY86" fmla="*/ 423863 h 1533525"/>
              <a:gd name="connsiteX87" fmla="*/ 1233487 w 1624012"/>
              <a:gd name="connsiteY87" fmla="*/ 416719 h 1533525"/>
              <a:gd name="connsiteX88" fmla="*/ 1223962 w 1624012"/>
              <a:gd name="connsiteY88" fmla="*/ 385763 h 1533525"/>
              <a:gd name="connsiteX89" fmla="*/ 1188243 w 1624012"/>
              <a:gd name="connsiteY89" fmla="*/ 347663 h 1533525"/>
              <a:gd name="connsiteX90" fmla="*/ 1181100 w 1624012"/>
              <a:gd name="connsiteY90" fmla="*/ 333375 h 1533525"/>
              <a:gd name="connsiteX91" fmla="*/ 1207293 w 1624012"/>
              <a:gd name="connsiteY91" fmla="*/ 326231 h 1533525"/>
              <a:gd name="connsiteX92" fmla="*/ 1200150 w 1624012"/>
              <a:gd name="connsiteY92" fmla="*/ 302419 h 1533525"/>
              <a:gd name="connsiteX93" fmla="*/ 1223962 w 1624012"/>
              <a:gd name="connsiteY93" fmla="*/ 283369 h 1533525"/>
              <a:gd name="connsiteX94" fmla="*/ 1250156 w 1624012"/>
              <a:gd name="connsiteY94" fmla="*/ 242888 h 1533525"/>
              <a:gd name="connsiteX95" fmla="*/ 1302543 w 1624012"/>
              <a:gd name="connsiteY95" fmla="*/ 211931 h 1533525"/>
              <a:gd name="connsiteX96" fmla="*/ 1350168 w 1624012"/>
              <a:gd name="connsiteY96" fmla="*/ 123825 h 1533525"/>
              <a:gd name="connsiteX97" fmla="*/ 1440656 w 1624012"/>
              <a:gd name="connsiteY97" fmla="*/ 104775 h 1533525"/>
              <a:gd name="connsiteX98" fmla="*/ 1490662 w 1624012"/>
              <a:gd name="connsiteY98" fmla="*/ 142875 h 1533525"/>
              <a:gd name="connsiteX99" fmla="*/ 1543050 w 1624012"/>
              <a:gd name="connsiteY99" fmla="*/ 147638 h 1533525"/>
              <a:gd name="connsiteX100" fmla="*/ 1547812 w 1624012"/>
              <a:gd name="connsiteY100" fmla="*/ 121444 h 1533525"/>
              <a:gd name="connsiteX101" fmla="*/ 1574006 w 1624012"/>
              <a:gd name="connsiteY101" fmla="*/ 121444 h 1533525"/>
              <a:gd name="connsiteX102" fmla="*/ 1624012 w 1624012"/>
              <a:gd name="connsiteY102" fmla="*/ 109538 h 1533525"/>
              <a:gd name="connsiteX103" fmla="*/ 1057275 w 1624012"/>
              <a:gd name="connsiteY103" fmla="*/ 264319 h 1533525"/>
              <a:gd name="connsiteX104" fmla="*/ 1062037 w 1624012"/>
              <a:gd name="connsiteY104" fmla="*/ 304800 h 1533525"/>
              <a:gd name="connsiteX105" fmla="*/ 995362 w 1624012"/>
              <a:gd name="connsiteY105" fmla="*/ 352425 h 1533525"/>
              <a:gd name="connsiteX106" fmla="*/ 973931 w 1624012"/>
              <a:gd name="connsiteY106" fmla="*/ 383381 h 1533525"/>
              <a:gd name="connsiteX107" fmla="*/ 1000125 w 1624012"/>
              <a:gd name="connsiteY107" fmla="*/ 428625 h 1533525"/>
              <a:gd name="connsiteX108" fmla="*/ 983456 w 1624012"/>
              <a:gd name="connsiteY108" fmla="*/ 466725 h 1533525"/>
              <a:gd name="connsiteX109" fmla="*/ 1000125 w 1624012"/>
              <a:gd name="connsiteY109" fmla="*/ 519113 h 1533525"/>
              <a:gd name="connsiteX110" fmla="*/ 1033462 w 1624012"/>
              <a:gd name="connsiteY110" fmla="*/ 519113 h 1533525"/>
              <a:gd name="connsiteX111" fmla="*/ 1019175 w 1624012"/>
              <a:gd name="connsiteY111" fmla="*/ 552450 h 1533525"/>
              <a:gd name="connsiteX112" fmla="*/ 1035843 w 1624012"/>
              <a:gd name="connsiteY112" fmla="*/ 590550 h 1533525"/>
              <a:gd name="connsiteX113" fmla="*/ 1035843 w 1624012"/>
              <a:gd name="connsiteY113" fmla="*/ 607219 h 1533525"/>
              <a:gd name="connsiteX114" fmla="*/ 1045368 w 1624012"/>
              <a:gd name="connsiteY114" fmla="*/ 645319 h 1533525"/>
              <a:gd name="connsiteX115" fmla="*/ 1064418 w 1624012"/>
              <a:gd name="connsiteY115" fmla="*/ 645319 h 1533525"/>
              <a:gd name="connsiteX116" fmla="*/ 1078706 w 1624012"/>
              <a:gd name="connsiteY116" fmla="*/ 666750 h 1533525"/>
              <a:gd name="connsiteX117" fmla="*/ 1085850 w 1624012"/>
              <a:gd name="connsiteY117" fmla="*/ 688181 h 1533525"/>
              <a:gd name="connsiteX118" fmla="*/ 1076325 w 1624012"/>
              <a:gd name="connsiteY118" fmla="*/ 719138 h 1533525"/>
              <a:gd name="connsiteX119" fmla="*/ 1021556 w 1624012"/>
              <a:gd name="connsiteY119" fmla="*/ 714375 h 1533525"/>
              <a:gd name="connsiteX120" fmla="*/ 1002506 w 1624012"/>
              <a:gd name="connsiteY120" fmla="*/ 721519 h 1533525"/>
              <a:gd name="connsiteX121" fmla="*/ 995362 w 1624012"/>
              <a:gd name="connsiteY121" fmla="*/ 726281 h 1533525"/>
              <a:gd name="connsiteX122" fmla="*/ 995362 w 1624012"/>
              <a:gd name="connsiteY122" fmla="*/ 726281 h 1533525"/>
              <a:gd name="connsiteX123" fmla="*/ 923925 w 1624012"/>
              <a:gd name="connsiteY123" fmla="*/ 721519 h 1533525"/>
              <a:gd name="connsiteX124" fmla="*/ 940593 w 1624012"/>
              <a:gd name="connsiteY124" fmla="*/ 778669 h 1533525"/>
              <a:gd name="connsiteX125" fmla="*/ 938212 w 1624012"/>
              <a:gd name="connsiteY125" fmla="*/ 847725 h 1533525"/>
              <a:gd name="connsiteX126" fmla="*/ 954881 w 1624012"/>
              <a:gd name="connsiteY126" fmla="*/ 871538 h 1533525"/>
              <a:gd name="connsiteX127" fmla="*/ 997743 w 1624012"/>
              <a:gd name="connsiteY127" fmla="*/ 919163 h 1533525"/>
              <a:gd name="connsiteX128" fmla="*/ 1012031 w 1624012"/>
              <a:gd name="connsiteY128" fmla="*/ 954881 h 1533525"/>
              <a:gd name="connsiteX129" fmla="*/ 1031081 w 1624012"/>
              <a:gd name="connsiteY129" fmla="*/ 954881 h 1533525"/>
              <a:gd name="connsiteX130" fmla="*/ 1071562 w 1624012"/>
              <a:gd name="connsiteY130" fmla="*/ 940594 h 1533525"/>
              <a:gd name="connsiteX131" fmla="*/ 1102518 w 1624012"/>
              <a:gd name="connsiteY131" fmla="*/ 933450 h 1533525"/>
              <a:gd name="connsiteX132" fmla="*/ 1159668 w 1624012"/>
              <a:gd name="connsiteY132" fmla="*/ 997744 h 1533525"/>
              <a:gd name="connsiteX133" fmla="*/ 1178718 w 1624012"/>
              <a:gd name="connsiteY133" fmla="*/ 1052513 h 1533525"/>
              <a:gd name="connsiteX134" fmla="*/ 1190625 w 1624012"/>
              <a:gd name="connsiteY134" fmla="*/ 1081088 h 1533525"/>
              <a:gd name="connsiteX135" fmla="*/ 1212056 w 1624012"/>
              <a:gd name="connsiteY135" fmla="*/ 1109663 h 1533525"/>
              <a:gd name="connsiteX136" fmla="*/ 1231106 w 1624012"/>
              <a:gd name="connsiteY136" fmla="*/ 1102519 h 1533525"/>
              <a:gd name="connsiteX137" fmla="*/ 1231106 w 1624012"/>
              <a:gd name="connsiteY137" fmla="*/ 1131094 h 1533525"/>
              <a:gd name="connsiteX138" fmla="*/ 1233487 w 1624012"/>
              <a:gd name="connsiteY138" fmla="*/ 1145381 h 1533525"/>
              <a:gd name="connsiteX139" fmla="*/ 1266825 w 1624012"/>
              <a:gd name="connsiteY139" fmla="*/ 1181100 h 1533525"/>
              <a:gd name="connsiteX140" fmla="*/ 1233487 w 1624012"/>
              <a:gd name="connsiteY140" fmla="*/ 1181100 h 1533525"/>
              <a:gd name="connsiteX141" fmla="*/ 1228725 w 1624012"/>
              <a:gd name="connsiteY141" fmla="*/ 1223963 h 1533525"/>
              <a:gd name="connsiteX142" fmla="*/ 1226343 w 1624012"/>
              <a:gd name="connsiteY142" fmla="*/ 1243013 h 1533525"/>
              <a:gd name="connsiteX143" fmla="*/ 1216818 w 1624012"/>
              <a:gd name="connsiteY143" fmla="*/ 1264444 h 1533525"/>
              <a:gd name="connsiteX144" fmla="*/ 1190625 w 1624012"/>
              <a:gd name="connsiteY144" fmla="*/ 1238250 h 1533525"/>
              <a:gd name="connsiteX145" fmla="*/ 1157287 w 1624012"/>
              <a:gd name="connsiteY145" fmla="*/ 1209675 h 1533525"/>
              <a:gd name="connsiteX146" fmla="*/ 1131093 w 1624012"/>
              <a:gd name="connsiteY146" fmla="*/ 1185863 h 1533525"/>
              <a:gd name="connsiteX147" fmla="*/ 1107281 w 1624012"/>
              <a:gd name="connsiteY147" fmla="*/ 1219200 h 1533525"/>
              <a:gd name="connsiteX148" fmla="*/ 1104900 w 1624012"/>
              <a:gd name="connsiteY148" fmla="*/ 1264444 h 1533525"/>
              <a:gd name="connsiteX149" fmla="*/ 1062037 w 1624012"/>
              <a:gd name="connsiteY149" fmla="*/ 1259681 h 1533525"/>
              <a:gd name="connsiteX150" fmla="*/ 1026318 w 1624012"/>
              <a:gd name="connsiteY150" fmla="*/ 1288256 h 1533525"/>
              <a:gd name="connsiteX151" fmla="*/ 1007268 w 1624012"/>
              <a:gd name="connsiteY151" fmla="*/ 1240631 h 1533525"/>
              <a:gd name="connsiteX152" fmla="*/ 947737 w 1624012"/>
              <a:gd name="connsiteY152" fmla="*/ 1231106 h 1533525"/>
              <a:gd name="connsiteX153" fmla="*/ 921543 w 1624012"/>
              <a:gd name="connsiteY153" fmla="*/ 1297781 h 1533525"/>
              <a:gd name="connsiteX154" fmla="*/ 885825 w 1624012"/>
              <a:gd name="connsiteY154" fmla="*/ 1278731 h 1533525"/>
              <a:gd name="connsiteX155" fmla="*/ 816768 w 1624012"/>
              <a:gd name="connsiteY155" fmla="*/ 1295400 h 1533525"/>
              <a:gd name="connsiteX156" fmla="*/ 757237 w 1624012"/>
              <a:gd name="connsiteY156" fmla="*/ 1259681 h 1533525"/>
              <a:gd name="connsiteX157" fmla="*/ 742950 w 1624012"/>
              <a:gd name="connsiteY157" fmla="*/ 1312069 h 1533525"/>
              <a:gd name="connsiteX158" fmla="*/ 704850 w 1624012"/>
              <a:gd name="connsiteY158" fmla="*/ 1345406 h 1533525"/>
              <a:gd name="connsiteX159" fmla="*/ 692943 w 1624012"/>
              <a:gd name="connsiteY159" fmla="*/ 1366838 h 1533525"/>
              <a:gd name="connsiteX160" fmla="*/ 671512 w 1624012"/>
              <a:gd name="connsiteY160" fmla="*/ 1509713 h 1533525"/>
              <a:gd name="connsiteX161" fmla="*/ 633412 w 1624012"/>
              <a:gd name="connsiteY161" fmla="*/ 1490663 h 1533525"/>
              <a:gd name="connsiteX162" fmla="*/ 614362 w 1624012"/>
              <a:gd name="connsiteY162" fmla="*/ 1504950 h 1533525"/>
              <a:gd name="connsiteX163" fmla="*/ 581025 w 1624012"/>
              <a:gd name="connsiteY163" fmla="*/ 1531144 h 1533525"/>
              <a:gd name="connsiteX164" fmla="*/ 523875 w 1624012"/>
              <a:gd name="connsiteY164" fmla="*/ 1502569 h 1533525"/>
              <a:gd name="connsiteX165" fmla="*/ 514350 w 1624012"/>
              <a:gd name="connsiteY165" fmla="*/ 1490663 h 1533525"/>
              <a:gd name="connsiteX166" fmla="*/ 483393 w 1624012"/>
              <a:gd name="connsiteY166" fmla="*/ 1533525 h 1533525"/>
              <a:gd name="connsiteX0" fmla="*/ 483393 w 1624012"/>
              <a:gd name="connsiteY0" fmla="*/ 1533525 h 1533525"/>
              <a:gd name="connsiteX1" fmla="*/ 459581 w 1624012"/>
              <a:gd name="connsiteY1" fmla="*/ 1481138 h 1533525"/>
              <a:gd name="connsiteX2" fmla="*/ 438150 w 1624012"/>
              <a:gd name="connsiteY2" fmla="*/ 1471613 h 1533525"/>
              <a:gd name="connsiteX3" fmla="*/ 400050 w 1624012"/>
              <a:gd name="connsiteY3" fmla="*/ 1485900 h 1533525"/>
              <a:gd name="connsiteX4" fmla="*/ 338137 w 1624012"/>
              <a:gd name="connsiteY4" fmla="*/ 1490663 h 1533525"/>
              <a:gd name="connsiteX5" fmla="*/ 330993 w 1624012"/>
              <a:gd name="connsiteY5" fmla="*/ 1497806 h 1533525"/>
              <a:gd name="connsiteX6" fmla="*/ 271462 w 1624012"/>
              <a:gd name="connsiteY6" fmla="*/ 1471613 h 1533525"/>
              <a:gd name="connsiteX7" fmla="*/ 219075 w 1624012"/>
              <a:gd name="connsiteY7" fmla="*/ 1443038 h 1533525"/>
              <a:gd name="connsiteX8" fmla="*/ 138112 w 1624012"/>
              <a:gd name="connsiteY8" fmla="*/ 1402556 h 1533525"/>
              <a:gd name="connsiteX9" fmla="*/ 95250 w 1624012"/>
              <a:gd name="connsiteY9" fmla="*/ 1316831 h 1533525"/>
              <a:gd name="connsiteX10" fmla="*/ 80962 w 1624012"/>
              <a:gd name="connsiteY10" fmla="*/ 1288256 h 1533525"/>
              <a:gd name="connsiteX11" fmla="*/ 104775 w 1624012"/>
              <a:gd name="connsiteY11" fmla="*/ 1266825 h 1533525"/>
              <a:gd name="connsiteX12" fmla="*/ 76200 w 1624012"/>
              <a:gd name="connsiteY12" fmla="*/ 1212056 h 1533525"/>
              <a:gd name="connsiteX13" fmla="*/ 109537 w 1624012"/>
              <a:gd name="connsiteY13" fmla="*/ 1193006 h 1533525"/>
              <a:gd name="connsiteX14" fmla="*/ 140493 w 1624012"/>
              <a:gd name="connsiteY14" fmla="*/ 1143000 h 1533525"/>
              <a:gd name="connsiteX15" fmla="*/ 123825 w 1624012"/>
              <a:gd name="connsiteY15" fmla="*/ 1107281 h 1533525"/>
              <a:gd name="connsiteX16" fmla="*/ 178593 w 1624012"/>
              <a:gd name="connsiteY16" fmla="*/ 1107281 h 1533525"/>
              <a:gd name="connsiteX17" fmla="*/ 192881 w 1624012"/>
              <a:gd name="connsiteY17" fmla="*/ 1109663 h 1533525"/>
              <a:gd name="connsiteX18" fmla="*/ 159543 w 1624012"/>
              <a:gd name="connsiteY18" fmla="*/ 1064419 h 1533525"/>
              <a:gd name="connsiteX19" fmla="*/ 169068 w 1624012"/>
              <a:gd name="connsiteY19" fmla="*/ 1014413 h 1533525"/>
              <a:gd name="connsiteX20" fmla="*/ 123825 w 1624012"/>
              <a:gd name="connsiteY20" fmla="*/ 997744 h 1533525"/>
              <a:gd name="connsiteX21" fmla="*/ 61912 w 1624012"/>
              <a:gd name="connsiteY21" fmla="*/ 954881 h 1533525"/>
              <a:gd name="connsiteX22" fmla="*/ 45243 w 1624012"/>
              <a:gd name="connsiteY22" fmla="*/ 938213 h 1533525"/>
              <a:gd name="connsiteX23" fmla="*/ 64293 w 1624012"/>
              <a:gd name="connsiteY23" fmla="*/ 909638 h 1533525"/>
              <a:gd name="connsiteX24" fmla="*/ 47625 w 1624012"/>
              <a:gd name="connsiteY24" fmla="*/ 897731 h 1533525"/>
              <a:gd name="connsiteX25" fmla="*/ 47625 w 1624012"/>
              <a:gd name="connsiteY25" fmla="*/ 881063 h 1533525"/>
              <a:gd name="connsiteX26" fmla="*/ 26193 w 1624012"/>
              <a:gd name="connsiteY26" fmla="*/ 881063 h 1533525"/>
              <a:gd name="connsiteX27" fmla="*/ 7143 w 1624012"/>
              <a:gd name="connsiteY27" fmla="*/ 847725 h 1533525"/>
              <a:gd name="connsiteX28" fmla="*/ 0 w 1624012"/>
              <a:gd name="connsiteY28" fmla="*/ 816769 h 1533525"/>
              <a:gd name="connsiteX29" fmla="*/ 54768 w 1624012"/>
              <a:gd name="connsiteY29" fmla="*/ 800100 h 1533525"/>
              <a:gd name="connsiteX30" fmla="*/ 76200 w 1624012"/>
              <a:gd name="connsiteY30" fmla="*/ 788194 h 1533525"/>
              <a:gd name="connsiteX31" fmla="*/ 128587 w 1624012"/>
              <a:gd name="connsiteY31" fmla="*/ 821531 h 1533525"/>
              <a:gd name="connsiteX32" fmla="*/ 126206 w 1624012"/>
              <a:gd name="connsiteY32" fmla="*/ 800100 h 1533525"/>
              <a:gd name="connsiteX33" fmla="*/ 164306 w 1624012"/>
              <a:gd name="connsiteY33" fmla="*/ 795338 h 1533525"/>
              <a:gd name="connsiteX34" fmla="*/ 173831 w 1624012"/>
              <a:gd name="connsiteY34" fmla="*/ 759619 h 1533525"/>
              <a:gd name="connsiteX35" fmla="*/ 235743 w 1624012"/>
              <a:gd name="connsiteY35" fmla="*/ 764381 h 1533525"/>
              <a:gd name="connsiteX36" fmla="*/ 235743 w 1624012"/>
              <a:gd name="connsiteY36" fmla="*/ 764381 h 1533525"/>
              <a:gd name="connsiteX37" fmla="*/ 245268 w 1624012"/>
              <a:gd name="connsiteY37" fmla="*/ 704850 h 1533525"/>
              <a:gd name="connsiteX38" fmla="*/ 276225 w 1624012"/>
              <a:gd name="connsiteY38" fmla="*/ 666750 h 1533525"/>
              <a:gd name="connsiteX39" fmla="*/ 292893 w 1624012"/>
              <a:gd name="connsiteY39" fmla="*/ 638175 h 1533525"/>
              <a:gd name="connsiteX40" fmla="*/ 245268 w 1624012"/>
              <a:gd name="connsiteY40" fmla="*/ 602456 h 1533525"/>
              <a:gd name="connsiteX41" fmla="*/ 264318 w 1624012"/>
              <a:gd name="connsiteY41" fmla="*/ 585788 h 1533525"/>
              <a:gd name="connsiteX42" fmla="*/ 311943 w 1624012"/>
              <a:gd name="connsiteY42" fmla="*/ 602456 h 1533525"/>
              <a:gd name="connsiteX43" fmla="*/ 369093 w 1624012"/>
              <a:gd name="connsiteY43" fmla="*/ 573881 h 1533525"/>
              <a:gd name="connsiteX44" fmla="*/ 457200 w 1624012"/>
              <a:gd name="connsiteY44" fmla="*/ 545306 h 1533525"/>
              <a:gd name="connsiteX45" fmla="*/ 538162 w 1624012"/>
              <a:gd name="connsiteY45" fmla="*/ 578644 h 1533525"/>
              <a:gd name="connsiteX46" fmla="*/ 614362 w 1624012"/>
              <a:gd name="connsiteY46" fmla="*/ 550069 h 1533525"/>
              <a:gd name="connsiteX47" fmla="*/ 650081 w 1624012"/>
              <a:gd name="connsiteY47" fmla="*/ 552450 h 1533525"/>
              <a:gd name="connsiteX48" fmla="*/ 654843 w 1624012"/>
              <a:gd name="connsiteY48" fmla="*/ 523875 h 1533525"/>
              <a:gd name="connsiteX49" fmla="*/ 654843 w 1624012"/>
              <a:gd name="connsiteY49" fmla="*/ 490538 h 1533525"/>
              <a:gd name="connsiteX50" fmla="*/ 669131 w 1624012"/>
              <a:gd name="connsiteY50" fmla="*/ 469106 h 1533525"/>
              <a:gd name="connsiteX51" fmla="*/ 652462 w 1624012"/>
              <a:gd name="connsiteY51" fmla="*/ 450056 h 1533525"/>
              <a:gd name="connsiteX52" fmla="*/ 642937 w 1624012"/>
              <a:gd name="connsiteY52" fmla="*/ 411956 h 1533525"/>
              <a:gd name="connsiteX53" fmla="*/ 642937 w 1624012"/>
              <a:gd name="connsiteY53" fmla="*/ 330994 h 1533525"/>
              <a:gd name="connsiteX54" fmla="*/ 633412 w 1624012"/>
              <a:gd name="connsiteY54" fmla="*/ 319088 h 1533525"/>
              <a:gd name="connsiteX55" fmla="*/ 664368 w 1624012"/>
              <a:gd name="connsiteY55" fmla="*/ 285750 h 1533525"/>
              <a:gd name="connsiteX56" fmla="*/ 721518 w 1624012"/>
              <a:gd name="connsiteY56" fmla="*/ 292894 h 1533525"/>
              <a:gd name="connsiteX57" fmla="*/ 733425 w 1624012"/>
              <a:gd name="connsiteY57" fmla="*/ 264319 h 1533525"/>
              <a:gd name="connsiteX58" fmla="*/ 731043 w 1624012"/>
              <a:gd name="connsiteY58" fmla="*/ 228600 h 1533525"/>
              <a:gd name="connsiteX59" fmla="*/ 790575 w 1624012"/>
              <a:gd name="connsiteY59" fmla="*/ 192881 h 1533525"/>
              <a:gd name="connsiteX60" fmla="*/ 804862 w 1624012"/>
              <a:gd name="connsiteY60" fmla="*/ 166688 h 1533525"/>
              <a:gd name="connsiteX61" fmla="*/ 778668 w 1624012"/>
              <a:gd name="connsiteY61" fmla="*/ 128588 h 1533525"/>
              <a:gd name="connsiteX62" fmla="*/ 771525 w 1624012"/>
              <a:gd name="connsiteY62" fmla="*/ 104775 h 1533525"/>
              <a:gd name="connsiteX63" fmla="*/ 823912 w 1624012"/>
              <a:gd name="connsiteY63" fmla="*/ 97631 h 1533525"/>
              <a:gd name="connsiteX64" fmla="*/ 869156 w 1624012"/>
              <a:gd name="connsiteY64" fmla="*/ 52388 h 1533525"/>
              <a:gd name="connsiteX65" fmla="*/ 890587 w 1624012"/>
              <a:gd name="connsiteY65" fmla="*/ 23813 h 1533525"/>
              <a:gd name="connsiteX66" fmla="*/ 923925 w 1624012"/>
              <a:gd name="connsiteY66" fmla="*/ 9525 h 1533525"/>
              <a:gd name="connsiteX67" fmla="*/ 971550 w 1624012"/>
              <a:gd name="connsiteY67" fmla="*/ 0 h 1533525"/>
              <a:gd name="connsiteX68" fmla="*/ 971550 w 1624012"/>
              <a:gd name="connsiteY68" fmla="*/ 40481 h 1533525"/>
              <a:gd name="connsiteX69" fmla="*/ 950118 w 1624012"/>
              <a:gd name="connsiteY69" fmla="*/ 80963 h 1533525"/>
              <a:gd name="connsiteX70" fmla="*/ 950118 w 1624012"/>
              <a:gd name="connsiteY70" fmla="*/ 140494 h 1533525"/>
              <a:gd name="connsiteX71" fmla="*/ 969168 w 1624012"/>
              <a:gd name="connsiteY71" fmla="*/ 161925 h 1533525"/>
              <a:gd name="connsiteX72" fmla="*/ 1007268 w 1624012"/>
              <a:gd name="connsiteY72" fmla="*/ 188119 h 1533525"/>
              <a:gd name="connsiteX73" fmla="*/ 1019175 w 1624012"/>
              <a:gd name="connsiteY73" fmla="*/ 216694 h 1533525"/>
              <a:gd name="connsiteX74" fmla="*/ 1004887 w 1624012"/>
              <a:gd name="connsiteY74" fmla="*/ 226219 h 1533525"/>
              <a:gd name="connsiteX75" fmla="*/ 1057275 w 1624012"/>
              <a:gd name="connsiteY75" fmla="*/ 250031 h 1533525"/>
              <a:gd name="connsiteX76" fmla="*/ 1073943 w 1624012"/>
              <a:gd name="connsiteY76" fmla="*/ 228600 h 1533525"/>
              <a:gd name="connsiteX77" fmla="*/ 1083468 w 1624012"/>
              <a:gd name="connsiteY77" fmla="*/ 252413 h 1533525"/>
              <a:gd name="connsiteX78" fmla="*/ 1116806 w 1624012"/>
              <a:gd name="connsiteY78" fmla="*/ 252413 h 1533525"/>
              <a:gd name="connsiteX79" fmla="*/ 1123950 w 1624012"/>
              <a:gd name="connsiteY79" fmla="*/ 257175 h 1533525"/>
              <a:gd name="connsiteX80" fmla="*/ 1116806 w 1624012"/>
              <a:gd name="connsiteY80" fmla="*/ 276225 h 1533525"/>
              <a:gd name="connsiteX81" fmla="*/ 1088231 w 1624012"/>
              <a:gd name="connsiteY81" fmla="*/ 309563 h 1533525"/>
              <a:gd name="connsiteX82" fmla="*/ 1123950 w 1624012"/>
              <a:gd name="connsiteY82" fmla="*/ 333375 h 1533525"/>
              <a:gd name="connsiteX83" fmla="*/ 1135856 w 1624012"/>
              <a:gd name="connsiteY83" fmla="*/ 347663 h 1533525"/>
              <a:gd name="connsiteX84" fmla="*/ 1135856 w 1624012"/>
              <a:gd name="connsiteY84" fmla="*/ 376238 h 1533525"/>
              <a:gd name="connsiteX85" fmla="*/ 1119187 w 1624012"/>
              <a:gd name="connsiteY85" fmla="*/ 411956 h 1533525"/>
              <a:gd name="connsiteX86" fmla="*/ 1162050 w 1624012"/>
              <a:gd name="connsiteY86" fmla="*/ 423863 h 1533525"/>
              <a:gd name="connsiteX87" fmla="*/ 1233487 w 1624012"/>
              <a:gd name="connsiteY87" fmla="*/ 416719 h 1533525"/>
              <a:gd name="connsiteX88" fmla="*/ 1223962 w 1624012"/>
              <a:gd name="connsiteY88" fmla="*/ 385763 h 1533525"/>
              <a:gd name="connsiteX89" fmla="*/ 1188243 w 1624012"/>
              <a:gd name="connsiteY89" fmla="*/ 347663 h 1533525"/>
              <a:gd name="connsiteX90" fmla="*/ 1181100 w 1624012"/>
              <a:gd name="connsiteY90" fmla="*/ 333375 h 1533525"/>
              <a:gd name="connsiteX91" fmla="*/ 1207293 w 1624012"/>
              <a:gd name="connsiteY91" fmla="*/ 326231 h 1533525"/>
              <a:gd name="connsiteX92" fmla="*/ 1200150 w 1624012"/>
              <a:gd name="connsiteY92" fmla="*/ 302419 h 1533525"/>
              <a:gd name="connsiteX93" fmla="*/ 1223962 w 1624012"/>
              <a:gd name="connsiteY93" fmla="*/ 283369 h 1533525"/>
              <a:gd name="connsiteX94" fmla="*/ 1250156 w 1624012"/>
              <a:gd name="connsiteY94" fmla="*/ 242888 h 1533525"/>
              <a:gd name="connsiteX95" fmla="*/ 1302543 w 1624012"/>
              <a:gd name="connsiteY95" fmla="*/ 211931 h 1533525"/>
              <a:gd name="connsiteX96" fmla="*/ 1350168 w 1624012"/>
              <a:gd name="connsiteY96" fmla="*/ 123825 h 1533525"/>
              <a:gd name="connsiteX97" fmla="*/ 1490662 w 1624012"/>
              <a:gd name="connsiteY97" fmla="*/ 142875 h 1533525"/>
              <a:gd name="connsiteX98" fmla="*/ 1543050 w 1624012"/>
              <a:gd name="connsiteY98" fmla="*/ 147638 h 1533525"/>
              <a:gd name="connsiteX99" fmla="*/ 1547812 w 1624012"/>
              <a:gd name="connsiteY99" fmla="*/ 121444 h 1533525"/>
              <a:gd name="connsiteX100" fmla="*/ 1574006 w 1624012"/>
              <a:gd name="connsiteY100" fmla="*/ 121444 h 1533525"/>
              <a:gd name="connsiteX101" fmla="*/ 1624012 w 1624012"/>
              <a:gd name="connsiteY101" fmla="*/ 109538 h 1533525"/>
              <a:gd name="connsiteX102" fmla="*/ 1057275 w 1624012"/>
              <a:gd name="connsiteY102" fmla="*/ 264319 h 1533525"/>
              <a:gd name="connsiteX103" fmla="*/ 1062037 w 1624012"/>
              <a:gd name="connsiteY103" fmla="*/ 304800 h 1533525"/>
              <a:gd name="connsiteX104" fmla="*/ 995362 w 1624012"/>
              <a:gd name="connsiteY104" fmla="*/ 352425 h 1533525"/>
              <a:gd name="connsiteX105" fmla="*/ 973931 w 1624012"/>
              <a:gd name="connsiteY105" fmla="*/ 383381 h 1533525"/>
              <a:gd name="connsiteX106" fmla="*/ 1000125 w 1624012"/>
              <a:gd name="connsiteY106" fmla="*/ 428625 h 1533525"/>
              <a:gd name="connsiteX107" fmla="*/ 983456 w 1624012"/>
              <a:gd name="connsiteY107" fmla="*/ 466725 h 1533525"/>
              <a:gd name="connsiteX108" fmla="*/ 1000125 w 1624012"/>
              <a:gd name="connsiteY108" fmla="*/ 519113 h 1533525"/>
              <a:gd name="connsiteX109" fmla="*/ 1033462 w 1624012"/>
              <a:gd name="connsiteY109" fmla="*/ 519113 h 1533525"/>
              <a:gd name="connsiteX110" fmla="*/ 1019175 w 1624012"/>
              <a:gd name="connsiteY110" fmla="*/ 552450 h 1533525"/>
              <a:gd name="connsiteX111" fmla="*/ 1035843 w 1624012"/>
              <a:gd name="connsiteY111" fmla="*/ 590550 h 1533525"/>
              <a:gd name="connsiteX112" fmla="*/ 1035843 w 1624012"/>
              <a:gd name="connsiteY112" fmla="*/ 607219 h 1533525"/>
              <a:gd name="connsiteX113" fmla="*/ 1045368 w 1624012"/>
              <a:gd name="connsiteY113" fmla="*/ 645319 h 1533525"/>
              <a:gd name="connsiteX114" fmla="*/ 1064418 w 1624012"/>
              <a:gd name="connsiteY114" fmla="*/ 645319 h 1533525"/>
              <a:gd name="connsiteX115" fmla="*/ 1078706 w 1624012"/>
              <a:gd name="connsiteY115" fmla="*/ 666750 h 1533525"/>
              <a:gd name="connsiteX116" fmla="*/ 1085850 w 1624012"/>
              <a:gd name="connsiteY116" fmla="*/ 688181 h 1533525"/>
              <a:gd name="connsiteX117" fmla="*/ 1076325 w 1624012"/>
              <a:gd name="connsiteY117" fmla="*/ 719138 h 1533525"/>
              <a:gd name="connsiteX118" fmla="*/ 1021556 w 1624012"/>
              <a:gd name="connsiteY118" fmla="*/ 714375 h 1533525"/>
              <a:gd name="connsiteX119" fmla="*/ 1002506 w 1624012"/>
              <a:gd name="connsiteY119" fmla="*/ 721519 h 1533525"/>
              <a:gd name="connsiteX120" fmla="*/ 995362 w 1624012"/>
              <a:gd name="connsiteY120" fmla="*/ 726281 h 1533525"/>
              <a:gd name="connsiteX121" fmla="*/ 995362 w 1624012"/>
              <a:gd name="connsiteY121" fmla="*/ 726281 h 1533525"/>
              <a:gd name="connsiteX122" fmla="*/ 923925 w 1624012"/>
              <a:gd name="connsiteY122" fmla="*/ 721519 h 1533525"/>
              <a:gd name="connsiteX123" fmla="*/ 940593 w 1624012"/>
              <a:gd name="connsiteY123" fmla="*/ 778669 h 1533525"/>
              <a:gd name="connsiteX124" fmla="*/ 938212 w 1624012"/>
              <a:gd name="connsiteY124" fmla="*/ 847725 h 1533525"/>
              <a:gd name="connsiteX125" fmla="*/ 954881 w 1624012"/>
              <a:gd name="connsiteY125" fmla="*/ 871538 h 1533525"/>
              <a:gd name="connsiteX126" fmla="*/ 997743 w 1624012"/>
              <a:gd name="connsiteY126" fmla="*/ 919163 h 1533525"/>
              <a:gd name="connsiteX127" fmla="*/ 1012031 w 1624012"/>
              <a:gd name="connsiteY127" fmla="*/ 954881 h 1533525"/>
              <a:gd name="connsiteX128" fmla="*/ 1031081 w 1624012"/>
              <a:gd name="connsiteY128" fmla="*/ 954881 h 1533525"/>
              <a:gd name="connsiteX129" fmla="*/ 1071562 w 1624012"/>
              <a:gd name="connsiteY129" fmla="*/ 940594 h 1533525"/>
              <a:gd name="connsiteX130" fmla="*/ 1102518 w 1624012"/>
              <a:gd name="connsiteY130" fmla="*/ 933450 h 1533525"/>
              <a:gd name="connsiteX131" fmla="*/ 1159668 w 1624012"/>
              <a:gd name="connsiteY131" fmla="*/ 997744 h 1533525"/>
              <a:gd name="connsiteX132" fmla="*/ 1178718 w 1624012"/>
              <a:gd name="connsiteY132" fmla="*/ 1052513 h 1533525"/>
              <a:gd name="connsiteX133" fmla="*/ 1190625 w 1624012"/>
              <a:gd name="connsiteY133" fmla="*/ 1081088 h 1533525"/>
              <a:gd name="connsiteX134" fmla="*/ 1212056 w 1624012"/>
              <a:gd name="connsiteY134" fmla="*/ 1109663 h 1533525"/>
              <a:gd name="connsiteX135" fmla="*/ 1231106 w 1624012"/>
              <a:gd name="connsiteY135" fmla="*/ 1102519 h 1533525"/>
              <a:gd name="connsiteX136" fmla="*/ 1231106 w 1624012"/>
              <a:gd name="connsiteY136" fmla="*/ 1131094 h 1533525"/>
              <a:gd name="connsiteX137" fmla="*/ 1233487 w 1624012"/>
              <a:gd name="connsiteY137" fmla="*/ 1145381 h 1533525"/>
              <a:gd name="connsiteX138" fmla="*/ 1266825 w 1624012"/>
              <a:gd name="connsiteY138" fmla="*/ 1181100 h 1533525"/>
              <a:gd name="connsiteX139" fmla="*/ 1233487 w 1624012"/>
              <a:gd name="connsiteY139" fmla="*/ 1181100 h 1533525"/>
              <a:gd name="connsiteX140" fmla="*/ 1228725 w 1624012"/>
              <a:gd name="connsiteY140" fmla="*/ 1223963 h 1533525"/>
              <a:gd name="connsiteX141" fmla="*/ 1226343 w 1624012"/>
              <a:gd name="connsiteY141" fmla="*/ 1243013 h 1533525"/>
              <a:gd name="connsiteX142" fmla="*/ 1216818 w 1624012"/>
              <a:gd name="connsiteY142" fmla="*/ 1264444 h 1533525"/>
              <a:gd name="connsiteX143" fmla="*/ 1190625 w 1624012"/>
              <a:gd name="connsiteY143" fmla="*/ 1238250 h 1533525"/>
              <a:gd name="connsiteX144" fmla="*/ 1157287 w 1624012"/>
              <a:gd name="connsiteY144" fmla="*/ 1209675 h 1533525"/>
              <a:gd name="connsiteX145" fmla="*/ 1131093 w 1624012"/>
              <a:gd name="connsiteY145" fmla="*/ 1185863 h 1533525"/>
              <a:gd name="connsiteX146" fmla="*/ 1107281 w 1624012"/>
              <a:gd name="connsiteY146" fmla="*/ 1219200 h 1533525"/>
              <a:gd name="connsiteX147" fmla="*/ 1104900 w 1624012"/>
              <a:gd name="connsiteY147" fmla="*/ 1264444 h 1533525"/>
              <a:gd name="connsiteX148" fmla="*/ 1062037 w 1624012"/>
              <a:gd name="connsiteY148" fmla="*/ 1259681 h 1533525"/>
              <a:gd name="connsiteX149" fmla="*/ 1026318 w 1624012"/>
              <a:gd name="connsiteY149" fmla="*/ 1288256 h 1533525"/>
              <a:gd name="connsiteX150" fmla="*/ 1007268 w 1624012"/>
              <a:gd name="connsiteY150" fmla="*/ 1240631 h 1533525"/>
              <a:gd name="connsiteX151" fmla="*/ 947737 w 1624012"/>
              <a:gd name="connsiteY151" fmla="*/ 1231106 h 1533525"/>
              <a:gd name="connsiteX152" fmla="*/ 921543 w 1624012"/>
              <a:gd name="connsiteY152" fmla="*/ 1297781 h 1533525"/>
              <a:gd name="connsiteX153" fmla="*/ 885825 w 1624012"/>
              <a:gd name="connsiteY153" fmla="*/ 1278731 h 1533525"/>
              <a:gd name="connsiteX154" fmla="*/ 816768 w 1624012"/>
              <a:gd name="connsiteY154" fmla="*/ 1295400 h 1533525"/>
              <a:gd name="connsiteX155" fmla="*/ 757237 w 1624012"/>
              <a:gd name="connsiteY155" fmla="*/ 1259681 h 1533525"/>
              <a:gd name="connsiteX156" fmla="*/ 742950 w 1624012"/>
              <a:gd name="connsiteY156" fmla="*/ 1312069 h 1533525"/>
              <a:gd name="connsiteX157" fmla="*/ 704850 w 1624012"/>
              <a:gd name="connsiteY157" fmla="*/ 1345406 h 1533525"/>
              <a:gd name="connsiteX158" fmla="*/ 692943 w 1624012"/>
              <a:gd name="connsiteY158" fmla="*/ 1366838 h 1533525"/>
              <a:gd name="connsiteX159" fmla="*/ 671512 w 1624012"/>
              <a:gd name="connsiteY159" fmla="*/ 1509713 h 1533525"/>
              <a:gd name="connsiteX160" fmla="*/ 633412 w 1624012"/>
              <a:gd name="connsiteY160" fmla="*/ 1490663 h 1533525"/>
              <a:gd name="connsiteX161" fmla="*/ 614362 w 1624012"/>
              <a:gd name="connsiteY161" fmla="*/ 1504950 h 1533525"/>
              <a:gd name="connsiteX162" fmla="*/ 581025 w 1624012"/>
              <a:gd name="connsiteY162" fmla="*/ 1531144 h 1533525"/>
              <a:gd name="connsiteX163" fmla="*/ 523875 w 1624012"/>
              <a:gd name="connsiteY163" fmla="*/ 1502569 h 1533525"/>
              <a:gd name="connsiteX164" fmla="*/ 514350 w 1624012"/>
              <a:gd name="connsiteY164" fmla="*/ 1490663 h 1533525"/>
              <a:gd name="connsiteX165" fmla="*/ 483393 w 1624012"/>
              <a:gd name="connsiteY165" fmla="*/ 1533525 h 1533525"/>
              <a:gd name="connsiteX0" fmla="*/ 483393 w 1624012"/>
              <a:gd name="connsiteY0" fmla="*/ 1533525 h 1533525"/>
              <a:gd name="connsiteX1" fmla="*/ 459581 w 1624012"/>
              <a:gd name="connsiteY1" fmla="*/ 1481138 h 1533525"/>
              <a:gd name="connsiteX2" fmla="*/ 438150 w 1624012"/>
              <a:gd name="connsiteY2" fmla="*/ 1471613 h 1533525"/>
              <a:gd name="connsiteX3" fmla="*/ 400050 w 1624012"/>
              <a:gd name="connsiteY3" fmla="*/ 1485900 h 1533525"/>
              <a:gd name="connsiteX4" fmla="*/ 338137 w 1624012"/>
              <a:gd name="connsiteY4" fmla="*/ 1490663 h 1533525"/>
              <a:gd name="connsiteX5" fmla="*/ 330993 w 1624012"/>
              <a:gd name="connsiteY5" fmla="*/ 1497806 h 1533525"/>
              <a:gd name="connsiteX6" fmla="*/ 271462 w 1624012"/>
              <a:gd name="connsiteY6" fmla="*/ 1471613 h 1533525"/>
              <a:gd name="connsiteX7" fmla="*/ 219075 w 1624012"/>
              <a:gd name="connsiteY7" fmla="*/ 1443038 h 1533525"/>
              <a:gd name="connsiteX8" fmla="*/ 138112 w 1624012"/>
              <a:gd name="connsiteY8" fmla="*/ 1402556 h 1533525"/>
              <a:gd name="connsiteX9" fmla="*/ 95250 w 1624012"/>
              <a:gd name="connsiteY9" fmla="*/ 1316831 h 1533525"/>
              <a:gd name="connsiteX10" fmla="*/ 80962 w 1624012"/>
              <a:gd name="connsiteY10" fmla="*/ 1288256 h 1533525"/>
              <a:gd name="connsiteX11" fmla="*/ 104775 w 1624012"/>
              <a:gd name="connsiteY11" fmla="*/ 1266825 h 1533525"/>
              <a:gd name="connsiteX12" fmla="*/ 76200 w 1624012"/>
              <a:gd name="connsiteY12" fmla="*/ 1212056 h 1533525"/>
              <a:gd name="connsiteX13" fmla="*/ 109537 w 1624012"/>
              <a:gd name="connsiteY13" fmla="*/ 1193006 h 1533525"/>
              <a:gd name="connsiteX14" fmla="*/ 140493 w 1624012"/>
              <a:gd name="connsiteY14" fmla="*/ 1143000 h 1533525"/>
              <a:gd name="connsiteX15" fmla="*/ 123825 w 1624012"/>
              <a:gd name="connsiteY15" fmla="*/ 1107281 h 1533525"/>
              <a:gd name="connsiteX16" fmla="*/ 178593 w 1624012"/>
              <a:gd name="connsiteY16" fmla="*/ 1107281 h 1533525"/>
              <a:gd name="connsiteX17" fmla="*/ 192881 w 1624012"/>
              <a:gd name="connsiteY17" fmla="*/ 1109663 h 1533525"/>
              <a:gd name="connsiteX18" fmla="*/ 159543 w 1624012"/>
              <a:gd name="connsiteY18" fmla="*/ 1064419 h 1533525"/>
              <a:gd name="connsiteX19" fmla="*/ 169068 w 1624012"/>
              <a:gd name="connsiteY19" fmla="*/ 1014413 h 1533525"/>
              <a:gd name="connsiteX20" fmla="*/ 123825 w 1624012"/>
              <a:gd name="connsiteY20" fmla="*/ 997744 h 1533525"/>
              <a:gd name="connsiteX21" fmla="*/ 61912 w 1624012"/>
              <a:gd name="connsiteY21" fmla="*/ 954881 h 1533525"/>
              <a:gd name="connsiteX22" fmla="*/ 45243 w 1624012"/>
              <a:gd name="connsiteY22" fmla="*/ 938213 h 1533525"/>
              <a:gd name="connsiteX23" fmla="*/ 64293 w 1624012"/>
              <a:gd name="connsiteY23" fmla="*/ 909638 h 1533525"/>
              <a:gd name="connsiteX24" fmla="*/ 47625 w 1624012"/>
              <a:gd name="connsiteY24" fmla="*/ 897731 h 1533525"/>
              <a:gd name="connsiteX25" fmla="*/ 47625 w 1624012"/>
              <a:gd name="connsiteY25" fmla="*/ 881063 h 1533525"/>
              <a:gd name="connsiteX26" fmla="*/ 26193 w 1624012"/>
              <a:gd name="connsiteY26" fmla="*/ 881063 h 1533525"/>
              <a:gd name="connsiteX27" fmla="*/ 7143 w 1624012"/>
              <a:gd name="connsiteY27" fmla="*/ 847725 h 1533525"/>
              <a:gd name="connsiteX28" fmla="*/ 0 w 1624012"/>
              <a:gd name="connsiteY28" fmla="*/ 816769 h 1533525"/>
              <a:gd name="connsiteX29" fmla="*/ 54768 w 1624012"/>
              <a:gd name="connsiteY29" fmla="*/ 800100 h 1533525"/>
              <a:gd name="connsiteX30" fmla="*/ 76200 w 1624012"/>
              <a:gd name="connsiteY30" fmla="*/ 788194 h 1533525"/>
              <a:gd name="connsiteX31" fmla="*/ 128587 w 1624012"/>
              <a:gd name="connsiteY31" fmla="*/ 821531 h 1533525"/>
              <a:gd name="connsiteX32" fmla="*/ 126206 w 1624012"/>
              <a:gd name="connsiteY32" fmla="*/ 800100 h 1533525"/>
              <a:gd name="connsiteX33" fmla="*/ 164306 w 1624012"/>
              <a:gd name="connsiteY33" fmla="*/ 795338 h 1533525"/>
              <a:gd name="connsiteX34" fmla="*/ 173831 w 1624012"/>
              <a:gd name="connsiteY34" fmla="*/ 759619 h 1533525"/>
              <a:gd name="connsiteX35" fmla="*/ 235743 w 1624012"/>
              <a:gd name="connsiteY35" fmla="*/ 764381 h 1533525"/>
              <a:gd name="connsiteX36" fmla="*/ 235743 w 1624012"/>
              <a:gd name="connsiteY36" fmla="*/ 764381 h 1533525"/>
              <a:gd name="connsiteX37" fmla="*/ 245268 w 1624012"/>
              <a:gd name="connsiteY37" fmla="*/ 704850 h 1533525"/>
              <a:gd name="connsiteX38" fmla="*/ 276225 w 1624012"/>
              <a:gd name="connsiteY38" fmla="*/ 666750 h 1533525"/>
              <a:gd name="connsiteX39" fmla="*/ 292893 w 1624012"/>
              <a:gd name="connsiteY39" fmla="*/ 638175 h 1533525"/>
              <a:gd name="connsiteX40" fmla="*/ 245268 w 1624012"/>
              <a:gd name="connsiteY40" fmla="*/ 602456 h 1533525"/>
              <a:gd name="connsiteX41" fmla="*/ 264318 w 1624012"/>
              <a:gd name="connsiteY41" fmla="*/ 585788 h 1533525"/>
              <a:gd name="connsiteX42" fmla="*/ 311943 w 1624012"/>
              <a:gd name="connsiteY42" fmla="*/ 602456 h 1533525"/>
              <a:gd name="connsiteX43" fmla="*/ 369093 w 1624012"/>
              <a:gd name="connsiteY43" fmla="*/ 573881 h 1533525"/>
              <a:gd name="connsiteX44" fmla="*/ 457200 w 1624012"/>
              <a:gd name="connsiteY44" fmla="*/ 545306 h 1533525"/>
              <a:gd name="connsiteX45" fmla="*/ 538162 w 1624012"/>
              <a:gd name="connsiteY45" fmla="*/ 578644 h 1533525"/>
              <a:gd name="connsiteX46" fmla="*/ 614362 w 1624012"/>
              <a:gd name="connsiteY46" fmla="*/ 550069 h 1533525"/>
              <a:gd name="connsiteX47" fmla="*/ 650081 w 1624012"/>
              <a:gd name="connsiteY47" fmla="*/ 552450 h 1533525"/>
              <a:gd name="connsiteX48" fmla="*/ 654843 w 1624012"/>
              <a:gd name="connsiteY48" fmla="*/ 523875 h 1533525"/>
              <a:gd name="connsiteX49" fmla="*/ 654843 w 1624012"/>
              <a:gd name="connsiteY49" fmla="*/ 490538 h 1533525"/>
              <a:gd name="connsiteX50" fmla="*/ 669131 w 1624012"/>
              <a:gd name="connsiteY50" fmla="*/ 469106 h 1533525"/>
              <a:gd name="connsiteX51" fmla="*/ 652462 w 1624012"/>
              <a:gd name="connsiteY51" fmla="*/ 450056 h 1533525"/>
              <a:gd name="connsiteX52" fmla="*/ 642937 w 1624012"/>
              <a:gd name="connsiteY52" fmla="*/ 411956 h 1533525"/>
              <a:gd name="connsiteX53" fmla="*/ 642937 w 1624012"/>
              <a:gd name="connsiteY53" fmla="*/ 330994 h 1533525"/>
              <a:gd name="connsiteX54" fmla="*/ 633412 w 1624012"/>
              <a:gd name="connsiteY54" fmla="*/ 319088 h 1533525"/>
              <a:gd name="connsiteX55" fmla="*/ 664368 w 1624012"/>
              <a:gd name="connsiteY55" fmla="*/ 285750 h 1533525"/>
              <a:gd name="connsiteX56" fmla="*/ 721518 w 1624012"/>
              <a:gd name="connsiteY56" fmla="*/ 292894 h 1533525"/>
              <a:gd name="connsiteX57" fmla="*/ 733425 w 1624012"/>
              <a:gd name="connsiteY57" fmla="*/ 264319 h 1533525"/>
              <a:gd name="connsiteX58" fmla="*/ 731043 w 1624012"/>
              <a:gd name="connsiteY58" fmla="*/ 228600 h 1533525"/>
              <a:gd name="connsiteX59" fmla="*/ 790575 w 1624012"/>
              <a:gd name="connsiteY59" fmla="*/ 192881 h 1533525"/>
              <a:gd name="connsiteX60" fmla="*/ 804862 w 1624012"/>
              <a:gd name="connsiteY60" fmla="*/ 166688 h 1533525"/>
              <a:gd name="connsiteX61" fmla="*/ 778668 w 1624012"/>
              <a:gd name="connsiteY61" fmla="*/ 128588 h 1533525"/>
              <a:gd name="connsiteX62" fmla="*/ 771525 w 1624012"/>
              <a:gd name="connsiteY62" fmla="*/ 104775 h 1533525"/>
              <a:gd name="connsiteX63" fmla="*/ 823912 w 1624012"/>
              <a:gd name="connsiteY63" fmla="*/ 97631 h 1533525"/>
              <a:gd name="connsiteX64" fmla="*/ 869156 w 1624012"/>
              <a:gd name="connsiteY64" fmla="*/ 52388 h 1533525"/>
              <a:gd name="connsiteX65" fmla="*/ 890587 w 1624012"/>
              <a:gd name="connsiteY65" fmla="*/ 23813 h 1533525"/>
              <a:gd name="connsiteX66" fmla="*/ 923925 w 1624012"/>
              <a:gd name="connsiteY66" fmla="*/ 9525 h 1533525"/>
              <a:gd name="connsiteX67" fmla="*/ 971550 w 1624012"/>
              <a:gd name="connsiteY67" fmla="*/ 0 h 1533525"/>
              <a:gd name="connsiteX68" fmla="*/ 971550 w 1624012"/>
              <a:gd name="connsiteY68" fmla="*/ 40481 h 1533525"/>
              <a:gd name="connsiteX69" fmla="*/ 950118 w 1624012"/>
              <a:gd name="connsiteY69" fmla="*/ 80963 h 1533525"/>
              <a:gd name="connsiteX70" fmla="*/ 950118 w 1624012"/>
              <a:gd name="connsiteY70" fmla="*/ 140494 h 1533525"/>
              <a:gd name="connsiteX71" fmla="*/ 969168 w 1624012"/>
              <a:gd name="connsiteY71" fmla="*/ 161925 h 1533525"/>
              <a:gd name="connsiteX72" fmla="*/ 1007268 w 1624012"/>
              <a:gd name="connsiteY72" fmla="*/ 188119 h 1533525"/>
              <a:gd name="connsiteX73" fmla="*/ 1019175 w 1624012"/>
              <a:gd name="connsiteY73" fmla="*/ 216694 h 1533525"/>
              <a:gd name="connsiteX74" fmla="*/ 1004887 w 1624012"/>
              <a:gd name="connsiteY74" fmla="*/ 226219 h 1533525"/>
              <a:gd name="connsiteX75" fmla="*/ 1057275 w 1624012"/>
              <a:gd name="connsiteY75" fmla="*/ 250031 h 1533525"/>
              <a:gd name="connsiteX76" fmla="*/ 1073943 w 1624012"/>
              <a:gd name="connsiteY76" fmla="*/ 228600 h 1533525"/>
              <a:gd name="connsiteX77" fmla="*/ 1083468 w 1624012"/>
              <a:gd name="connsiteY77" fmla="*/ 252413 h 1533525"/>
              <a:gd name="connsiteX78" fmla="*/ 1116806 w 1624012"/>
              <a:gd name="connsiteY78" fmla="*/ 252413 h 1533525"/>
              <a:gd name="connsiteX79" fmla="*/ 1123950 w 1624012"/>
              <a:gd name="connsiteY79" fmla="*/ 257175 h 1533525"/>
              <a:gd name="connsiteX80" fmla="*/ 1116806 w 1624012"/>
              <a:gd name="connsiteY80" fmla="*/ 276225 h 1533525"/>
              <a:gd name="connsiteX81" fmla="*/ 1088231 w 1624012"/>
              <a:gd name="connsiteY81" fmla="*/ 309563 h 1533525"/>
              <a:gd name="connsiteX82" fmla="*/ 1123950 w 1624012"/>
              <a:gd name="connsiteY82" fmla="*/ 333375 h 1533525"/>
              <a:gd name="connsiteX83" fmla="*/ 1135856 w 1624012"/>
              <a:gd name="connsiteY83" fmla="*/ 347663 h 1533525"/>
              <a:gd name="connsiteX84" fmla="*/ 1135856 w 1624012"/>
              <a:gd name="connsiteY84" fmla="*/ 376238 h 1533525"/>
              <a:gd name="connsiteX85" fmla="*/ 1119187 w 1624012"/>
              <a:gd name="connsiteY85" fmla="*/ 411956 h 1533525"/>
              <a:gd name="connsiteX86" fmla="*/ 1162050 w 1624012"/>
              <a:gd name="connsiteY86" fmla="*/ 423863 h 1533525"/>
              <a:gd name="connsiteX87" fmla="*/ 1233487 w 1624012"/>
              <a:gd name="connsiteY87" fmla="*/ 416719 h 1533525"/>
              <a:gd name="connsiteX88" fmla="*/ 1223962 w 1624012"/>
              <a:gd name="connsiteY88" fmla="*/ 385763 h 1533525"/>
              <a:gd name="connsiteX89" fmla="*/ 1188243 w 1624012"/>
              <a:gd name="connsiteY89" fmla="*/ 347663 h 1533525"/>
              <a:gd name="connsiteX90" fmla="*/ 1181100 w 1624012"/>
              <a:gd name="connsiteY90" fmla="*/ 333375 h 1533525"/>
              <a:gd name="connsiteX91" fmla="*/ 1207293 w 1624012"/>
              <a:gd name="connsiteY91" fmla="*/ 326231 h 1533525"/>
              <a:gd name="connsiteX92" fmla="*/ 1200150 w 1624012"/>
              <a:gd name="connsiteY92" fmla="*/ 302419 h 1533525"/>
              <a:gd name="connsiteX93" fmla="*/ 1223962 w 1624012"/>
              <a:gd name="connsiteY93" fmla="*/ 283369 h 1533525"/>
              <a:gd name="connsiteX94" fmla="*/ 1250156 w 1624012"/>
              <a:gd name="connsiteY94" fmla="*/ 242888 h 1533525"/>
              <a:gd name="connsiteX95" fmla="*/ 1302543 w 1624012"/>
              <a:gd name="connsiteY95" fmla="*/ 211931 h 1533525"/>
              <a:gd name="connsiteX96" fmla="*/ 1350168 w 1624012"/>
              <a:gd name="connsiteY96" fmla="*/ 123825 h 1533525"/>
              <a:gd name="connsiteX97" fmla="*/ 1543050 w 1624012"/>
              <a:gd name="connsiteY97" fmla="*/ 147638 h 1533525"/>
              <a:gd name="connsiteX98" fmla="*/ 1547812 w 1624012"/>
              <a:gd name="connsiteY98" fmla="*/ 121444 h 1533525"/>
              <a:gd name="connsiteX99" fmla="*/ 1574006 w 1624012"/>
              <a:gd name="connsiteY99" fmla="*/ 121444 h 1533525"/>
              <a:gd name="connsiteX100" fmla="*/ 1624012 w 1624012"/>
              <a:gd name="connsiteY100" fmla="*/ 109538 h 1533525"/>
              <a:gd name="connsiteX101" fmla="*/ 1057275 w 1624012"/>
              <a:gd name="connsiteY101" fmla="*/ 264319 h 1533525"/>
              <a:gd name="connsiteX102" fmla="*/ 1062037 w 1624012"/>
              <a:gd name="connsiteY102" fmla="*/ 304800 h 1533525"/>
              <a:gd name="connsiteX103" fmla="*/ 995362 w 1624012"/>
              <a:gd name="connsiteY103" fmla="*/ 352425 h 1533525"/>
              <a:gd name="connsiteX104" fmla="*/ 973931 w 1624012"/>
              <a:gd name="connsiteY104" fmla="*/ 383381 h 1533525"/>
              <a:gd name="connsiteX105" fmla="*/ 1000125 w 1624012"/>
              <a:gd name="connsiteY105" fmla="*/ 428625 h 1533525"/>
              <a:gd name="connsiteX106" fmla="*/ 983456 w 1624012"/>
              <a:gd name="connsiteY106" fmla="*/ 466725 h 1533525"/>
              <a:gd name="connsiteX107" fmla="*/ 1000125 w 1624012"/>
              <a:gd name="connsiteY107" fmla="*/ 519113 h 1533525"/>
              <a:gd name="connsiteX108" fmla="*/ 1033462 w 1624012"/>
              <a:gd name="connsiteY108" fmla="*/ 519113 h 1533525"/>
              <a:gd name="connsiteX109" fmla="*/ 1019175 w 1624012"/>
              <a:gd name="connsiteY109" fmla="*/ 552450 h 1533525"/>
              <a:gd name="connsiteX110" fmla="*/ 1035843 w 1624012"/>
              <a:gd name="connsiteY110" fmla="*/ 590550 h 1533525"/>
              <a:gd name="connsiteX111" fmla="*/ 1035843 w 1624012"/>
              <a:gd name="connsiteY111" fmla="*/ 607219 h 1533525"/>
              <a:gd name="connsiteX112" fmla="*/ 1045368 w 1624012"/>
              <a:gd name="connsiteY112" fmla="*/ 645319 h 1533525"/>
              <a:gd name="connsiteX113" fmla="*/ 1064418 w 1624012"/>
              <a:gd name="connsiteY113" fmla="*/ 645319 h 1533525"/>
              <a:gd name="connsiteX114" fmla="*/ 1078706 w 1624012"/>
              <a:gd name="connsiteY114" fmla="*/ 666750 h 1533525"/>
              <a:gd name="connsiteX115" fmla="*/ 1085850 w 1624012"/>
              <a:gd name="connsiteY115" fmla="*/ 688181 h 1533525"/>
              <a:gd name="connsiteX116" fmla="*/ 1076325 w 1624012"/>
              <a:gd name="connsiteY116" fmla="*/ 719138 h 1533525"/>
              <a:gd name="connsiteX117" fmla="*/ 1021556 w 1624012"/>
              <a:gd name="connsiteY117" fmla="*/ 714375 h 1533525"/>
              <a:gd name="connsiteX118" fmla="*/ 1002506 w 1624012"/>
              <a:gd name="connsiteY118" fmla="*/ 721519 h 1533525"/>
              <a:gd name="connsiteX119" fmla="*/ 995362 w 1624012"/>
              <a:gd name="connsiteY119" fmla="*/ 726281 h 1533525"/>
              <a:gd name="connsiteX120" fmla="*/ 995362 w 1624012"/>
              <a:gd name="connsiteY120" fmla="*/ 726281 h 1533525"/>
              <a:gd name="connsiteX121" fmla="*/ 923925 w 1624012"/>
              <a:gd name="connsiteY121" fmla="*/ 721519 h 1533525"/>
              <a:gd name="connsiteX122" fmla="*/ 940593 w 1624012"/>
              <a:gd name="connsiteY122" fmla="*/ 778669 h 1533525"/>
              <a:gd name="connsiteX123" fmla="*/ 938212 w 1624012"/>
              <a:gd name="connsiteY123" fmla="*/ 847725 h 1533525"/>
              <a:gd name="connsiteX124" fmla="*/ 954881 w 1624012"/>
              <a:gd name="connsiteY124" fmla="*/ 871538 h 1533525"/>
              <a:gd name="connsiteX125" fmla="*/ 997743 w 1624012"/>
              <a:gd name="connsiteY125" fmla="*/ 919163 h 1533525"/>
              <a:gd name="connsiteX126" fmla="*/ 1012031 w 1624012"/>
              <a:gd name="connsiteY126" fmla="*/ 954881 h 1533525"/>
              <a:gd name="connsiteX127" fmla="*/ 1031081 w 1624012"/>
              <a:gd name="connsiteY127" fmla="*/ 954881 h 1533525"/>
              <a:gd name="connsiteX128" fmla="*/ 1071562 w 1624012"/>
              <a:gd name="connsiteY128" fmla="*/ 940594 h 1533525"/>
              <a:gd name="connsiteX129" fmla="*/ 1102518 w 1624012"/>
              <a:gd name="connsiteY129" fmla="*/ 933450 h 1533525"/>
              <a:gd name="connsiteX130" fmla="*/ 1159668 w 1624012"/>
              <a:gd name="connsiteY130" fmla="*/ 997744 h 1533525"/>
              <a:gd name="connsiteX131" fmla="*/ 1178718 w 1624012"/>
              <a:gd name="connsiteY131" fmla="*/ 1052513 h 1533525"/>
              <a:gd name="connsiteX132" fmla="*/ 1190625 w 1624012"/>
              <a:gd name="connsiteY132" fmla="*/ 1081088 h 1533525"/>
              <a:gd name="connsiteX133" fmla="*/ 1212056 w 1624012"/>
              <a:gd name="connsiteY133" fmla="*/ 1109663 h 1533525"/>
              <a:gd name="connsiteX134" fmla="*/ 1231106 w 1624012"/>
              <a:gd name="connsiteY134" fmla="*/ 1102519 h 1533525"/>
              <a:gd name="connsiteX135" fmla="*/ 1231106 w 1624012"/>
              <a:gd name="connsiteY135" fmla="*/ 1131094 h 1533525"/>
              <a:gd name="connsiteX136" fmla="*/ 1233487 w 1624012"/>
              <a:gd name="connsiteY136" fmla="*/ 1145381 h 1533525"/>
              <a:gd name="connsiteX137" fmla="*/ 1266825 w 1624012"/>
              <a:gd name="connsiteY137" fmla="*/ 1181100 h 1533525"/>
              <a:gd name="connsiteX138" fmla="*/ 1233487 w 1624012"/>
              <a:gd name="connsiteY138" fmla="*/ 1181100 h 1533525"/>
              <a:gd name="connsiteX139" fmla="*/ 1228725 w 1624012"/>
              <a:gd name="connsiteY139" fmla="*/ 1223963 h 1533525"/>
              <a:gd name="connsiteX140" fmla="*/ 1226343 w 1624012"/>
              <a:gd name="connsiteY140" fmla="*/ 1243013 h 1533525"/>
              <a:gd name="connsiteX141" fmla="*/ 1216818 w 1624012"/>
              <a:gd name="connsiteY141" fmla="*/ 1264444 h 1533525"/>
              <a:gd name="connsiteX142" fmla="*/ 1190625 w 1624012"/>
              <a:gd name="connsiteY142" fmla="*/ 1238250 h 1533525"/>
              <a:gd name="connsiteX143" fmla="*/ 1157287 w 1624012"/>
              <a:gd name="connsiteY143" fmla="*/ 1209675 h 1533525"/>
              <a:gd name="connsiteX144" fmla="*/ 1131093 w 1624012"/>
              <a:gd name="connsiteY144" fmla="*/ 1185863 h 1533525"/>
              <a:gd name="connsiteX145" fmla="*/ 1107281 w 1624012"/>
              <a:gd name="connsiteY145" fmla="*/ 1219200 h 1533525"/>
              <a:gd name="connsiteX146" fmla="*/ 1104900 w 1624012"/>
              <a:gd name="connsiteY146" fmla="*/ 1264444 h 1533525"/>
              <a:gd name="connsiteX147" fmla="*/ 1062037 w 1624012"/>
              <a:gd name="connsiteY147" fmla="*/ 1259681 h 1533525"/>
              <a:gd name="connsiteX148" fmla="*/ 1026318 w 1624012"/>
              <a:gd name="connsiteY148" fmla="*/ 1288256 h 1533525"/>
              <a:gd name="connsiteX149" fmla="*/ 1007268 w 1624012"/>
              <a:gd name="connsiteY149" fmla="*/ 1240631 h 1533525"/>
              <a:gd name="connsiteX150" fmla="*/ 947737 w 1624012"/>
              <a:gd name="connsiteY150" fmla="*/ 1231106 h 1533525"/>
              <a:gd name="connsiteX151" fmla="*/ 921543 w 1624012"/>
              <a:gd name="connsiteY151" fmla="*/ 1297781 h 1533525"/>
              <a:gd name="connsiteX152" fmla="*/ 885825 w 1624012"/>
              <a:gd name="connsiteY152" fmla="*/ 1278731 h 1533525"/>
              <a:gd name="connsiteX153" fmla="*/ 816768 w 1624012"/>
              <a:gd name="connsiteY153" fmla="*/ 1295400 h 1533525"/>
              <a:gd name="connsiteX154" fmla="*/ 757237 w 1624012"/>
              <a:gd name="connsiteY154" fmla="*/ 1259681 h 1533525"/>
              <a:gd name="connsiteX155" fmla="*/ 742950 w 1624012"/>
              <a:gd name="connsiteY155" fmla="*/ 1312069 h 1533525"/>
              <a:gd name="connsiteX156" fmla="*/ 704850 w 1624012"/>
              <a:gd name="connsiteY156" fmla="*/ 1345406 h 1533525"/>
              <a:gd name="connsiteX157" fmla="*/ 692943 w 1624012"/>
              <a:gd name="connsiteY157" fmla="*/ 1366838 h 1533525"/>
              <a:gd name="connsiteX158" fmla="*/ 671512 w 1624012"/>
              <a:gd name="connsiteY158" fmla="*/ 1509713 h 1533525"/>
              <a:gd name="connsiteX159" fmla="*/ 633412 w 1624012"/>
              <a:gd name="connsiteY159" fmla="*/ 1490663 h 1533525"/>
              <a:gd name="connsiteX160" fmla="*/ 614362 w 1624012"/>
              <a:gd name="connsiteY160" fmla="*/ 1504950 h 1533525"/>
              <a:gd name="connsiteX161" fmla="*/ 581025 w 1624012"/>
              <a:gd name="connsiteY161" fmla="*/ 1531144 h 1533525"/>
              <a:gd name="connsiteX162" fmla="*/ 523875 w 1624012"/>
              <a:gd name="connsiteY162" fmla="*/ 1502569 h 1533525"/>
              <a:gd name="connsiteX163" fmla="*/ 514350 w 1624012"/>
              <a:gd name="connsiteY163" fmla="*/ 1490663 h 1533525"/>
              <a:gd name="connsiteX164" fmla="*/ 483393 w 1624012"/>
              <a:gd name="connsiteY164" fmla="*/ 1533525 h 1533525"/>
              <a:gd name="connsiteX0" fmla="*/ 483393 w 1574006"/>
              <a:gd name="connsiteY0" fmla="*/ 1533525 h 1533525"/>
              <a:gd name="connsiteX1" fmla="*/ 459581 w 1574006"/>
              <a:gd name="connsiteY1" fmla="*/ 1481138 h 1533525"/>
              <a:gd name="connsiteX2" fmla="*/ 438150 w 1574006"/>
              <a:gd name="connsiteY2" fmla="*/ 1471613 h 1533525"/>
              <a:gd name="connsiteX3" fmla="*/ 400050 w 1574006"/>
              <a:gd name="connsiteY3" fmla="*/ 1485900 h 1533525"/>
              <a:gd name="connsiteX4" fmla="*/ 338137 w 1574006"/>
              <a:gd name="connsiteY4" fmla="*/ 1490663 h 1533525"/>
              <a:gd name="connsiteX5" fmla="*/ 330993 w 1574006"/>
              <a:gd name="connsiteY5" fmla="*/ 1497806 h 1533525"/>
              <a:gd name="connsiteX6" fmla="*/ 271462 w 1574006"/>
              <a:gd name="connsiteY6" fmla="*/ 1471613 h 1533525"/>
              <a:gd name="connsiteX7" fmla="*/ 219075 w 1574006"/>
              <a:gd name="connsiteY7" fmla="*/ 1443038 h 1533525"/>
              <a:gd name="connsiteX8" fmla="*/ 138112 w 1574006"/>
              <a:gd name="connsiteY8" fmla="*/ 1402556 h 1533525"/>
              <a:gd name="connsiteX9" fmla="*/ 95250 w 1574006"/>
              <a:gd name="connsiteY9" fmla="*/ 1316831 h 1533525"/>
              <a:gd name="connsiteX10" fmla="*/ 80962 w 1574006"/>
              <a:gd name="connsiteY10" fmla="*/ 1288256 h 1533525"/>
              <a:gd name="connsiteX11" fmla="*/ 104775 w 1574006"/>
              <a:gd name="connsiteY11" fmla="*/ 1266825 h 1533525"/>
              <a:gd name="connsiteX12" fmla="*/ 76200 w 1574006"/>
              <a:gd name="connsiteY12" fmla="*/ 1212056 h 1533525"/>
              <a:gd name="connsiteX13" fmla="*/ 109537 w 1574006"/>
              <a:gd name="connsiteY13" fmla="*/ 1193006 h 1533525"/>
              <a:gd name="connsiteX14" fmla="*/ 140493 w 1574006"/>
              <a:gd name="connsiteY14" fmla="*/ 1143000 h 1533525"/>
              <a:gd name="connsiteX15" fmla="*/ 123825 w 1574006"/>
              <a:gd name="connsiteY15" fmla="*/ 1107281 h 1533525"/>
              <a:gd name="connsiteX16" fmla="*/ 178593 w 1574006"/>
              <a:gd name="connsiteY16" fmla="*/ 1107281 h 1533525"/>
              <a:gd name="connsiteX17" fmla="*/ 192881 w 1574006"/>
              <a:gd name="connsiteY17" fmla="*/ 1109663 h 1533525"/>
              <a:gd name="connsiteX18" fmla="*/ 159543 w 1574006"/>
              <a:gd name="connsiteY18" fmla="*/ 1064419 h 1533525"/>
              <a:gd name="connsiteX19" fmla="*/ 169068 w 1574006"/>
              <a:gd name="connsiteY19" fmla="*/ 1014413 h 1533525"/>
              <a:gd name="connsiteX20" fmla="*/ 123825 w 1574006"/>
              <a:gd name="connsiteY20" fmla="*/ 997744 h 1533525"/>
              <a:gd name="connsiteX21" fmla="*/ 61912 w 1574006"/>
              <a:gd name="connsiteY21" fmla="*/ 954881 h 1533525"/>
              <a:gd name="connsiteX22" fmla="*/ 45243 w 1574006"/>
              <a:gd name="connsiteY22" fmla="*/ 938213 h 1533525"/>
              <a:gd name="connsiteX23" fmla="*/ 64293 w 1574006"/>
              <a:gd name="connsiteY23" fmla="*/ 909638 h 1533525"/>
              <a:gd name="connsiteX24" fmla="*/ 47625 w 1574006"/>
              <a:gd name="connsiteY24" fmla="*/ 897731 h 1533525"/>
              <a:gd name="connsiteX25" fmla="*/ 47625 w 1574006"/>
              <a:gd name="connsiteY25" fmla="*/ 881063 h 1533525"/>
              <a:gd name="connsiteX26" fmla="*/ 26193 w 1574006"/>
              <a:gd name="connsiteY26" fmla="*/ 881063 h 1533525"/>
              <a:gd name="connsiteX27" fmla="*/ 7143 w 1574006"/>
              <a:gd name="connsiteY27" fmla="*/ 847725 h 1533525"/>
              <a:gd name="connsiteX28" fmla="*/ 0 w 1574006"/>
              <a:gd name="connsiteY28" fmla="*/ 816769 h 1533525"/>
              <a:gd name="connsiteX29" fmla="*/ 54768 w 1574006"/>
              <a:gd name="connsiteY29" fmla="*/ 800100 h 1533525"/>
              <a:gd name="connsiteX30" fmla="*/ 76200 w 1574006"/>
              <a:gd name="connsiteY30" fmla="*/ 788194 h 1533525"/>
              <a:gd name="connsiteX31" fmla="*/ 128587 w 1574006"/>
              <a:gd name="connsiteY31" fmla="*/ 821531 h 1533525"/>
              <a:gd name="connsiteX32" fmla="*/ 126206 w 1574006"/>
              <a:gd name="connsiteY32" fmla="*/ 800100 h 1533525"/>
              <a:gd name="connsiteX33" fmla="*/ 164306 w 1574006"/>
              <a:gd name="connsiteY33" fmla="*/ 795338 h 1533525"/>
              <a:gd name="connsiteX34" fmla="*/ 173831 w 1574006"/>
              <a:gd name="connsiteY34" fmla="*/ 759619 h 1533525"/>
              <a:gd name="connsiteX35" fmla="*/ 235743 w 1574006"/>
              <a:gd name="connsiteY35" fmla="*/ 764381 h 1533525"/>
              <a:gd name="connsiteX36" fmla="*/ 235743 w 1574006"/>
              <a:gd name="connsiteY36" fmla="*/ 764381 h 1533525"/>
              <a:gd name="connsiteX37" fmla="*/ 245268 w 1574006"/>
              <a:gd name="connsiteY37" fmla="*/ 704850 h 1533525"/>
              <a:gd name="connsiteX38" fmla="*/ 276225 w 1574006"/>
              <a:gd name="connsiteY38" fmla="*/ 666750 h 1533525"/>
              <a:gd name="connsiteX39" fmla="*/ 292893 w 1574006"/>
              <a:gd name="connsiteY39" fmla="*/ 638175 h 1533525"/>
              <a:gd name="connsiteX40" fmla="*/ 245268 w 1574006"/>
              <a:gd name="connsiteY40" fmla="*/ 602456 h 1533525"/>
              <a:gd name="connsiteX41" fmla="*/ 264318 w 1574006"/>
              <a:gd name="connsiteY41" fmla="*/ 585788 h 1533525"/>
              <a:gd name="connsiteX42" fmla="*/ 311943 w 1574006"/>
              <a:gd name="connsiteY42" fmla="*/ 602456 h 1533525"/>
              <a:gd name="connsiteX43" fmla="*/ 369093 w 1574006"/>
              <a:gd name="connsiteY43" fmla="*/ 573881 h 1533525"/>
              <a:gd name="connsiteX44" fmla="*/ 457200 w 1574006"/>
              <a:gd name="connsiteY44" fmla="*/ 545306 h 1533525"/>
              <a:gd name="connsiteX45" fmla="*/ 538162 w 1574006"/>
              <a:gd name="connsiteY45" fmla="*/ 578644 h 1533525"/>
              <a:gd name="connsiteX46" fmla="*/ 614362 w 1574006"/>
              <a:gd name="connsiteY46" fmla="*/ 550069 h 1533525"/>
              <a:gd name="connsiteX47" fmla="*/ 650081 w 1574006"/>
              <a:gd name="connsiteY47" fmla="*/ 552450 h 1533525"/>
              <a:gd name="connsiteX48" fmla="*/ 654843 w 1574006"/>
              <a:gd name="connsiteY48" fmla="*/ 523875 h 1533525"/>
              <a:gd name="connsiteX49" fmla="*/ 654843 w 1574006"/>
              <a:gd name="connsiteY49" fmla="*/ 490538 h 1533525"/>
              <a:gd name="connsiteX50" fmla="*/ 669131 w 1574006"/>
              <a:gd name="connsiteY50" fmla="*/ 469106 h 1533525"/>
              <a:gd name="connsiteX51" fmla="*/ 652462 w 1574006"/>
              <a:gd name="connsiteY51" fmla="*/ 450056 h 1533525"/>
              <a:gd name="connsiteX52" fmla="*/ 642937 w 1574006"/>
              <a:gd name="connsiteY52" fmla="*/ 411956 h 1533525"/>
              <a:gd name="connsiteX53" fmla="*/ 642937 w 1574006"/>
              <a:gd name="connsiteY53" fmla="*/ 330994 h 1533525"/>
              <a:gd name="connsiteX54" fmla="*/ 633412 w 1574006"/>
              <a:gd name="connsiteY54" fmla="*/ 319088 h 1533525"/>
              <a:gd name="connsiteX55" fmla="*/ 664368 w 1574006"/>
              <a:gd name="connsiteY55" fmla="*/ 285750 h 1533525"/>
              <a:gd name="connsiteX56" fmla="*/ 721518 w 1574006"/>
              <a:gd name="connsiteY56" fmla="*/ 292894 h 1533525"/>
              <a:gd name="connsiteX57" fmla="*/ 733425 w 1574006"/>
              <a:gd name="connsiteY57" fmla="*/ 264319 h 1533525"/>
              <a:gd name="connsiteX58" fmla="*/ 731043 w 1574006"/>
              <a:gd name="connsiteY58" fmla="*/ 228600 h 1533525"/>
              <a:gd name="connsiteX59" fmla="*/ 790575 w 1574006"/>
              <a:gd name="connsiteY59" fmla="*/ 192881 h 1533525"/>
              <a:gd name="connsiteX60" fmla="*/ 804862 w 1574006"/>
              <a:gd name="connsiteY60" fmla="*/ 166688 h 1533525"/>
              <a:gd name="connsiteX61" fmla="*/ 778668 w 1574006"/>
              <a:gd name="connsiteY61" fmla="*/ 128588 h 1533525"/>
              <a:gd name="connsiteX62" fmla="*/ 771525 w 1574006"/>
              <a:gd name="connsiteY62" fmla="*/ 104775 h 1533525"/>
              <a:gd name="connsiteX63" fmla="*/ 823912 w 1574006"/>
              <a:gd name="connsiteY63" fmla="*/ 97631 h 1533525"/>
              <a:gd name="connsiteX64" fmla="*/ 869156 w 1574006"/>
              <a:gd name="connsiteY64" fmla="*/ 52388 h 1533525"/>
              <a:gd name="connsiteX65" fmla="*/ 890587 w 1574006"/>
              <a:gd name="connsiteY65" fmla="*/ 23813 h 1533525"/>
              <a:gd name="connsiteX66" fmla="*/ 923925 w 1574006"/>
              <a:gd name="connsiteY66" fmla="*/ 9525 h 1533525"/>
              <a:gd name="connsiteX67" fmla="*/ 971550 w 1574006"/>
              <a:gd name="connsiteY67" fmla="*/ 0 h 1533525"/>
              <a:gd name="connsiteX68" fmla="*/ 971550 w 1574006"/>
              <a:gd name="connsiteY68" fmla="*/ 40481 h 1533525"/>
              <a:gd name="connsiteX69" fmla="*/ 950118 w 1574006"/>
              <a:gd name="connsiteY69" fmla="*/ 80963 h 1533525"/>
              <a:gd name="connsiteX70" fmla="*/ 950118 w 1574006"/>
              <a:gd name="connsiteY70" fmla="*/ 140494 h 1533525"/>
              <a:gd name="connsiteX71" fmla="*/ 969168 w 1574006"/>
              <a:gd name="connsiteY71" fmla="*/ 161925 h 1533525"/>
              <a:gd name="connsiteX72" fmla="*/ 1007268 w 1574006"/>
              <a:gd name="connsiteY72" fmla="*/ 188119 h 1533525"/>
              <a:gd name="connsiteX73" fmla="*/ 1019175 w 1574006"/>
              <a:gd name="connsiteY73" fmla="*/ 216694 h 1533525"/>
              <a:gd name="connsiteX74" fmla="*/ 1004887 w 1574006"/>
              <a:gd name="connsiteY74" fmla="*/ 226219 h 1533525"/>
              <a:gd name="connsiteX75" fmla="*/ 1057275 w 1574006"/>
              <a:gd name="connsiteY75" fmla="*/ 250031 h 1533525"/>
              <a:gd name="connsiteX76" fmla="*/ 1073943 w 1574006"/>
              <a:gd name="connsiteY76" fmla="*/ 228600 h 1533525"/>
              <a:gd name="connsiteX77" fmla="*/ 1083468 w 1574006"/>
              <a:gd name="connsiteY77" fmla="*/ 252413 h 1533525"/>
              <a:gd name="connsiteX78" fmla="*/ 1116806 w 1574006"/>
              <a:gd name="connsiteY78" fmla="*/ 252413 h 1533525"/>
              <a:gd name="connsiteX79" fmla="*/ 1123950 w 1574006"/>
              <a:gd name="connsiteY79" fmla="*/ 257175 h 1533525"/>
              <a:gd name="connsiteX80" fmla="*/ 1116806 w 1574006"/>
              <a:gd name="connsiteY80" fmla="*/ 276225 h 1533525"/>
              <a:gd name="connsiteX81" fmla="*/ 1088231 w 1574006"/>
              <a:gd name="connsiteY81" fmla="*/ 309563 h 1533525"/>
              <a:gd name="connsiteX82" fmla="*/ 1123950 w 1574006"/>
              <a:gd name="connsiteY82" fmla="*/ 333375 h 1533525"/>
              <a:gd name="connsiteX83" fmla="*/ 1135856 w 1574006"/>
              <a:gd name="connsiteY83" fmla="*/ 347663 h 1533525"/>
              <a:gd name="connsiteX84" fmla="*/ 1135856 w 1574006"/>
              <a:gd name="connsiteY84" fmla="*/ 376238 h 1533525"/>
              <a:gd name="connsiteX85" fmla="*/ 1119187 w 1574006"/>
              <a:gd name="connsiteY85" fmla="*/ 411956 h 1533525"/>
              <a:gd name="connsiteX86" fmla="*/ 1162050 w 1574006"/>
              <a:gd name="connsiteY86" fmla="*/ 423863 h 1533525"/>
              <a:gd name="connsiteX87" fmla="*/ 1233487 w 1574006"/>
              <a:gd name="connsiteY87" fmla="*/ 416719 h 1533525"/>
              <a:gd name="connsiteX88" fmla="*/ 1223962 w 1574006"/>
              <a:gd name="connsiteY88" fmla="*/ 385763 h 1533525"/>
              <a:gd name="connsiteX89" fmla="*/ 1188243 w 1574006"/>
              <a:gd name="connsiteY89" fmla="*/ 347663 h 1533525"/>
              <a:gd name="connsiteX90" fmla="*/ 1181100 w 1574006"/>
              <a:gd name="connsiteY90" fmla="*/ 333375 h 1533525"/>
              <a:gd name="connsiteX91" fmla="*/ 1207293 w 1574006"/>
              <a:gd name="connsiteY91" fmla="*/ 326231 h 1533525"/>
              <a:gd name="connsiteX92" fmla="*/ 1200150 w 1574006"/>
              <a:gd name="connsiteY92" fmla="*/ 302419 h 1533525"/>
              <a:gd name="connsiteX93" fmla="*/ 1223962 w 1574006"/>
              <a:gd name="connsiteY93" fmla="*/ 283369 h 1533525"/>
              <a:gd name="connsiteX94" fmla="*/ 1250156 w 1574006"/>
              <a:gd name="connsiteY94" fmla="*/ 242888 h 1533525"/>
              <a:gd name="connsiteX95" fmla="*/ 1302543 w 1574006"/>
              <a:gd name="connsiteY95" fmla="*/ 211931 h 1533525"/>
              <a:gd name="connsiteX96" fmla="*/ 1350168 w 1574006"/>
              <a:gd name="connsiteY96" fmla="*/ 123825 h 1533525"/>
              <a:gd name="connsiteX97" fmla="*/ 1543050 w 1574006"/>
              <a:gd name="connsiteY97" fmla="*/ 147638 h 1533525"/>
              <a:gd name="connsiteX98" fmla="*/ 1547812 w 1574006"/>
              <a:gd name="connsiteY98" fmla="*/ 121444 h 1533525"/>
              <a:gd name="connsiteX99" fmla="*/ 1574006 w 1574006"/>
              <a:gd name="connsiteY99" fmla="*/ 121444 h 1533525"/>
              <a:gd name="connsiteX100" fmla="*/ 1057275 w 1574006"/>
              <a:gd name="connsiteY100" fmla="*/ 264319 h 1533525"/>
              <a:gd name="connsiteX101" fmla="*/ 1062037 w 1574006"/>
              <a:gd name="connsiteY101" fmla="*/ 304800 h 1533525"/>
              <a:gd name="connsiteX102" fmla="*/ 995362 w 1574006"/>
              <a:gd name="connsiteY102" fmla="*/ 352425 h 1533525"/>
              <a:gd name="connsiteX103" fmla="*/ 973931 w 1574006"/>
              <a:gd name="connsiteY103" fmla="*/ 383381 h 1533525"/>
              <a:gd name="connsiteX104" fmla="*/ 1000125 w 1574006"/>
              <a:gd name="connsiteY104" fmla="*/ 428625 h 1533525"/>
              <a:gd name="connsiteX105" fmla="*/ 983456 w 1574006"/>
              <a:gd name="connsiteY105" fmla="*/ 466725 h 1533525"/>
              <a:gd name="connsiteX106" fmla="*/ 1000125 w 1574006"/>
              <a:gd name="connsiteY106" fmla="*/ 519113 h 1533525"/>
              <a:gd name="connsiteX107" fmla="*/ 1033462 w 1574006"/>
              <a:gd name="connsiteY107" fmla="*/ 519113 h 1533525"/>
              <a:gd name="connsiteX108" fmla="*/ 1019175 w 1574006"/>
              <a:gd name="connsiteY108" fmla="*/ 552450 h 1533525"/>
              <a:gd name="connsiteX109" fmla="*/ 1035843 w 1574006"/>
              <a:gd name="connsiteY109" fmla="*/ 590550 h 1533525"/>
              <a:gd name="connsiteX110" fmla="*/ 1035843 w 1574006"/>
              <a:gd name="connsiteY110" fmla="*/ 607219 h 1533525"/>
              <a:gd name="connsiteX111" fmla="*/ 1045368 w 1574006"/>
              <a:gd name="connsiteY111" fmla="*/ 645319 h 1533525"/>
              <a:gd name="connsiteX112" fmla="*/ 1064418 w 1574006"/>
              <a:gd name="connsiteY112" fmla="*/ 645319 h 1533525"/>
              <a:gd name="connsiteX113" fmla="*/ 1078706 w 1574006"/>
              <a:gd name="connsiteY113" fmla="*/ 666750 h 1533525"/>
              <a:gd name="connsiteX114" fmla="*/ 1085850 w 1574006"/>
              <a:gd name="connsiteY114" fmla="*/ 688181 h 1533525"/>
              <a:gd name="connsiteX115" fmla="*/ 1076325 w 1574006"/>
              <a:gd name="connsiteY115" fmla="*/ 719138 h 1533525"/>
              <a:gd name="connsiteX116" fmla="*/ 1021556 w 1574006"/>
              <a:gd name="connsiteY116" fmla="*/ 714375 h 1533525"/>
              <a:gd name="connsiteX117" fmla="*/ 1002506 w 1574006"/>
              <a:gd name="connsiteY117" fmla="*/ 721519 h 1533525"/>
              <a:gd name="connsiteX118" fmla="*/ 995362 w 1574006"/>
              <a:gd name="connsiteY118" fmla="*/ 726281 h 1533525"/>
              <a:gd name="connsiteX119" fmla="*/ 995362 w 1574006"/>
              <a:gd name="connsiteY119" fmla="*/ 726281 h 1533525"/>
              <a:gd name="connsiteX120" fmla="*/ 923925 w 1574006"/>
              <a:gd name="connsiteY120" fmla="*/ 721519 h 1533525"/>
              <a:gd name="connsiteX121" fmla="*/ 940593 w 1574006"/>
              <a:gd name="connsiteY121" fmla="*/ 778669 h 1533525"/>
              <a:gd name="connsiteX122" fmla="*/ 938212 w 1574006"/>
              <a:gd name="connsiteY122" fmla="*/ 847725 h 1533525"/>
              <a:gd name="connsiteX123" fmla="*/ 954881 w 1574006"/>
              <a:gd name="connsiteY123" fmla="*/ 871538 h 1533525"/>
              <a:gd name="connsiteX124" fmla="*/ 997743 w 1574006"/>
              <a:gd name="connsiteY124" fmla="*/ 919163 h 1533525"/>
              <a:gd name="connsiteX125" fmla="*/ 1012031 w 1574006"/>
              <a:gd name="connsiteY125" fmla="*/ 954881 h 1533525"/>
              <a:gd name="connsiteX126" fmla="*/ 1031081 w 1574006"/>
              <a:gd name="connsiteY126" fmla="*/ 954881 h 1533525"/>
              <a:gd name="connsiteX127" fmla="*/ 1071562 w 1574006"/>
              <a:gd name="connsiteY127" fmla="*/ 940594 h 1533525"/>
              <a:gd name="connsiteX128" fmla="*/ 1102518 w 1574006"/>
              <a:gd name="connsiteY128" fmla="*/ 933450 h 1533525"/>
              <a:gd name="connsiteX129" fmla="*/ 1159668 w 1574006"/>
              <a:gd name="connsiteY129" fmla="*/ 997744 h 1533525"/>
              <a:gd name="connsiteX130" fmla="*/ 1178718 w 1574006"/>
              <a:gd name="connsiteY130" fmla="*/ 1052513 h 1533525"/>
              <a:gd name="connsiteX131" fmla="*/ 1190625 w 1574006"/>
              <a:gd name="connsiteY131" fmla="*/ 1081088 h 1533525"/>
              <a:gd name="connsiteX132" fmla="*/ 1212056 w 1574006"/>
              <a:gd name="connsiteY132" fmla="*/ 1109663 h 1533525"/>
              <a:gd name="connsiteX133" fmla="*/ 1231106 w 1574006"/>
              <a:gd name="connsiteY133" fmla="*/ 1102519 h 1533525"/>
              <a:gd name="connsiteX134" fmla="*/ 1231106 w 1574006"/>
              <a:gd name="connsiteY134" fmla="*/ 1131094 h 1533525"/>
              <a:gd name="connsiteX135" fmla="*/ 1233487 w 1574006"/>
              <a:gd name="connsiteY135" fmla="*/ 1145381 h 1533525"/>
              <a:gd name="connsiteX136" fmla="*/ 1266825 w 1574006"/>
              <a:gd name="connsiteY136" fmla="*/ 1181100 h 1533525"/>
              <a:gd name="connsiteX137" fmla="*/ 1233487 w 1574006"/>
              <a:gd name="connsiteY137" fmla="*/ 1181100 h 1533525"/>
              <a:gd name="connsiteX138" fmla="*/ 1228725 w 1574006"/>
              <a:gd name="connsiteY138" fmla="*/ 1223963 h 1533525"/>
              <a:gd name="connsiteX139" fmla="*/ 1226343 w 1574006"/>
              <a:gd name="connsiteY139" fmla="*/ 1243013 h 1533525"/>
              <a:gd name="connsiteX140" fmla="*/ 1216818 w 1574006"/>
              <a:gd name="connsiteY140" fmla="*/ 1264444 h 1533525"/>
              <a:gd name="connsiteX141" fmla="*/ 1190625 w 1574006"/>
              <a:gd name="connsiteY141" fmla="*/ 1238250 h 1533525"/>
              <a:gd name="connsiteX142" fmla="*/ 1157287 w 1574006"/>
              <a:gd name="connsiteY142" fmla="*/ 1209675 h 1533525"/>
              <a:gd name="connsiteX143" fmla="*/ 1131093 w 1574006"/>
              <a:gd name="connsiteY143" fmla="*/ 1185863 h 1533525"/>
              <a:gd name="connsiteX144" fmla="*/ 1107281 w 1574006"/>
              <a:gd name="connsiteY144" fmla="*/ 1219200 h 1533525"/>
              <a:gd name="connsiteX145" fmla="*/ 1104900 w 1574006"/>
              <a:gd name="connsiteY145" fmla="*/ 1264444 h 1533525"/>
              <a:gd name="connsiteX146" fmla="*/ 1062037 w 1574006"/>
              <a:gd name="connsiteY146" fmla="*/ 1259681 h 1533525"/>
              <a:gd name="connsiteX147" fmla="*/ 1026318 w 1574006"/>
              <a:gd name="connsiteY147" fmla="*/ 1288256 h 1533525"/>
              <a:gd name="connsiteX148" fmla="*/ 1007268 w 1574006"/>
              <a:gd name="connsiteY148" fmla="*/ 1240631 h 1533525"/>
              <a:gd name="connsiteX149" fmla="*/ 947737 w 1574006"/>
              <a:gd name="connsiteY149" fmla="*/ 1231106 h 1533525"/>
              <a:gd name="connsiteX150" fmla="*/ 921543 w 1574006"/>
              <a:gd name="connsiteY150" fmla="*/ 1297781 h 1533525"/>
              <a:gd name="connsiteX151" fmla="*/ 885825 w 1574006"/>
              <a:gd name="connsiteY151" fmla="*/ 1278731 h 1533525"/>
              <a:gd name="connsiteX152" fmla="*/ 816768 w 1574006"/>
              <a:gd name="connsiteY152" fmla="*/ 1295400 h 1533525"/>
              <a:gd name="connsiteX153" fmla="*/ 757237 w 1574006"/>
              <a:gd name="connsiteY153" fmla="*/ 1259681 h 1533525"/>
              <a:gd name="connsiteX154" fmla="*/ 742950 w 1574006"/>
              <a:gd name="connsiteY154" fmla="*/ 1312069 h 1533525"/>
              <a:gd name="connsiteX155" fmla="*/ 704850 w 1574006"/>
              <a:gd name="connsiteY155" fmla="*/ 1345406 h 1533525"/>
              <a:gd name="connsiteX156" fmla="*/ 692943 w 1574006"/>
              <a:gd name="connsiteY156" fmla="*/ 1366838 h 1533525"/>
              <a:gd name="connsiteX157" fmla="*/ 671512 w 1574006"/>
              <a:gd name="connsiteY157" fmla="*/ 1509713 h 1533525"/>
              <a:gd name="connsiteX158" fmla="*/ 633412 w 1574006"/>
              <a:gd name="connsiteY158" fmla="*/ 1490663 h 1533525"/>
              <a:gd name="connsiteX159" fmla="*/ 614362 w 1574006"/>
              <a:gd name="connsiteY159" fmla="*/ 1504950 h 1533525"/>
              <a:gd name="connsiteX160" fmla="*/ 581025 w 1574006"/>
              <a:gd name="connsiteY160" fmla="*/ 1531144 h 1533525"/>
              <a:gd name="connsiteX161" fmla="*/ 523875 w 1574006"/>
              <a:gd name="connsiteY161" fmla="*/ 1502569 h 1533525"/>
              <a:gd name="connsiteX162" fmla="*/ 514350 w 1574006"/>
              <a:gd name="connsiteY162" fmla="*/ 1490663 h 1533525"/>
              <a:gd name="connsiteX163" fmla="*/ 483393 w 1574006"/>
              <a:gd name="connsiteY163" fmla="*/ 1533525 h 1533525"/>
              <a:gd name="connsiteX0" fmla="*/ 483393 w 1547812"/>
              <a:gd name="connsiteY0" fmla="*/ 1533525 h 1533525"/>
              <a:gd name="connsiteX1" fmla="*/ 459581 w 1547812"/>
              <a:gd name="connsiteY1" fmla="*/ 1481138 h 1533525"/>
              <a:gd name="connsiteX2" fmla="*/ 438150 w 1547812"/>
              <a:gd name="connsiteY2" fmla="*/ 1471613 h 1533525"/>
              <a:gd name="connsiteX3" fmla="*/ 400050 w 1547812"/>
              <a:gd name="connsiteY3" fmla="*/ 1485900 h 1533525"/>
              <a:gd name="connsiteX4" fmla="*/ 338137 w 1547812"/>
              <a:gd name="connsiteY4" fmla="*/ 1490663 h 1533525"/>
              <a:gd name="connsiteX5" fmla="*/ 330993 w 1547812"/>
              <a:gd name="connsiteY5" fmla="*/ 1497806 h 1533525"/>
              <a:gd name="connsiteX6" fmla="*/ 271462 w 1547812"/>
              <a:gd name="connsiteY6" fmla="*/ 1471613 h 1533525"/>
              <a:gd name="connsiteX7" fmla="*/ 219075 w 1547812"/>
              <a:gd name="connsiteY7" fmla="*/ 1443038 h 1533525"/>
              <a:gd name="connsiteX8" fmla="*/ 138112 w 1547812"/>
              <a:gd name="connsiteY8" fmla="*/ 1402556 h 1533525"/>
              <a:gd name="connsiteX9" fmla="*/ 95250 w 1547812"/>
              <a:gd name="connsiteY9" fmla="*/ 1316831 h 1533525"/>
              <a:gd name="connsiteX10" fmla="*/ 80962 w 1547812"/>
              <a:gd name="connsiteY10" fmla="*/ 1288256 h 1533525"/>
              <a:gd name="connsiteX11" fmla="*/ 104775 w 1547812"/>
              <a:gd name="connsiteY11" fmla="*/ 1266825 h 1533525"/>
              <a:gd name="connsiteX12" fmla="*/ 76200 w 1547812"/>
              <a:gd name="connsiteY12" fmla="*/ 1212056 h 1533525"/>
              <a:gd name="connsiteX13" fmla="*/ 109537 w 1547812"/>
              <a:gd name="connsiteY13" fmla="*/ 1193006 h 1533525"/>
              <a:gd name="connsiteX14" fmla="*/ 140493 w 1547812"/>
              <a:gd name="connsiteY14" fmla="*/ 1143000 h 1533525"/>
              <a:gd name="connsiteX15" fmla="*/ 123825 w 1547812"/>
              <a:gd name="connsiteY15" fmla="*/ 1107281 h 1533525"/>
              <a:gd name="connsiteX16" fmla="*/ 178593 w 1547812"/>
              <a:gd name="connsiteY16" fmla="*/ 1107281 h 1533525"/>
              <a:gd name="connsiteX17" fmla="*/ 192881 w 1547812"/>
              <a:gd name="connsiteY17" fmla="*/ 1109663 h 1533525"/>
              <a:gd name="connsiteX18" fmla="*/ 159543 w 1547812"/>
              <a:gd name="connsiteY18" fmla="*/ 1064419 h 1533525"/>
              <a:gd name="connsiteX19" fmla="*/ 169068 w 1547812"/>
              <a:gd name="connsiteY19" fmla="*/ 1014413 h 1533525"/>
              <a:gd name="connsiteX20" fmla="*/ 123825 w 1547812"/>
              <a:gd name="connsiteY20" fmla="*/ 997744 h 1533525"/>
              <a:gd name="connsiteX21" fmla="*/ 61912 w 1547812"/>
              <a:gd name="connsiteY21" fmla="*/ 954881 h 1533525"/>
              <a:gd name="connsiteX22" fmla="*/ 45243 w 1547812"/>
              <a:gd name="connsiteY22" fmla="*/ 938213 h 1533525"/>
              <a:gd name="connsiteX23" fmla="*/ 64293 w 1547812"/>
              <a:gd name="connsiteY23" fmla="*/ 909638 h 1533525"/>
              <a:gd name="connsiteX24" fmla="*/ 47625 w 1547812"/>
              <a:gd name="connsiteY24" fmla="*/ 897731 h 1533525"/>
              <a:gd name="connsiteX25" fmla="*/ 47625 w 1547812"/>
              <a:gd name="connsiteY25" fmla="*/ 881063 h 1533525"/>
              <a:gd name="connsiteX26" fmla="*/ 26193 w 1547812"/>
              <a:gd name="connsiteY26" fmla="*/ 881063 h 1533525"/>
              <a:gd name="connsiteX27" fmla="*/ 7143 w 1547812"/>
              <a:gd name="connsiteY27" fmla="*/ 847725 h 1533525"/>
              <a:gd name="connsiteX28" fmla="*/ 0 w 1547812"/>
              <a:gd name="connsiteY28" fmla="*/ 816769 h 1533525"/>
              <a:gd name="connsiteX29" fmla="*/ 54768 w 1547812"/>
              <a:gd name="connsiteY29" fmla="*/ 800100 h 1533525"/>
              <a:gd name="connsiteX30" fmla="*/ 76200 w 1547812"/>
              <a:gd name="connsiteY30" fmla="*/ 788194 h 1533525"/>
              <a:gd name="connsiteX31" fmla="*/ 128587 w 1547812"/>
              <a:gd name="connsiteY31" fmla="*/ 821531 h 1533525"/>
              <a:gd name="connsiteX32" fmla="*/ 126206 w 1547812"/>
              <a:gd name="connsiteY32" fmla="*/ 800100 h 1533525"/>
              <a:gd name="connsiteX33" fmla="*/ 164306 w 1547812"/>
              <a:gd name="connsiteY33" fmla="*/ 795338 h 1533525"/>
              <a:gd name="connsiteX34" fmla="*/ 173831 w 1547812"/>
              <a:gd name="connsiteY34" fmla="*/ 759619 h 1533525"/>
              <a:gd name="connsiteX35" fmla="*/ 235743 w 1547812"/>
              <a:gd name="connsiteY35" fmla="*/ 764381 h 1533525"/>
              <a:gd name="connsiteX36" fmla="*/ 235743 w 1547812"/>
              <a:gd name="connsiteY36" fmla="*/ 764381 h 1533525"/>
              <a:gd name="connsiteX37" fmla="*/ 245268 w 1547812"/>
              <a:gd name="connsiteY37" fmla="*/ 704850 h 1533525"/>
              <a:gd name="connsiteX38" fmla="*/ 276225 w 1547812"/>
              <a:gd name="connsiteY38" fmla="*/ 666750 h 1533525"/>
              <a:gd name="connsiteX39" fmla="*/ 292893 w 1547812"/>
              <a:gd name="connsiteY39" fmla="*/ 638175 h 1533525"/>
              <a:gd name="connsiteX40" fmla="*/ 245268 w 1547812"/>
              <a:gd name="connsiteY40" fmla="*/ 602456 h 1533525"/>
              <a:gd name="connsiteX41" fmla="*/ 264318 w 1547812"/>
              <a:gd name="connsiteY41" fmla="*/ 585788 h 1533525"/>
              <a:gd name="connsiteX42" fmla="*/ 311943 w 1547812"/>
              <a:gd name="connsiteY42" fmla="*/ 602456 h 1533525"/>
              <a:gd name="connsiteX43" fmla="*/ 369093 w 1547812"/>
              <a:gd name="connsiteY43" fmla="*/ 573881 h 1533525"/>
              <a:gd name="connsiteX44" fmla="*/ 457200 w 1547812"/>
              <a:gd name="connsiteY44" fmla="*/ 545306 h 1533525"/>
              <a:gd name="connsiteX45" fmla="*/ 538162 w 1547812"/>
              <a:gd name="connsiteY45" fmla="*/ 578644 h 1533525"/>
              <a:gd name="connsiteX46" fmla="*/ 614362 w 1547812"/>
              <a:gd name="connsiteY46" fmla="*/ 550069 h 1533525"/>
              <a:gd name="connsiteX47" fmla="*/ 650081 w 1547812"/>
              <a:gd name="connsiteY47" fmla="*/ 552450 h 1533525"/>
              <a:gd name="connsiteX48" fmla="*/ 654843 w 1547812"/>
              <a:gd name="connsiteY48" fmla="*/ 523875 h 1533525"/>
              <a:gd name="connsiteX49" fmla="*/ 654843 w 1547812"/>
              <a:gd name="connsiteY49" fmla="*/ 490538 h 1533525"/>
              <a:gd name="connsiteX50" fmla="*/ 669131 w 1547812"/>
              <a:gd name="connsiteY50" fmla="*/ 469106 h 1533525"/>
              <a:gd name="connsiteX51" fmla="*/ 652462 w 1547812"/>
              <a:gd name="connsiteY51" fmla="*/ 450056 h 1533525"/>
              <a:gd name="connsiteX52" fmla="*/ 642937 w 1547812"/>
              <a:gd name="connsiteY52" fmla="*/ 411956 h 1533525"/>
              <a:gd name="connsiteX53" fmla="*/ 642937 w 1547812"/>
              <a:gd name="connsiteY53" fmla="*/ 330994 h 1533525"/>
              <a:gd name="connsiteX54" fmla="*/ 633412 w 1547812"/>
              <a:gd name="connsiteY54" fmla="*/ 319088 h 1533525"/>
              <a:gd name="connsiteX55" fmla="*/ 664368 w 1547812"/>
              <a:gd name="connsiteY55" fmla="*/ 285750 h 1533525"/>
              <a:gd name="connsiteX56" fmla="*/ 721518 w 1547812"/>
              <a:gd name="connsiteY56" fmla="*/ 292894 h 1533525"/>
              <a:gd name="connsiteX57" fmla="*/ 733425 w 1547812"/>
              <a:gd name="connsiteY57" fmla="*/ 264319 h 1533525"/>
              <a:gd name="connsiteX58" fmla="*/ 731043 w 1547812"/>
              <a:gd name="connsiteY58" fmla="*/ 228600 h 1533525"/>
              <a:gd name="connsiteX59" fmla="*/ 790575 w 1547812"/>
              <a:gd name="connsiteY59" fmla="*/ 192881 h 1533525"/>
              <a:gd name="connsiteX60" fmla="*/ 804862 w 1547812"/>
              <a:gd name="connsiteY60" fmla="*/ 166688 h 1533525"/>
              <a:gd name="connsiteX61" fmla="*/ 778668 w 1547812"/>
              <a:gd name="connsiteY61" fmla="*/ 128588 h 1533525"/>
              <a:gd name="connsiteX62" fmla="*/ 771525 w 1547812"/>
              <a:gd name="connsiteY62" fmla="*/ 104775 h 1533525"/>
              <a:gd name="connsiteX63" fmla="*/ 823912 w 1547812"/>
              <a:gd name="connsiteY63" fmla="*/ 97631 h 1533525"/>
              <a:gd name="connsiteX64" fmla="*/ 869156 w 1547812"/>
              <a:gd name="connsiteY64" fmla="*/ 52388 h 1533525"/>
              <a:gd name="connsiteX65" fmla="*/ 890587 w 1547812"/>
              <a:gd name="connsiteY65" fmla="*/ 23813 h 1533525"/>
              <a:gd name="connsiteX66" fmla="*/ 923925 w 1547812"/>
              <a:gd name="connsiteY66" fmla="*/ 9525 h 1533525"/>
              <a:gd name="connsiteX67" fmla="*/ 971550 w 1547812"/>
              <a:gd name="connsiteY67" fmla="*/ 0 h 1533525"/>
              <a:gd name="connsiteX68" fmla="*/ 971550 w 1547812"/>
              <a:gd name="connsiteY68" fmla="*/ 40481 h 1533525"/>
              <a:gd name="connsiteX69" fmla="*/ 950118 w 1547812"/>
              <a:gd name="connsiteY69" fmla="*/ 80963 h 1533525"/>
              <a:gd name="connsiteX70" fmla="*/ 950118 w 1547812"/>
              <a:gd name="connsiteY70" fmla="*/ 140494 h 1533525"/>
              <a:gd name="connsiteX71" fmla="*/ 969168 w 1547812"/>
              <a:gd name="connsiteY71" fmla="*/ 161925 h 1533525"/>
              <a:gd name="connsiteX72" fmla="*/ 1007268 w 1547812"/>
              <a:gd name="connsiteY72" fmla="*/ 188119 h 1533525"/>
              <a:gd name="connsiteX73" fmla="*/ 1019175 w 1547812"/>
              <a:gd name="connsiteY73" fmla="*/ 216694 h 1533525"/>
              <a:gd name="connsiteX74" fmla="*/ 1004887 w 1547812"/>
              <a:gd name="connsiteY74" fmla="*/ 226219 h 1533525"/>
              <a:gd name="connsiteX75" fmla="*/ 1057275 w 1547812"/>
              <a:gd name="connsiteY75" fmla="*/ 250031 h 1533525"/>
              <a:gd name="connsiteX76" fmla="*/ 1073943 w 1547812"/>
              <a:gd name="connsiteY76" fmla="*/ 228600 h 1533525"/>
              <a:gd name="connsiteX77" fmla="*/ 1083468 w 1547812"/>
              <a:gd name="connsiteY77" fmla="*/ 252413 h 1533525"/>
              <a:gd name="connsiteX78" fmla="*/ 1116806 w 1547812"/>
              <a:gd name="connsiteY78" fmla="*/ 252413 h 1533525"/>
              <a:gd name="connsiteX79" fmla="*/ 1123950 w 1547812"/>
              <a:gd name="connsiteY79" fmla="*/ 257175 h 1533525"/>
              <a:gd name="connsiteX80" fmla="*/ 1116806 w 1547812"/>
              <a:gd name="connsiteY80" fmla="*/ 276225 h 1533525"/>
              <a:gd name="connsiteX81" fmla="*/ 1088231 w 1547812"/>
              <a:gd name="connsiteY81" fmla="*/ 309563 h 1533525"/>
              <a:gd name="connsiteX82" fmla="*/ 1123950 w 1547812"/>
              <a:gd name="connsiteY82" fmla="*/ 333375 h 1533525"/>
              <a:gd name="connsiteX83" fmla="*/ 1135856 w 1547812"/>
              <a:gd name="connsiteY83" fmla="*/ 347663 h 1533525"/>
              <a:gd name="connsiteX84" fmla="*/ 1135856 w 1547812"/>
              <a:gd name="connsiteY84" fmla="*/ 376238 h 1533525"/>
              <a:gd name="connsiteX85" fmla="*/ 1119187 w 1547812"/>
              <a:gd name="connsiteY85" fmla="*/ 411956 h 1533525"/>
              <a:gd name="connsiteX86" fmla="*/ 1162050 w 1547812"/>
              <a:gd name="connsiteY86" fmla="*/ 423863 h 1533525"/>
              <a:gd name="connsiteX87" fmla="*/ 1233487 w 1547812"/>
              <a:gd name="connsiteY87" fmla="*/ 416719 h 1533525"/>
              <a:gd name="connsiteX88" fmla="*/ 1223962 w 1547812"/>
              <a:gd name="connsiteY88" fmla="*/ 385763 h 1533525"/>
              <a:gd name="connsiteX89" fmla="*/ 1188243 w 1547812"/>
              <a:gd name="connsiteY89" fmla="*/ 347663 h 1533525"/>
              <a:gd name="connsiteX90" fmla="*/ 1181100 w 1547812"/>
              <a:gd name="connsiteY90" fmla="*/ 333375 h 1533525"/>
              <a:gd name="connsiteX91" fmla="*/ 1207293 w 1547812"/>
              <a:gd name="connsiteY91" fmla="*/ 326231 h 1533525"/>
              <a:gd name="connsiteX92" fmla="*/ 1200150 w 1547812"/>
              <a:gd name="connsiteY92" fmla="*/ 302419 h 1533525"/>
              <a:gd name="connsiteX93" fmla="*/ 1223962 w 1547812"/>
              <a:gd name="connsiteY93" fmla="*/ 283369 h 1533525"/>
              <a:gd name="connsiteX94" fmla="*/ 1250156 w 1547812"/>
              <a:gd name="connsiteY94" fmla="*/ 242888 h 1533525"/>
              <a:gd name="connsiteX95" fmla="*/ 1302543 w 1547812"/>
              <a:gd name="connsiteY95" fmla="*/ 211931 h 1533525"/>
              <a:gd name="connsiteX96" fmla="*/ 1350168 w 1547812"/>
              <a:gd name="connsiteY96" fmla="*/ 123825 h 1533525"/>
              <a:gd name="connsiteX97" fmla="*/ 1543050 w 1547812"/>
              <a:gd name="connsiteY97" fmla="*/ 147638 h 1533525"/>
              <a:gd name="connsiteX98" fmla="*/ 1547812 w 1547812"/>
              <a:gd name="connsiteY98" fmla="*/ 121444 h 1533525"/>
              <a:gd name="connsiteX99" fmla="*/ 1057275 w 1547812"/>
              <a:gd name="connsiteY99" fmla="*/ 264319 h 1533525"/>
              <a:gd name="connsiteX100" fmla="*/ 1062037 w 1547812"/>
              <a:gd name="connsiteY100" fmla="*/ 304800 h 1533525"/>
              <a:gd name="connsiteX101" fmla="*/ 995362 w 1547812"/>
              <a:gd name="connsiteY101" fmla="*/ 352425 h 1533525"/>
              <a:gd name="connsiteX102" fmla="*/ 973931 w 1547812"/>
              <a:gd name="connsiteY102" fmla="*/ 383381 h 1533525"/>
              <a:gd name="connsiteX103" fmla="*/ 1000125 w 1547812"/>
              <a:gd name="connsiteY103" fmla="*/ 428625 h 1533525"/>
              <a:gd name="connsiteX104" fmla="*/ 983456 w 1547812"/>
              <a:gd name="connsiteY104" fmla="*/ 466725 h 1533525"/>
              <a:gd name="connsiteX105" fmla="*/ 1000125 w 1547812"/>
              <a:gd name="connsiteY105" fmla="*/ 519113 h 1533525"/>
              <a:gd name="connsiteX106" fmla="*/ 1033462 w 1547812"/>
              <a:gd name="connsiteY106" fmla="*/ 519113 h 1533525"/>
              <a:gd name="connsiteX107" fmla="*/ 1019175 w 1547812"/>
              <a:gd name="connsiteY107" fmla="*/ 552450 h 1533525"/>
              <a:gd name="connsiteX108" fmla="*/ 1035843 w 1547812"/>
              <a:gd name="connsiteY108" fmla="*/ 590550 h 1533525"/>
              <a:gd name="connsiteX109" fmla="*/ 1035843 w 1547812"/>
              <a:gd name="connsiteY109" fmla="*/ 607219 h 1533525"/>
              <a:gd name="connsiteX110" fmla="*/ 1045368 w 1547812"/>
              <a:gd name="connsiteY110" fmla="*/ 645319 h 1533525"/>
              <a:gd name="connsiteX111" fmla="*/ 1064418 w 1547812"/>
              <a:gd name="connsiteY111" fmla="*/ 645319 h 1533525"/>
              <a:gd name="connsiteX112" fmla="*/ 1078706 w 1547812"/>
              <a:gd name="connsiteY112" fmla="*/ 666750 h 1533525"/>
              <a:gd name="connsiteX113" fmla="*/ 1085850 w 1547812"/>
              <a:gd name="connsiteY113" fmla="*/ 688181 h 1533525"/>
              <a:gd name="connsiteX114" fmla="*/ 1076325 w 1547812"/>
              <a:gd name="connsiteY114" fmla="*/ 719138 h 1533525"/>
              <a:gd name="connsiteX115" fmla="*/ 1021556 w 1547812"/>
              <a:gd name="connsiteY115" fmla="*/ 714375 h 1533525"/>
              <a:gd name="connsiteX116" fmla="*/ 1002506 w 1547812"/>
              <a:gd name="connsiteY116" fmla="*/ 721519 h 1533525"/>
              <a:gd name="connsiteX117" fmla="*/ 995362 w 1547812"/>
              <a:gd name="connsiteY117" fmla="*/ 726281 h 1533525"/>
              <a:gd name="connsiteX118" fmla="*/ 995362 w 1547812"/>
              <a:gd name="connsiteY118" fmla="*/ 726281 h 1533525"/>
              <a:gd name="connsiteX119" fmla="*/ 923925 w 1547812"/>
              <a:gd name="connsiteY119" fmla="*/ 721519 h 1533525"/>
              <a:gd name="connsiteX120" fmla="*/ 940593 w 1547812"/>
              <a:gd name="connsiteY120" fmla="*/ 778669 h 1533525"/>
              <a:gd name="connsiteX121" fmla="*/ 938212 w 1547812"/>
              <a:gd name="connsiteY121" fmla="*/ 847725 h 1533525"/>
              <a:gd name="connsiteX122" fmla="*/ 954881 w 1547812"/>
              <a:gd name="connsiteY122" fmla="*/ 871538 h 1533525"/>
              <a:gd name="connsiteX123" fmla="*/ 997743 w 1547812"/>
              <a:gd name="connsiteY123" fmla="*/ 919163 h 1533525"/>
              <a:gd name="connsiteX124" fmla="*/ 1012031 w 1547812"/>
              <a:gd name="connsiteY124" fmla="*/ 954881 h 1533525"/>
              <a:gd name="connsiteX125" fmla="*/ 1031081 w 1547812"/>
              <a:gd name="connsiteY125" fmla="*/ 954881 h 1533525"/>
              <a:gd name="connsiteX126" fmla="*/ 1071562 w 1547812"/>
              <a:gd name="connsiteY126" fmla="*/ 940594 h 1533525"/>
              <a:gd name="connsiteX127" fmla="*/ 1102518 w 1547812"/>
              <a:gd name="connsiteY127" fmla="*/ 933450 h 1533525"/>
              <a:gd name="connsiteX128" fmla="*/ 1159668 w 1547812"/>
              <a:gd name="connsiteY128" fmla="*/ 997744 h 1533525"/>
              <a:gd name="connsiteX129" fmla="*/ 1178718 w 1547812"/>
              <a:gd name="connsiteY129" fmla="*/ 1052513 h 1533525"/>
              <a:gd name="connsiteX130" fmla="*/ 1190625 w 1547812"/>
              <a:gd name="connsiteY130" fmla="*/ 1081088 h 1533525"/>
              <a:gd name="connsiteX131" fmla="*/ 1212056 w 1547812"/>
              <a:gd name="connsiteY131" fmla="*/ 1109663 h 1533525"/>
              <a:gd name="connsiteX132" fmla="*/ 1231106 w 1547812"/>
              <a:gd name="connsiteY132" fmla="*/ 1102519 h 1533525"/>
              <a:gd name="connsiteX133" fmla="*/ 1231106 w 1547812"/>
              <a:gd name="connsiteY133" fmla="*/ 1131094 h 1533525"/>
              <a:gd name="connsiteX134" fmla="*/ 1233487 w 1547812"/>
              <a:gd name="connsiteY134" fmla="*/ 1145381 h 1533525"/>
              <a:gd name="connsiteX135" fmla="*/ 1266825 w 1547812"/>
              <a:gd name="connsiteY135" fmla="*/ 1181100 h 1533525"/>
              <a:gd name="connsiteX136" fmla="*/ 1233487 w 1547812"/>
              <a:gd name="connsiteY136" fmla="*/ 1181100 h 1533525"/>
              <a:gd name="connsiteX137" fmla="*/ 1228725 w 1547812"/>
              <a:gd name="connsiteY137" fmla="*/ 1223963 h 1533525"/>
              <a:gd name="connsiteX138" fmla="*/ 1226343 w 1547812"/>
              <a:gd name="connsiteY138" fmla="*/ 1243013 h 1533525"/>
              <a:gd name="connsiteX139" fmla="*/ 1216818 w 1547812"/>
              <a:gd name="connsiteY139" fmla="*/ 1264444 h 1533525"/>
              <a:gd name="connsiteX140" fmla="*/ 1190625 w 1547812"/>
              <a:gd name="connsiteY140" fmla="*/ 1238250 h 1533525"/>
              <a:gd name="connsiteX141" fmla="*/ 1157287 w 1547812"/>
              <a:gd name="connsiteY141" fmla="*/ 1209675 h 1533525"/>
              <a:gd name="connsiteX142" fmla="*/ 1131093 w 1547812"/>
              <a:gd name="connsiteY142" fmla="*/ 1185863 h 1533525"/>
              <a:gd name="connsiteX143" fmla="*/ 1107281 w 1547812"/>
              <a:gd name="connsiteY143" fmla="*/ 1219200 h 1533525"/>
              <a:gd name="connsiteX144" fmla="*/ 1104900 w 1547812"/>
              <a:gd name="connsiteY144" fmla="*/ 1264444 h 1533525"/>
              <a:gd name="connsiteX145" fmla="*/ 1062037 w 1547812"/>
              <a:gd name="connsiteY145" fmla="*/ 1259681 h 1533525"/>
              <a:gd name="connsiteX146" fmla="*/ 1026318 w 1547812"/>
              <a:gd name="connsiteY146" fmla="*/ 1288256 h 1533525"/>
              <a:gd name="connsiteX147" fmla="*/ 1007268 w 1547812"/>
              <a:gd name="connsiteY147" fmla="*/ 1240631 h 1533525"/>
              <a:gd name="connsiteX148" fmla="*/ 947737 w 1547812"/>
              <a:gd name="connsiteY148" fmla="*/ 1231106 h 1533525"/>
              <a:gd name="connsiteX149" fmla="*/ 921543 w 1547812"/>
              <a:gd name="connsiteY149" fmla="*/ 1297781 h 1533525"/>
              <a:gd name="connsiteX150" fmla="*/ 885825 w 1547812"/>
              <a:gd name="connsiteY150" fmla="*/ 1278731 h 1533525"/>
              <a:gd name="connsiteX151" fmla="*/ 816768 w 1547812"/>
              <a:gd name="connsiteY151" fmla="*/ 1295400 h 1533525"/>
              <a:gd name="connsiteX152" fmla="*/ 757237 w 1547812"/>
              <a:gd name="connsiteY152" fmla="*/ 1259681 h 1533525"/>
              <a:gd name="connsiteX153" fmla="*/ 742950 w 1547812"/>
              <a:gd name="connsiteY153" fmla="*/ 1312069 h 1533525"/>
              <a:gd name="connsiteX154" fmla="*/ 704850 w 1547812"/>
              <a:gd name="connsiteY154" fmla="*/ 1345406 h 1533525"/>
              <a:gd name="connsiteX155" fmla="*/ 692943 w 1547812"/>
              <a:gd name="connsiteY155" fmla="*/ 1366838 h 1533525"/>
              <a:gd name="connsiteX156" fmla="*/ 671512 w 1547812"/>
              <a:gd name="connsiteY156" fmla="*/ 1509713 h 1533525"/>
              <a:gd name="connsiteX157" fmla="*/ 633412 w 1547812"/>
              <a:gd name="connsiteY157" fmla="*/ 1490663 h 1533525"/>
              <a:gd name="connsiteX158" fmla="*/ 614362 w 1547812"/>
              <a:gd name="connsiteY158" fmla="*/ 1504950 h 1533525"/>
              <a:gd name="connsiteX159" fmla="*/ 581025 w 1547812"/>
              <a:gd name="connsiteY159" fmla="*/ 1531144 h 1533525"/>
              <a:gd name="connsiteX160" fmla="*/ 523875 w 1547812"/>
              <a:gd name="connsiteY160" fmla="*/ 1502569 h 1533525"/>
              <a:gd name="connsiteX161" fmla="*/ 514350 w 1547812"/>
              <a:gd name="connsiteY161" fmla="*/ 1490663 h 1533525"/>
              <a:gd name="connsiteX162" fmla="*/ 483393 w 1547812"/>
              <a:gd name="connsiteY162" fmla="*/ 1533525 h 1533525"/>
              <a:gd name="connsiteX0" fmla="*/ 483393 w 1543050"/>
              <a:gd name="connsiteY0" fmla="*/ 1533525 h 1533525"/>
              <a:gd name="connsiteX1" fmla="*/ 459581 w 1543050"/>
              <a:gd name="connsiteY1" fmla="*/ 1481138 h 1533525"/>
              <a:gd name="connsiteX2" fmla="*/ 438150 w 1543050"/>
              <a:gd name="connsiteY2" fmla="*/ 1471613 h 1533525"/>
              <a:gd name="connsiteX3" fmla="*/ 400050 w 1543050"/>
              <a:gd name="connsiteY3" fmla="*/ 1485900 h 1533525"/>
              <a:gd name="connsiteX4" fmla="*/ 338137 w 1543050"/>
              <a:gd name="connsiteY4" fmla="*/ 1490663 h 1533525"/>
              <a:gd name="connsiteX5" fmla="*/ 330993 w 1543050"/>
              <a:gd name="connsiteY5" fmla="*/ 1497806 h 1533525"/>
              <a:gd name="connsiteX6" fmla="*/ 271462 w 1543050"/>
              <a:gd name="connsiteY6" fmla="*/ 1471613 h 1533525"/>
              <a:gd name="connsiteX7" fmla="*/ 219075 w 1543050"/>
              <a:gd name="connsiteY7" fmla="*/ 1443038 h 1533525"/>
              <a:gd name="connsiteX8" fmla="*/ 138112 w 1543050"/>
              <a:gd name="connsiteY8" fmla="*/ 1402556 h 1533525"/>
              <a:gd name="connsiteX9" fmla="*/ 95250 w 1543050"/>
              <a:gd name="connsiteY9" fmla="*/ 1316831 h 1533525"/>
              <a:gd name="connsiteX10" fmla="*/ 80962 w 1543050"/>
              <a:gd name="connsiteY10" fmla="*/ 1288256 h 1533525"/>
              <a:gd name="connsiteX11" fmla="*/ 104775 w 1543050"/>
              <a:gd name="connsiteY11" fmla="*/ 1266825 h 1533525"/>
              <a:gd name="connsiteX12" fmla="*/ 76200 w 1543050"/>
              <a:gd name="connsiteY12" fmla="*/ 1212056 h 1533525"/>
              <a:gd name="connsiteX13" fmla="*/ 109537 w 1543050"/>
              <a:gd name="connsiteY13" fmla="*/ 1193006 h 1533525"/>
              <a:gd name="connsiteX14" fmla="*/ 140493 w 1543050"/>
              <a:gd name="connsiteY14" fmla="*/ 1143000 h 1533525"/>
              <a:gd name="connsiteX15" fmla="*/ 123825 w 1543050"/>
              <a:gd name="connsiteY15" fmla="*/ 1107281 h 1533525"/>
              <a:gd name="connsiteX16" fmla="*/ 178593 w 1543050"/>
              <a:gd name="connsiteY16" fmla="*/ 1107281 h 1533525"/>
              <a:gd name="connsiteX17" fmla="*/ 192881 w 1543050"/>
              <a:gd name="connsiteY17" fmla="*/ 1109663 h 1533525"/>
              <a:gd name="connsiteX18" fmla="*/ 159543 w 1543050"/>
              <a:gd name="connsiteY18" fmla="*/ 1064419 h 1533525"/>
              <a:gd name="connsiteX19" fmla="*/ 169068 w 1543050"/>
              <a:gd name="connsiteY19" fmla="*/ 1014413 h 1533525"/>
              <a:gd name="connsiteX20" fmla="*/ 123825 w 1543050"/>
              <a:gd name="connsiteY20" fmla="*/ 997744 h 1533525"/>
              <a:gd name="connsiteX21" fmla="*/ 61912 w 1543050"/>
              <a:gd name="connsiteY21" fmla="*/ 954881 h 1533525"/>
              <a:gd name="connsiteX22" fmla="*/ 45243 w 1543050"/>
              <a:gd name="connsiteY22" fmla="*/ 938213 h 1533525"/>
              <a:gd name="connsiteX23" fmla="*/ 64293 w 1543050"/>
              <a:gd name="connsiteY23" fmla="*/ 909638 h 1533525"/>
              <a:gd name="connsiteX24" fmla="*/ 47625 w 1543050"/>
              <a:gd name="connsiteY24" fmla="*/ 897731 h 1533525"/>
              <a:gd name="connsiteX25" fmla="*/ 47625 w 1543050"/>
              <a:gd name="connsiteY25" fmla="*/ 881063 h 1533525"/>
              <a:gd name="connsiteX26" fmla="*/ 26193 w 1543050"/>
              <a:gd name="connsiteY26" fmla="*/ 881063 h 1533525"/>
              <a:gd name="connsiteX27" fmla="*/ 7143 w 1543050"/>
              <a:gd name="connsiteY27" fmla="*/ 847725 h 1533525"/>
              <a:gd name="connsiteX28" fmla="*/ 0 w 1543050"/>
              <a:gd name="connsiteY28" fmla="*/ 816769 h 1533525"/>
              <a:gd name="connsiteX29" fmla="*/ 54768 w 1543050"/>
              <a:gd name="connsiteY29" fmla="*/ 800100 h 1533525"/>
              <a:gd name="connsiteX30" fmla="*/ 76200 w 1543050"/>
              <a:gd name="connsiteY30" fmla="*/ 788194 h 1533525"/>
              <a:gd name="connsiteX31" fmla="*/ 128587 w 1543050"/>
              <a:gd name="connsiteY31" fmla="*/ 821531 h 1533525"/>
              <a:gd name="connsiteX32" fmla="*/ 126206 w 1543050"/>
              <a:gd name="connsiteY32" fmla="*/ 800100 h 1533525"/>
              <a:gd name="connsiteX33" fmla="*/ 164306 w 1543050"/>
              <a:gd name="connsiteY33" fmla="*/ 795338 h 1533525"/>
              <a:gd name="connsiteX34" fmla="*/ 173831 w 1543050"/>
              <a:gd name="connsiteY34" fmla="*/ 759619 h 1533525"/>
              <a:gd name="connsiteX35" fmla="*/ 235743 w 1543050"/>
              <a:gd name="connsiteY35" fmla="*/ 764381 h 1533525"/>
              <a:gd name="connsiteX36" fmla="*/ 235743 w 1543050"/>
              <a:gd name="connsiteY36" fmla="*/ 764381 h 1533525"/>
              <a:gd name="connsiteX37" fmla="*/ 245268 w 1543050"/>
              <a:gd name="connsiteY37" fmla="*/ 704850 h 1533525"/>
              <a:gd name="connsiteX38" fmla="*/ 276225 w 1543050"/>
              <a:gd name="connsiteY38" fmla="*/ 666750 h 1533525"/>
              <a:gd name="connsiteX39" fmla="*/ 292893 w 1543050"/>
              <a:gd name="connsiteY39" fmla="*/ 638175 h 1533525"/>
              <a:gd name="connsiteX40" fmla="*/ 245268 w 1543050"/>
              <a:gd name="connsiteY40" fmla="*/ 602456 h 1533525"/>
              <a:gd name="connsiteX41" fmla="*/ 264318 w 1543050"/>
              <a:gd name="connsiteY41" fmla="*/ 585788 h 1533525"/>
              <a:gd name="connsiteX42" fmla="*/ 311943 w 1543050"/>
              <a:gd name="connsiteY42" fmla="*/ 602456 h 1533525"/>
              <a:gd name="connsiteX43" fmla="*/ 369093 w 1543050"/>
              <a:gd name="connsiteY43" fmla="*/ 573881 h 1533525"/>
              <a:gd name="connsiteX44" fmla="*/ 457200 w 1543050"/>
              <a:gd name="connsiteY44" fmla="*/ 545306 h 1533525"/>
              <a:gd name="connsiteX45" fmla="*/ 538162 w 1543050"/>
              <a:gd name="connsiteY45" fmla="*/ 578644 h 1533525"/>
              <a:gd name="connsiteX46" fmla="*/ 614362 w 1543050"/>
              <a:gd name="connsiteY46" fmla="*/ 550069 h 1533525"/>
              <a:gd name="connsiteX47" fmla="*/ 650081 w 1543050"/>
              <a:gd name="connsiteY47" fmla="*/ 552450 h 1533525"/>
              <a:gd name="connsiteX48" fmla="*/ 654843 w 1543050"/>
              <a:gd name="connsiteY48" fmla="*/ 523875 h 1533525"/>
              <a:gd name="connsiteX49" fmla="*/ 654843 w 1543050"/>
              <a:gd name="connsiteY49" fmla="*/ 490538 h 1533525"/>
              <a:gd name="connsiteX50" fmla="*/ 669131 w 1543050"/>
              <a:gd name="connsiteY50" fmla="*/ 469106 h 1533525"/>
              <a:gd name="connsiteX51" fmla="*/ 652462 w 1543050"/>
              <a:gd name="connsiteY51" fmla="*/ 450056 h 1533525"/>
              <a:gd name="connsiteX52" fmla="*/ 642937 w 1543050"/>
              <a:gd name="connsiteY52" fmla="*/ 411956 h 1533525"/>
              <a:gd name="connsiteX53" fmla="*/ 642937 w 1543050"/>
              <a:gd name="connsiteY53" fmla="*/ 330994 h 1533525"/>
              <a:gd name="connsiteX54" fmla="*/ 633412 w 1543050"/>
              <a:gd name="connsiteY54" fmla="*/ 319088 h 1533525"/>
              <a:gd name="connsiteX55" fmla="*/ 664368 w 1543050"/>
              <a:gd name="connsiteY55" fmla="*/ 285750 h 1533525"/>
              <a:gd name="connsiteX56" fmla="*/ 721518 w 1543050"/>
              <a:gd name="connsiteY56" fmla="*/ 292894 h 1533525"/>
              <a:gd name="connsiteX57" fmla="*/ 733425 w 1543050"/>
              <a:gd name="connsiteY57" fmla="*/ 264319 h 1533525"/>
              <a:gd name="connsiteX58" fmla="*/ 731043 w 1543050"/>
              <a:gd name="connsiteY58" fmla="*/ 228600 h 1533525"/>
              <a:gd name="connsiteX59" fmla="*/ 790575 w 1543050"/>
              <a:gd name="connsiteY59" fmla="*/ 192881 h 1533525"/>
              <a:gd name="connsiteX60" fmla="*/ 804862 w 1543050"/>
              <a:gd name="connsiteY60" fmla="*/ 166688 h 1533525"/>
              <a:gd name="connsiteX61" fmla="*/ 778668 w 1543050"/>
              <a:gd name="connsiteY61" fmla="*/ 128588 h 1533525"/>
              <a:gd name="connsiteX62" fmla="*/ 771525 w 1543050"/>
              <a:gd name="connsiteY62" fmla="*/ 104775 h 1533525"/>
              <a:gd name="connsiteX63" fmla="*/ 823912 w 1543050"/>
              <a:gd name="connsiteY63" fmla="*/ 97631 h 1533525"/>
              <a:gd name="connsiteX64" fmla="*/ 869156 w 1543050"/>
              <a:gd name="connsiteY64" fmla="*/ 52388 h 1533525"/>
              <a:gd name="connsiteX65" fmla="*/ 890587 w 1543050"/>
              <a:gd name="connsiteY65" fmla="*/ 23813 h 1533525"/>
              <a:gd name="connsiteX66" fmla="*/ 923925 w 1543050"/>
              <a:gd name="connsiteY66" fmla="*/ 9525 h 1533525"/>
              <a:gd name="connsiteX67" fmla="*/ 971550 w 1543050"/>
              <a:gd name="connsiteY67" fmla="*/ 0 h 1533525"/>
              <a:gd name="connsiteX68" fmla="*/ 971550 w 1543050"/>
              <a:gd name="connsiteY68" fmla="*/ 40481 h 1533525"/>
              <a:gd name="connsiteX69" fmla="*/ 950118 w 1543050"/>
              <a:gd name="connsiteY69" fmla="*/ 80963 h 1533525"/>
              <a:gd name="connsiteX70" fmla="*/ 950118 w 1543050"/>
              <a:gd name="connsiteY70" fmla="*/ 140494 h 1533525"/>
              <a:gd name="connsiteX71" fmla="*/ 969168 w 1543050"/>
              <a:gd name="connsiteY71" fmla="*/ 161925 h 1533525"/>
              <a:gd name="connsiteX72" fmla="*/ 1007268 w 1543050"/>
              <a:gd name="connsiteY72" fmla="*/ 188119 h 1533525"/>
              <a:gd name="connsiteX73" fmla="*/ 1019175 w 1543050"/>
              <a:gd name="connsiteY73" fmla="*/ 216694 h 1533525"/>
              <a:gd name="connsiteX74" fmla="*/ 1004887 w 1543050"/>
              <a:gd name="connsiteY74" fmla="*/ 226219 h 1533525"/>
              <a:gd name="connsiteX75" fmla="*/ 1057275 w 1543050"/>
              <a:gd name="connsiteY75" fmla="*/ 250031 h 1533525"/>
              <a:gd name="connsiteX76" fmla="*/ 1073943 w 1543050"/>
              <a:gd name="connsiteY76" fmla="*/ 228600 h 1533525"/>
              <a:gd name="connsiteX77" fmla="*/ 1083468 w 1543050"/>
              <a:gd name="connsiteY77" fmla="*/ 252413 h 1533525"/>
              <a:gd name="connsiteX78" fmla="*/ 1116806 w 1543050"/>
              <a:gd name="connsiteY78" fmla="*/ 252413 h 1533525"/>
              <a:gd name="connsiteX79" fmla="*/ 1123950 w 1543050"/>
              <a:gd name="connsiteY79" fmla="*/ 257175 h 1533525"/>
              <a:gd name="connsiteX80" fmla="*/ 1116806 w 1543050"/>
              <a:gd name="connsiteY80" fmla="*/ 276225 h 1533525"/>
              <a:gd name="connsiteX81" fmla="*/ 1088231 w 1543050"/>
              <a:gd name="connsiteY81" fmla="*/ 309563 h 1533525"/>
              <a:gd name="connsiteX82" fmla="*/ 1123950 w 1543050"/>
              <a:gd name="connsiteY82" fmla="*/ 333375 h 1533525"/>
              <a:gd name="connsiteX83" fmla="*/ 1135856 w 1543050"/>
              <a:gd name="connsiteY83" fmla="*/ 347663 h 1533525"/>
              <a:gd name="connsiteX84" fmla="*/ 1135856 w 1543050"/>
              <a:gd name="connsiteY84" fmla="*/ 376238 h 1533525"/>
              <a:gd name="connsiteX85" fmla="*/ 1119187 w 1543050"/>
              <a:gd name="connsiteY85" fmla="*/ 411956 h 1533525"/>
              <a:gd name="connsiteX86" fmla="*/ 1162050 w 1543050"/>
              <a:gd name="connsiteY86" fmla="*/ 423863 h 1533525"/>
              <a:gd name="connsiteX87" fmla="*/ 1233487 w 1543050"/>
              <a:gd name="connsiteY87" fmla="*/ 416719 h 1533525"/>
              <a:gd name="connsiteX88" fmla="*/ 1223962 w 1543050"/>
              <a:gd name="connsiteY88" fmla="*/ 385763 h 1533525"/>
              <a:gd name="connsiteX89" fmla="*/ 1188243 w 1543050"/>
              <a:gd name="connsiteY89" fmla="*/ 347663 h 1533525"/>
              <a:gd name="connsiteX90" fmla="*/ 1181100 w 1543050"/>
              <a:gd name="connsiteY90" fmla="*/ 333375 h 1533525"/>
              <a:gd name="connsiteX91" fmla="*/ 1207293 w 1543050"/>
              <a:gd name="connsiteY91" fmla="*/ 326231 h 1533525"/>
              <a:gd name="connsiteX92" fmla="*/ 1200150 w 1543050"/>
              <a:gd name="connsiteY92" fmla="*/ 302419 h 1533525"/>
              <a:gd name="connsiteX93" fmla="*/ 1223962 w 1543050"/>
              <a:gd name="connsiteY93" fmla="*/ 283369 h 1533525"/>
              <a:gd name="connsiteX94" fmla="*/ 1250156 w 1543050"/>
              <a:gd name="connsiteY94" fmla="*/ 242888 h 1533525"/>
              <a:gd name="connsiteX95" fmla="*/ 1302543 w 1543050"/>
              <a:gd name="connsiteY95" fmla="*/ 211931 h 1533525"/>
              <a:gd name="connsiteX96" fmla="*/ 1350168 w 1543050"/>
              <a:gd name="connsiteY96" fmla="*/ 123825 h 1533525"/>
              <a:gd name="connsiteX97" fmla="*/ 1543050 w 1543050"/>
              <a:gd name="connsiteY97" fmla="*/ 147638 h 1533525"/>
              <a:gd name="connsiteX98" fmla="*/ 1057275 w 1543050"/>
              <a:gd name="connsiteY98" fmla="*/ 264319 h 1533525"/>
              <a:gd name="connsiteX99" fmla="*/ 1062037 w 1543050"/>
              <a:gd name="connsiteY99" fmla="*/ 304800 h 1533525"/>
              <a:gd name="connsiteX100" fmla="*/ 995362 w 1543050"/>
              <a:gd name="connsiteY100" fmla="*/ 352425 h 1533525"/>
              <a:gd name="connsiteX101" fmla="*/ 973931 w 1543050"/>
              <a:gd name="connsiteY101" fmla="*/ 383381 h 1533525"/>
              <a:gd name="connsiteX102" fmla="*/ 1000125 w 1543050"/>
              <a:gd name="connsiteY102" fmla="*/ 428625 h 1533525"/>
              <a:gd name="connsiteX103" fmla="*/ 983456 w 1543050"/>
              <a:gd name="connsiteY103" fmla="*/ 466725 h 1533525"/>
              <a:gd name="connsiteX104" fmla="*/ 1000125 w 1543050"/>
              <a:gd name="connsiteY104" fmla="*/ 519113 h 1533525"/>
              <a:gd name="connsiteX105" fmla="*/ 1033462 w 1543050"/>
              <a:gd name="connsiteY105" fmla="*/ 519113 h 1533525"/>
              <a:gd name="connsiteX106" fmla="*/ 1019175 w 1543050"/>
              <a:gd name="connsiteY106" fmla="*/ 552450 h 1533525"/>
              <a:gd name="connsiteX107" fmla="*/ 1035843 w 1543050"/>
              <a:gd name="connsiteY107" fmla="*/ 590550 h 1533525"/>
              <a:gd name="connsiteX108" fmla="*/ 1035843 w 1543050"/>
              <a:gd name="connsiteY108" fmla="*/ 607219 h 1533525"/>
              <a:gd name="connsiteX109" fmla="*/ 1045368 w 1543050"/>
              <a:gd name="connsiteY109" fmla="*/ 645319 h 1533525"/>
              <a:gd name="connsiteX110" fmla="*/ 1064418 w 1543050"/>
              <a:gd name="connsiteY110" fmla="*/ 645319 h 1533525"/>
              <a:gd name="connsiteX111" fmla="*/ 1078706 w 1543050"/>
              <a:gd name="connsiteY111" fmla="*/ 666750 h 1533525"/>
              <a:gd name="connsiteX112" fmla="*/ 1085850 w 1543050"/>
              <a:gd name="connsiteY112" fmla="*/ 688181 h 1533525"/>
              <a:gd name="connsiteX113" fmla="*/ 1076325 w 1543050"/>
              <a:gd name="connsiteY113" fmla="*/ 719138 h 1533525"/>
              <a:gd name="connsiteX114" fmla="*/ 1021556 w 1543050"/>
              <a:gd name="connsiteY114" fmla="*/ 714375 h 1533525"/>
              <a:gd name="connsiteX115" fmla="*/ 1002506 w 1543050"/>
              <a:gd name="connsiteY115" fmla="*/ 721519 h 1533525"/>
              <a:gd name="connsiteX116" fmla="*/ 995362 w 1543050"/>
              <a:gd name="connsiteY116" fmla="*/ 726281 h 1533525"/>
              <a:gd name="connsiteX117" fmla="*/ 995362 w 1543050"/>
              <a:gd name="connsiteY117" fmla="*/ 726281 h 1533525"/>
              <a:gd name="connsiteX118" fmla="*/ 923925 w 1543050"/>
              <a:gd name="connsiteY118" fmla="*/ 721519 h 1533525"/>
              <a:gd name="connsiteX119" fmla="*/ 940593 w 1543050"/>
              <a:gd name="connsiteY119" fmla="*/ 778669 h 1533525"/>
              <a:gd name="connsiteX120" fmla="*/ 938212 w 1543050"/>
              <a:gd name="connsiteY120" fmla="*/ 847725 h 1533525"/>
              <a:gd name="connsiteX121" fmla="*/ 954881 w 1543050"/>
              <a:gd name="connsiteY121" fmla="*/ 871538 h 1533525"/>
              <a:gd name="connsiteX122" fmla="*/ 997743 w 1543050"/>
              <a:gd name="connsiteY122" fmla="*/ 919163 h 1533525"/>
              <a:gd name="connsiteX123" fmla="*/ 1012031 w 1543050"/>
              <a:gd name="connsiteY123" fmla="*/ 954881 h 1533525"/>
              <a:gd name="connsiteX124" fmla="*/ 1031081 w 1543050"/>
              <a:gd name="connsiteY124" fmla="*/ 954881 h 1533525"/>
              <a:gd name="connsiteX125" fmla="*/ 1071562 w 1543050"/>
              <a:gd name="connsiteY125" fmla="*/ 940594 h 1533525"/>
              <a:gd name="connsiteX126" fmla="*/ 1102518 w 1543050"/>
              <a:gd name="connsiteY126" fmla="*/ 933450 h 1533525"/>
              <a:gd name="connsiteX127" fmla="*/ 1159668 w 1543050"/>
              <a:gd name="connsiteY127" fmla="*/ 997744 h 1533525"/>
              <a:gd name="connsiteX128" fmla="*/ 1178718 w 1543050"/>
              <a:gd name="connsiteY128" fmla="*/ 1052513 h 1533525"/>
              <a:gd name="connsiteX129" fmla="*/ 1190625 w 1543050"/>
              <a:gd name="connsiteY129" fmla="*/ 1081088 h 1533525"/>
              <a:gd name="connsiteX130" fmla="*/ 1212056 w 1543050"/>
              <a:gd name="connsiteY130" fmla="*/ 1109663 h 1533525"/>
              <a:gd name="connsiteX131" fmla="*/ 1231106 w 1543050"/>
              <a:gd name="connsiteY131" fmla="*/ 1102519 h 1533525"/>
              <a:gd name="connsiteX132" fmla="*/ 1231106 w 1543050"/>
              <a:gd name="connsiteY132" fmla="*/ 1131094 h 1533525"/>
              <a:gd name="connsiteX133" fmla="*/ 1233487 w 1543050"/>
              <a:gd name="connsiteY133" fmla="*/ 1145381 h 1533525"/>
              <a:gd name="connsiteX134" fmla="*/ 1266825 w 1543050"/>
              <a:gd name="connsiteY134" fmla="*/ 1181100 h 1533525"/>
              <a:gd name="connsiteX135" fmla="*/ 1233487 w 1543050"/>
              <a:gd name="connsiteY135" fmla="*/ 1181100 h 1533525"/>
              <a:gd name="connsiteX136" fmla="*/ 1228725 w 1543050"/>
              <a:gd name="connsiteY136" fmla="*/ 1223963 h 1533525"/>
              <a:gd name="connsiteX137" fmla="*/ 1226343 w 1543050"/>
              <a:gd name="connsiteY137" fmla="*/ 1243013 h 1533525"/>
              <a:gd name="connsiteX138" fmla="*/ 1216818 w 1543050"/>
              <a:gd name="connsiteY138" fmla="*/ 1264444 h 1533525"/>
              <a:gd name="connsiteX139" fmla="*/ 1190625 w 1543050"/>
              <a:gd name="connsiteY139" fmla="*/ 1238250 h 1533525"/>
              <a:gd name="connsiteX140" fmla="*/ 1157287 w 1543050"/>
              <a:gd name="connsiteY140" fmla="*/ 1209675 h 1533525"/>
              <a:gd name="connsiteX141" fmla="*/ 1131093 w 1543050"/>
              <a:gd name="connsiteY141" fmla="*/ 1185863 h 1533525"/>
              <a:gd name="connsiteX142" fmla="*/ 1107281 w 1543050"/>
              <a:gd name="connsiteY142" fmla="*/ 1219200 h 1533525"/>
              <a:gd name="connsiteX143" fmla="*/ 1104900 w 1543050"/>
              <a:gd name="connsiteY143" fmla="*/ 1264444 h 1533525"/>
              <a:gd name="connsiteX144" fmla="*/ 1062037 w 1543050"/>
              <a:gd name="connsiteY144" fmla="*/ 1259681 h 1533525"/>
              <a:gd name="connsiteX145" fmla="*/ 1026318 w 1543050"/>
              <a:gd name="connsiteY145" fmla="*/ 1288256 h 1533525"/>
              <a:gd name="connsiteX146" fmla="*/ 1007268 w 1543050"/>
              <a:gd name="connsiteY146" fmla="*/ 1240631 h 1533525"/>
              <a:gd name="connsiteX147" fmla="*/ 947737 w 1543050"/>
              <a:gd name="connsiteY147" fmla="*/ 1231106 h 1533525"/>
              <a:gd name="connsiteX148" fmla="*/ 921543 w 1543050"/>
              <a:gd name="connsiteY148" fmla="*/ 1297781 h 1533525"/>
              <a:gd name="connsiteX149" fmla="*/ 885825 w 1543050"/>
              <a:gd name="connsiteY149" fmla="*/ 1278731 h 1533525"/>
              <a:gd name="connsiteX150" fmla="*/ 816768 w 1543050"/>
              <a:gd name="connsiteY150" fmla="*/ 1295400 h 1533525"/>
              <a:gd name="connsiteX151" fmla="*/ 757237 w 1543050"/>
              <a:gd name="connsiteY151" fmla="*/ 1259681 h 1533525"/>
              <a:gd name="connsiteX152" fmla="*/ 742950 w 1543050"/>
              <a:gd name="connsiteY152" fmla="*/ 1312069 h 1533525"/>
              <a:gd name="connsiteX153" fmla="*/ 704850 w 1543050"/>
              <a:gd name="connsiteY153" fmla="*/ 1345406 h 1533525"/>
              <a:gd name="connsiteX154" fmla="*/ 692943 w 1543050"/>
              <a:gd name="connsiteY154" fmla="*/ 1366838 h 1533525"/>
              <a:gd name="connsiteX155" fmla="*/ 671512 w 1543050"/>
              <a:gd name="connsiteY155" fmla="*/ 1509713 h 1533525"/>
              <a:gd name="connsiteX156" fmla="*/ 633412 w 1543050"/>
              <a:gd name="connsiteY156" fmla="*/ 1490663 h 1533525"/>
              <a:gd name="connsiteX157" fmla="*/ 614362 w 1543050"/>
              <a:gd name="connsiteY157" fmla="*/ 1504950 h 1533525"/>
              <a:gd name="connsiteX158" fmla="*/ 581025 w 1543050"/>
              <a:gd name="connsiteY158" fmla="*/ 1531144 h 1533525"/>
              <a:gd name="connsiteX159" fmla="*/ 523875 w 1543050"/>
              <a:gd name="connsiteY159" fmla="*/ 1502569 h 1533525"/>
              <a:gd name="connsiteX160" fmla="*/ 514350 w 1543050"/>
              <a:gd name="connsiteY160" fmla="*/ 1490663 h 1533525"/>
              <a:gd name="connsiteX161" fmla="*/ 483393 w 1543050"/>
              <a:gd name="connsiteY161" fmla="*/ 1533525 h 1533525"/>
              <a:gd name="connsiteX0" fmla="*/ 483393 w 1350168"/>
              <a:gd name="connsiteY0" fmla="*/ 1533525 h 1533525"/>
              <a:gd name="connsiteX1" fmla="*/ 459581 w 1350168"/>
              <a:gd name="connsiteY1" fmla="*/ 1481138 h 1533525"/>
              <a:gd name="connsiteX2" fmla="*/ 438150 w 1350168"/>
              <a:gd name="connsiteY2" fmla="*/ 1471613 h 1533525"/>
              <a:gd name="connsiteX3" fmla="*/ 400050 w 1350168"/>
              <a:gd name="connsiteY3" fmla="*/ 1485900 h 1533525"/>
              <a:gd name="connsiteX4" fmla="*/ 338137 w 1350168"/>
              <a:gd name="connsiteY4" fmla="*/ 1490663 h 1533525"/>
              <a:gd name="connsiteX5" fmla="*/ 330993 w 1350168"/>
              <a:gd name="connsiteY5" fmla="*/ 1497806 h 1533525"/>
              <a:gd name="connsiteX6" fmla="*/ 271462 w 1350168"/>
              <a:gd name="connsiteY6" fmla="*/ 1471613 h 1533525"/>
              <a:gd name="connsiteX7" fmla="*/ 219075 w 1350168"/>
              <a:gd name="connsiteY7" fmla="*/ 1443038 h 1533525"/>
              <a:gd name="connsiteX8" fmla="*/ 138112 w 1350168"/>
              <a:gd name="connsiteY8" fmla="*/ 1402556 h 1533525"/>
              <a:gd name="connsiteX9" fmla="*/ 95250 w 1350168"/>
              <a:gd name="connsiteY9" fmla="*/ 1316831 h 1533525"/>
              <a:gd name="connsiteX10" fmla="*/ 80962 w 1350168"/>
              <a:gd name="connsiteY10" fmla="*/ 1288256 h 1533525"/>
              <a:gd name="connsiteX11" fmla="*/ 104775 w 1350168"/>
              <a:gd name="connsiteY11" fmla="*/ 1266825 h 1533525"/>
              <a:gd name="connsiteX12" fmla="*/ 76200 w 1350168"/>
              <a:gd name="connsiteY12" fmla="*/ 1212056 h 1533525"/>
              <a:gd name="connsiteX13" fmla="*/ 109537 w 1350168"/>
              <a:gd name="connsiteY13" fmla="*/ 1193006 h 1533525"/>
              <a:gd name="connsiteX14" fmla="*/ 140493 w 1350168"/>
              <a:gd name="connsiteY14" fmla="*/ 1143000 h 1533525"/>
              <a:gd name="connsiteX15" fmla="*/ 123825 w 1350168"/>
              <a:gd name="connsiteY15" fmla="*/ 1107281 h 1533525"/>
              <a:gd name="connsiteX16" fmla="*/ 178593 w 1350168"/>
              <a:gd name="connsiteY16" fmla="*/ 1107281 h 1533525"/>
              <a:gd name="connsiteX17" fmla="*/ 192881 w 1350168"/>
              <a:gd name="connsiteY17" fmla="*/ 1109663 h 1533525"/>
              <a:gd name="connsiteX18" fmla="*/ 159543 w 1350168"/>
              <a:gd name="connsiteY18" fmla="*/ 1064419 h 1533525"/>
              <a:gd name="connsiteX19" fmla="*/ 169068 w 1350168"/>
              <a:gd name="connsiteY19" fmla="*/ 1014413 h 1533525"/>
              <a:gd name="connsiteX20" fmla="*/ 123825 w 1350168"/>
              <a:gd name="connsiteY20" fmla="*/ 997744 h 1533525"/>
              <a:gd name="connsiteX21" fmla="*/ 61912 w 1350168"/>
              <a:gd name="connsiteY21" fmla="*/ 954881 h 1533525"/>
              <a:gd name="connsiteX22" fmla="*/ 45243 w 1350168"/>
              <a:gd name="connsiteY22" fmla="*/ 938213 h 1533525"/>
              <a:gd name="connsiteX23" fmla="*/ 64293 w 1350168"/>
              <a:gd name="connsiteY23" fmla="*/ 909638 h 1533525"/>
              <a:gd name="connsiteX24" fmla="*/ 47625 w 1350168"/>
              <a:gd name="connsiteY24" fmla="*/ 897731 h 1533525"/>
              <a:gd name="connsiteX25" fmla="*/ 47625 w 1350168"/>
              <a:gd name="connsiteY25" fmla="*/ 881063 h 1533525"/>
              <a:gd name="connsiteX26" fmla="*/ 26193 w 1350168"/>
              <a:gd name="connsiteY26" fmla="*/ 881063 h 1533525"/>
              <a:gd name="connsiteX27" fmla="*/ 7143 w 1350168"/>
              <a:gd name="connsiteY27" fmla="*/ 847725 h 1533525"/>
              <a:gd name="connsiteX28" fmla="*/ 0 w 1350168"/>
              <a:gd name="connsiteY28" fmla="*/ 816769 h 1533525"/>
              <a:gd name="connsiteX29" fmla="*/ 54768 w 1350168"/>
              <a:gd name="connsiteY29" fmla="*/ 800100 h 1533525"/>
              <a:gd name="connsiteX30" fmla="*/ 76200 w 1350168"/>
              <a:gd name="connsiteY30" fmla="*/ 788194 h 1533525"/>
              <a:gd name="connsiteX31" fmla="*/ 128587 w 1350168"/>
              <a:gd name="connsiteY31" fmla="*/ 821531 h 1533525"/>
              <a:gd name="connsiteX32" fmla="*/ 126206 w 1350168"/>
              <a:gd name="connsiteY32" fmla="*/ 800100 h 1533525"/>
              <a:gd name="connsiteX33" fmla="*/ 164306 w 1350168"/>
              <a:gd name="connsiteY33" fmla="*/ 795338 h 1533525"/>
              <a:gd name="connsiteX34" fmla="*/ 173831 w 1350168"/>
              <a:gd name="connsiteY34" fmla="*/ 759619 h 1533525"/>
              <a:gd name="connsiteX35" fmla="*/ 235743 w 1350168"/>
              <a:gd name="connsiteY35" fmla="*/ 764381 h 1533525"/>
              <a:gd name="connsiteX36" fmla="*/ 235743 w 1350168"/>
              <a:gd name="connsiteY36" fmla="*/ 764381 h 1533525"/>
              <a:gd name="connsiteX37" fmla="*/ 245268 w 1350168"/>
              <a:gd name="connsiteY37" fmla="*/ 704850 h 1533525"/>
              <a:gd name="connsiteX38" fmla="*/ 276225 w 1350168"/>
              <a:gd name="connsiteY38" fmla="*/ 666750 h 1533525"/>
              <a:gd name="connsiteX39" fmla="*/ 292893 w 1350168"/>
              <a:gd name="connsiteY39" fmla="*/ 638175 h 1533525"/>
              <a:gd name="connsiteX40" fmla="*/ 245268 w 1350168"/>
              <a:gd name="connsiteY40" fmla="*/ 602456 h 1533525"/>
              <a:gd name="connsiteX41" fmla="*/ 264318 w 1350168"/>
              <a:gd name="connsiteY41" fmla="*/ 585788 h 1533525"/>
              <a:gd name="connsiteX42" fmla="*/ 311943 w 1350168"/>
              <a:gd name="connsiteY42" fmla="*/ 602456 h 1533525"/>
              <a:gd name="connsiteX43" fmla="*/ 369093 w 1350168"/>
              <a:gd name="connsiteY43" fmla="*/ 573881 h 1533525"/>
              <a:gd name="connsiteX44" fmla="*/ 457200 w 1350168"/>
              <a:gd name="connsiteY44" fmla="*/ 545306 h 1533525"/>
              <a:gd name="connsiteX45" fmla="*/ 538162 w 1350168"/>
              <a:gd name="connsiteY45" fmla="*/ 578644 h 1533525"/>
              <a:gd name="connsiteX46" fmla="*/ 614362 w 1350168"/>
              <a:gd name="connsiteY46" fmla="*/ 550069 h 1533525"/>
              <a:gd name="connsiteX47" fmla="*/ 650081 w 1350168"/>
              <a:gd name="connsiteY47" fmla="*/ 552450 h 1533525"/>
              <a:gd name="connsiteX48" fmla="*/ 654843 w 1350168"/>
              <a:gd name="connsiteY48" fmla="*/ 523875 h 1533525"/>
              <a:gd name="connsiteX49" fmla="*/ 654843 w 1350168"/>
              <a:gd name="connsiteY49" fmla="*/ 490538 h 1533525"/>
              <a:gd name="connsiteX50" fmla="*/ 669131 w 1350168"/>
              <a:gd name="connsiteY50" fmla="*/ 469106 h 1533525"/>
              <a:gd name="connsiteX51" fmla="*/ 652462 w 1350168"/>
              <a:gd name="connsiteY51" fmla="*/ 450056 h 1533525"/>
              <a:gd name="connsiteX52" fmla="*/ 642937 w 1350168"/>
              <a:gd name="connsiteY52" fmla="*/ 411956 h 1533525"/>
              <a:gd name="connsiteX53" fmla="*/ 642937 w 1350168"/>
              <a:gd name="connsiteY53" fmla="*/ 330994 h 1533525"/>
              <a:gd name="connsiteX54" fmla="*/ 633412 w 1350168"/>
              <a:gd name="connsiteY54" fmla="*/ 319088 h 1533525"/>
              <a:gd name="connsiteX55" fmla="*/ 664368 w 1350168"/>
              <a:gd name="connsiteY55" fmla="*/ 285750 h 1533525"/>
              <a:gd name="connsiteX56" fmla="*/ 721518 w 1350168"/>
              <a:gd name="connsiteY56" fmla="*/ 292894 h 1533525"/>
              <a:gd name="connsiteX57" fmla="*/ 733425 w 1350168"/>
              <a:gd name="connsiteY57" fmla="*/ 264319 h 1533525"/>
              <a:gd name="connsiteX58" fmla="*/ 731043 w 1350168"/>
              <a:gd name="connsiteY58" fmla="*/ 228600 h 1533525"/>
              <a:gd name="connsiteX59" fmla="*/ 790575 w 1350168"/>
              <a:gd name="connsiteY59" fmla="*/ 192881 h 1533525"/>
              <a:gd name="connsiteX60" fmla="*/ 804862 w 1350168"/>
              <a:gd name="connsiteY60" fmla="*/ 166688 h 1533525"/>
              <a:gd name="connsiteX61" fmla="*/ 778668 w 1350168"/>
              <a:gd name="connsiteY61" fmla="*/ 128588 h 1533525"/>
              <a:gd name="connsiteX62" fmla="*/ 771525 w 1350168"/>
              <a:gd name="connsiteY62" fmla="*/ 104775 h 1533525"/>
              <a:gd name="connsiteX63" fmla="*/ 823912 w 1350168"/>
              <a:gd name="connsiteY63" fmla="*/ 97631 h 1533525"/>
              <a:gd name="connsiteX64" fmla="*/ 869156 w 1350168"/>
              <a:gd name="connsiteY64" fmla="*/ 52388 h 1533525"/>
              <a:gd name="connsiteX65" fmla="*/ 890587 w 1350168"/>
              <a:gd name="connsiteY65" fmla="*/ 23813 h 1533525"/>
              <a:gd name="connsiteX66" fmla="*/ 923925 w 1350168"/>
              <a:gd name="connsiteY66" fmla="*/ 9525 h 1533525"/>
              <a:gd name="connsiteX67" fmla="*/ 971550 w 1350168"/>
              <a:gd name="connsiteY67" fmla="*/ 0 h 1533525"/>
              <a:gd name="connsiteX68" fmla="*/ 971550 w 1350168"/>
              <a:gd name="connsiteY68" fmla="*/ 40481 h 1533525"/>
              <a:gd name="connsiteX69" fmla="*/ 950118 w 1350168"/>
              <a:gd name="connsiteY69" fmla="*/ 80963 h 1533525"/>
              <a:gd name="connsiteX70" fmla="*/ 950118 w 1350168"/>
              <a:gd name="connsiteY70" fmla="*/ 140494 h 1533525"/>
              <a:gd name="connsiteX71" fmla="*/ 969168 w 1350168"/>
              <a:gd name="connsiteY71" fmla="*/ 161925 h 1533525"/>
              <a:gd name="connsiteX72" fmla="*/ 1007268 w 1350168"/>
              <a:gd name="connsiteY72" fmla="*/ 188119 h 1533525"/>
              <a:gd name="connsiteX73" fmla="*/ 1019175 w 1350168"/>
              <a:gd name="connsiteY73" fmla="*/ 216694 h 1533525"/>
              <a:gd name="connsiteX74" fmla="*/ 1004887 w 1350168"/>
              <a:gd name="connsiteY74" fmla="*/ 226219 h 1533525"/>
              <a:gd name="connsiteX75" fmla="*/ 1057275 w 1350168"/>
              <a:gd name="connsiteY75" fmla="*/ 250031 h 1533525"/>
              <a:gd name="connsiteX76" fmla="*/ 1073943 w 1350168"/>
              <a:gd name="connsiteY76" fmla="*/ 228600 h 1533525"/>
              <a:gd name="connsiteX77" fmla="*/ 1083468 w 1350168"/>
              <a:gd name="connsiteY77" fmla="*/ 252413 h 1533525"/>
              <a:gd name="connsiteX78" fmla="*/ 1116806 w 1350168"/>
              <a:gd name="connsiteY78" fmla="*/ 252413 h 1533525"/>
              <a:gd name="connsiteX79" fmla="*/ 1123950 w 1350168"/>
              <a:gd name="connsiteY79" fmla="*/ 257175 h 1533525"/>
              <a:gd name="connsiteX80" fmla="*/ 1116806 w 1350168"/>
              <a:gd name="connsiteY80" fmla="*/ 276225 h 1533525"/>
              <a:gd name="connsiteX81" fmla="*/ 1088231 w 1350168"/>
              <a:gd name="connsiteY81" fmla="*/ 309563 h 1533525"/>
              <a:gd name="connsiteX82" fmla="*/ 1123950 w 1350168"/>
              <a:gd name="connsiteY82" fmla="*/ 333375 h 1533525"/>
              <a:gd name="connsiteX83" fmla="*/ 1135856 w 1350168"/>
              <a:gd name="connsiteY83" fmla="*/ 347663 h 1533525"/>
              <a:gd name="connsiteX84" fmla="*/ 1135856 w 1350168"/>
              <a:gd name="connsiteY84" fmla="*/ 376238 h 1533525"/>
              <a:gd name="connsiteX85" fmla="*/ 1119187 w 1350168"/>
              <a:gd name="connsiteY85" fmla="*/ 411956 h 1533525"/>
              <a:gd name="connsiteX86" fmla="*/ 1162050 w 1350168"/>
              <a:gd name="connsiteY86" fmla="*/ 423863 h 1533525"/>
              <a:gd name="connsiteX87" fmla="*/ 1233487 w 1350168"/>
              <a:gd name="connsiteY87" fmla="*/ 416719 h 1533525"/>
              <a:gd name="connsiteX88" fmla="*/ 1223962 w 1350168"/>
              <a:gd name="connsiteY88" fmla="*/ 385763 h 1533525"/>
              <a:gd name="connsiteX89" fmla="*/ 1188243 w 1350168"/>
              <a:gd name="connsiteY89" fmla="*/ 347663 h 1533525"/>
              <a:gd name="connsiteX90" fmla="*/ 1181100 w 1350168"/>
              <a:gd name="connsiteY90" fmla="*/ 333375 h 1533525"/>
              <a:gd name="connsiteX91" fmla="*/ 1207293 w 1350168"/>
              <a:gd name="connsiteY91" fmla="*/ 326231 h 1533525"/>
              <a:gd name="connsiteX92" fmla="*/ 1200150 w 1350168"/>
              <a:gd name="connsiteY92" fmla="*/ 302419 h 1533525"/>
              <a:gd name="connsiteX93" fmla="*/ 1223962 w 1350168"/>
              <a:gd name="connsiteY93" fmla="*/ 283369 h 1533525"/>
              <a:gd name="connsiteX94" fmla="*/ 1250156 w 1350168"/>
              <a:gd name="connsiteY94" fmla="*/ 242888 h 1533525"/>
              <a:gd name="connsiteX95" fmla="*/ 1302543 w 1350168"/>
              <a:gd name="connsiteY95" fmla="*/ 211931 h 1533525"/>
              <a:gd name="connsiteX96" fmla="*/ 1350168 w 1350168"/>
              <a:gd name="connsiteY96" fmla="*/ 123825 h 1533525"/>
              <a:gd name="connsiteX97" fmla="*/ 1057275 w 1350168"/>
              <a:gd name="connsiteY97" fmla="*/ 264319 h 1533525"/>
              <a:gd name="connsiteX98" fmla="*/ 1062037 w 1350168"/>
              <a:gd name="connsiteY98" fmla="*/ 304800 h 1533525"/>
              <a:gd name="connsiteX99" fmla="*/ 995362 w 1350168"/>
              <a:gd name="connsiteY99" fmla="*/ 352425 h 1533525"/>
              <a:gd name="connsiteX100" fmla="*/ 973931 w 1350168"/>
              <a:gd name="connsiteY100" fmla="*/ 383381 h 1533525"/>
              <a:gd name="connsiteX101" fmla="*/ 1000125 w 1350168"/>
              <a:gd name="connsiteY101" fmla="*/ 428625 h 1533525"/>
              <a:gd name="connsiteX102" fmla="*/ 983456 w 1350168"/>
              <a:gd name="connsiteY102" fmla="*/ 466725 h 1533525"/>
              <a:gd name="connsiteX103" fmla="*/ 1000125 w 1350168"/>
              <a:gd name="connsiteY103" fmla="*/ 519113 h 1533525"/>
              <a:gd name="connsiteX104" fmla="*/ 1033462 w 1350168"/>
              <a:gd name="connsiteY104" fmla="*/ 519113 h 1533525"/>
              <a:gd name="connsiteX105" fmla="*/ 1019175 w 1350168"/>
              <a:gd name="connsiteY105" fmla="*/ 552450 h 1533525"/>
              <a:gd name="connsiteX106" fmla="*/ 1035843 w 1350168"/>
              <a:gd name="connsiteY106" fmla="*/ 590550 h 1533525"/>
              <a:gd name="connsiteX107" fmla="*/ 1035843 w 1350168"/>
              <a:gd name="connsiteY107" fmla="*/ 607219 h 1533525"/>
              <a:gd name="connsiteX108" fmla="*/ 1045368 w 1350168"/>
              <a:gd name="connsiteY108" fmla="*/ 645319 h 1533525"/>
              <a:gd name="connsiteX109" fmla="*/ 1064418 w 1350168"/>
              <a:gd name="connsiteY109" fmla="*/ 645319 h 1533525"/>
              <a:gd name="connsiteX110" fmla="*/ 1078706 w 1350168"/>
              <a:gd name="connsiteY110" fmla="*/ 666750 h 1533525"/>
              <a:gd name="connsiteX111" fmla="*/ 1085850 w 1350168"/>
              <a:gd name="connsiteY111" fmla="*/ 688181 h 1533525"/>
              <a:gd name="connsiteX112" fmla="*/ 1076325 w 1350168"/>
              <a:gd name="connsiteY112" fmla="*/ 719138 h 1533525"/>
              <a:gd name="connsiteX113" fmla="*/ 1021556 w 1350168"/>
              <a:gd name="connsiteY113" fmla="*/ 714375 h 1533525"/>
              <a:gd name="connsiteX114" fmla="*/ 1002506 w 1350168"/>
              <a:gd name="connsiteY114" fmla="*/ 721519 h 1533525"/>
              <a:gd name="connsiteX115" fmla="*/ 995362 w 1350168"/>
              <a:gd name="connsiteY115" fmla="*/ 726281 h 1533525"/>
              <a:gd name="connsiteX116" fmla="*/ 995362 w 1350168"/>
              <a:gd name="connsiteY116" fmla="*/ 726281 h 1533525"/>
              <a:gd name="connsiteX117" fmla="*/ 923925 w 1350168"/>
              <a:gd name="connsiteY117" fmla="*/ 721519 h 1533525"/>
              <a:gd name="connsiteX118" fmla="*/ 940593 w 1350168"/>
              <a:gd name="connsiteY118" fmla="*/ 778669 h 1533525"/>
              <a:gd name="connsiteX119" fmla="*/ 938212 w 1350168"/>
              <a:gd name="connsiteY119" fmla="*/ 847725 h 1533525"/>
              <a:gd name="connsiteX120" fmla="*/ 954881 w 1350168"/>
              <a:gd name="connsiteY120" fmla="*/ 871538 h 1533525"/>
              <a:gd name="connsiteX121" fmla="*/ 997743 w 1350168"/>
              <a:gd name="connsiteY121" fmla="*/ 919163 h 1533525"/>
              <a:gd name="connsiteX122" fmla="*/ 1012031 w 1350168"/>
              <a:gd name="connsiteY122" fmla="*/ 954881 h 1533525"/>
              <a:gd name="connsiteX123" fmla="*/ 1031081 w 1350168"/>
              <a:gd name="connsiteY123" fmla="*/ 954881 h 1533525"/>
              <a:gd name="connsiteX124" fmla="*/ 1071562 w 1350168"/>
              <a:gd name="connsiteY124" fmla="*/ 940594 h 1533525"/>
              <a:gd name="connsiteX125" fmla="*/ 1102518 w 1350168"/>
              <a:gd name="connsiteY125" fmla="*/ 933450 h 1533525"/>
              <a:gd name="connsiteX126" fmla="*/ 1159668 w 1350168"/>
              <a:gd name="connsiteY126" fmla="*/ 997744 h 1533525"/>
              <a:gd name="connsiteX127" fmla="*/ 1178718 w 1350168"/>
              <a:gd name="connsiteY127" fmla="*/ 1052513 h 1533525"/>
              <a:gd name="connsiteX128" fmla="*/ 1190625 w 1350168"/>
              <a:gd name="connsiteY128" fmla="*/ 1081088 h 1533525"/>
              <a:gd name="connsiteX129" fmla="*/ 1212056 w 1350168"/>
              <a:gd name="connsiteY129" fmla="*/ 1109663 h 1533525"/>
              <a:gd name="connsiteX130" fmla="*/ 1231106 w 1350168"/>
              <a:gd name="connsiteY130" fmla="*/ 1102519 h 1533525"/>
              <a:gd name="connsiteX131" fmla="*/ 1231106 w 1350168"/>
              <a:gd name="connsiteY131" fmla="*/ 1131094 h 1533525"/>
              <a:gd name="connsiteX132" fmla="*/ 1233487 w 1350168"/>
              <a:gd name="connsiteY132" fmla="*/ 1145381 h 1533525"/>
              <a:gd name="connsiteX133" fmla="*/ 1266825 w 1350168"/>
              <a:gd name="connsiteY133" fmla="*/ 1181100 h 1533525"/>
              <a:gd name="connsiteX134" fmla="*/ 1233487 w 1350168"/>
              <a:gd name="connsiteY134" fmla="*/ 1181100 h 1533525"/>
              <a:gd name="connsiteX135" fmla="*/ 1228725 w 1350168"/>
              <a:gd name="connsiteY135" fmla="*/ 1223963 h 1533525"/>
              <a:gd name="connsiteX136" fmla="*/ 1226343 w 1350168"/>
              <a:gd name="connsiteY136" fmla="*/ 1243013 h 1533525"/>
              <a:gd name="connsiteX137" fmla="*/ 1216818 w 1350168"/>
              <a:gd name="connsiteY137" fmla="*/ 1264444 h 1533525"/>
              <a:gd name="connsiteX138" fmla="*/ 1190625 w 1350168"/>
              <a:gd name="connsiteY138" fmla="*/ 1238250 h 1533525"/>
              <a:gd name="connsiteX139" fmla="*/ 1157287 w 1350168"/>
              <a:gd name="connsiteY139" fmla="*/ 1209675 h 1533525"/>
              <a:gd name="connsiteX140" fmla="*/ 1131093 w 1350168"/>
              <a:gd name="connsiteY140" fmla="*/ 1185863 h 1533525"/>
              <a:gd name="connsiteX141" fmla="*/ 1107281 w 1350168"/>
              <a:gd name="connsiteY141" fmla="*/ 1219200 h 1533525"/>
              <a:gd name="connsiteX142" fmla="*/ 1104900 w 1350168"/>
              <a:gd name="connsiteY142" fmla="*/ 1264444 h 1533525"/>
              <a:gd name="connsiteX143" fmla="*/ 1062037 w 1350168"/>
              <a:gd name="connsiteY143" fmla="*/ 1259681 h 1533525"/>
              <a:gd name="connsiteX144" fmla="*/ 1026318 w 1350168"/>
              <a:gd name="connsiteY144" fmla="*/ 1288256 h 1533525"/>
              <a:gd name="connsiteX145" fmla="*/ 1007268 w 1350168"/>
              <a:gd name="connsiteY145" fmla="*/ 1240631 h 1533525"/>
              <a:gd name="connsiteX146" fmla="*/ 947737 w 1350168"/>
              <a:gd name="connsiteY146" fmla="*/ 1231106 h 1533525"/>
              <a:gd name="connsiteX147" fmla="*/ 921543 w 1350168"/>
              <a:gd name="connsiteY147" fmla="*/ 1297781 h 1533525"/>
              <a:gd name="connsiteX148" fmla="*/ 885825 w 1350168"/>
              <a:gd name="connsiteY148" fmla="*/ 1278731 h 1533525"/>
              <a:gd name="connsiteX149" fmla="*/ 816768 w 1350168"/>
              <a:gd name="connsiteY149" fmla="*/ 1295400 h 1533525"/>
              <a:gd name="connsiteX150" fmla="*/ 757237 w 1350168"/>
              <a:gd name="connsiteY150" fmla="*/ 1259681 h 1533525"/>
              <a:gd name="connsiteX151" fmla="*/ 742950 w 1350168"/>
              <a:gd name="connsiteY151" fmla="*/ 1312069 h 1533525"/>
              <a:gd name="connsiteX152" fmla="*/ 704850 w 1350168"/>
              <a:gd name="connsiteY152" fmla="*/ 1345406 h 1533525"/>
              <a:gd name="connsiteX153" fmla="*/ 692943 w 1350168"/>
              <a:gd name="connsiteY153" fmla="*/ 1366838 h 1533525"/>
              <a:gd name="connsiteX154" fmla="*/ 671512 w 1350168"/>
              <a:gd name="connsiteY154" fmla="*/ 1509713 h 1533525"/>
              <a:gd name="connsiteX155" fmla="*/ 633412 w 1350168"/>
              <a:gd name="connsiteY155" fmla="*/ 1490663 h 1533525"/>
              <a:gd name="connsiteX156" fmla="*/ 614362 w 1350168"/>
              <a:gd name="connsiteY156" fmla="*/ 1504950 h 1533525"/>
              <a:gd name="connsiteX157" fmla="*/ 581025 w 1350168"/>
              <a:gd name="connsiteY157" fmla="*/ 1531144 h 1533525"/>
              <a:gd name="connsiteX158" fmla="*/ 523875 w 1350168"/>
              <a:gd name="connsiteY158" fmla="*/ 1502569 h 1533525"/>
              <a:gd name="connsiteX159" fmla="*/ 514350 w 1350168"/>
              <a:gd name="connsiteY159" fmla="*/ 1490663 h 1533525"/>
              <a:gd name="connsiteX160" fmla="*/ 483393 w 1350168"/>
              <a:gd name="connsiteY160" fmla="*/ 1533525 h 1533525"/>
              <a:gd name="connsiteX0" fmla="*/ 483393 w 1302543"/>
              <a:gd name="connsiteY0" fmla="*/ 1533525 h 1533525"/>
              <a:gd name="connsiteX1" fmla="*/ 459581 w 1302543"/>
              <a:gd name="connsiteY1" fmla="*/ 1481138 h 1533525"/>
              <a:gd name="connsiteX2" fmla="*/ 438150 w 1302543"/>
              <a:gd name="connsiteY2" fmla="*/ 1471613 h 1533525"/>
              <a:gd name="connsiteX3" fmla="*/ 400050 w 1302543"/>
              <a:gd name="connsiteY3" fmla="*/ 1485900 h 1533525"/>
              <a:gd name="connsiteX4" fmla="*/ 338137 w 1302543"/>
              <a:gd name="connsiteY4" fmla="*/ 1490663 h 1533525"/>
              <a:gd name="connsiteX5" fmla="*/ 330993 w 1302543"/>
              <a:gd name="connsiteY5" fmla="*/ 1497806 h 1533525"/>
              <a:gd name="connsiteX6" fmla="*/ 271462 w 1302543"/>
              <a:gd name="connsiteY6" fmla="*/ 1471613 h 1533525"/>
              <a:gd name="connsiteX7" fmla="*/ 219075 w 1302543"/>
              <a:gd name="connsiteY7" fmla="*/ 1443038 h 1533525"/>
              <a:gd name="connsiteX8" fmla="*/ 138112 w 1302543"/>
              <a:gd name="connsiteY8" fmla="*/ 1402556 h 1533525"/>
              <a:gd name="connsiteX9" fmla="*/ 95250 w 1302543"/>
              <a:gd name="connsiteY9" fmla="*/ 1316831 h 1533525"/>
              <a:gd name="connsiteX10" fmla="*/ 80962 w 1302543"/>
              <a:gd name="connsiteY10" fmla="*/ 1288256 h 1533525"/>
              <a:gd name="connsiteX11" fmla="*/ 104775 w 1302543"/>
              <a:gd name="connsiteY11" fmla="*/ 1266825 h 1533525"/>
              <a:gd name="connsiteX12" fmla="*/ 76200 w 1302543"/>
              <a:gd name="connsiteY12" fmla="*/ 1212056 h 1533525"/>
              <a:gd name="connsiteX13" fmla="*/ 109537 w 1302543"/>
              <a:gd name="connsiteY13" fmla="*/ 1193006 h 1533525"/>
              <a:gd name="connsiteX14" fmla="*/ 140493 w 1302543"/>
              <a:gd name="connsiteY14" fmla="*/ 1143000 h 1533525"/>
              <a:gd name="connsiteX15" fmla="*/ 123825 w 1302543"/>
              <a:gd name="connsiteY15" fmla="*/ 1107281 h 1533525"/>
              <a:gd name="connsiteX16" fmla="*/ 178593 w 1302543"/>
              <a:gd name="connsiteY16" fmla="*/ 1107281 h 1533525"/>
              <a:gd name="connsiteX17" fmla="*/ 192881 w 1302543"/>
              <a:gd name="connsiteY17" fmla="*/ 1109663 h 1533525"/>
              <a:gd name="connsiteX18" fmla="*/ 159543 w 1302543"/>
              <a:gd name="connsiteY18" fmla="*/ 1064419 h 1533525"/>
              <a:gd name="connsiteX19" fmla="*/ 169068 w 1302543"/>
              <a:gd name="connsiteY19" fmla="*/ 1014413 h 1533525"/>
              <a:gd name="connsiteX20" fmla="*/ 123825 w 1302543"/>
              <a:gd name="connsiteY20" fmla="*/ 997744 h 1533525"/>
              <a:gd name="connsiteX21" fmla="*/ 61912 w 1302543"/>
              <a:gd name="connsiteY21" fmla="*/ 954881 h 1533525"/>
              <a:gd name="connsiteX22" fmla="*/ 45243 w 1302543"/>
              <a:gd name="connsiteY22" fmla="*/ 938213 h 1533525"/>
              <a:gd name="connsiteX23" fmla="*/ 64293 w 1302543"/>
              <a:gd name="connsiteY23" fmla="*/ 909638 h 1533525"/>
              <a:gd name="connsiteX24" fmla="*/ 47625 w 1302543"/>
              <a:gd name="connsiteY24" fmla="*/ 897731 h 1533525"/>
              <a:gd name="connsiteX25" fmla="*/ 47625 w 1302543"/>
              <a:gd name="connsiteY25" fmla="*/ 881063 h 1533525"/>
              <a:gd name="connsiteX26" fmla="*/ 26193 w 1302543"/>
              <a:gd name="connsiteY26" fmla="*/ 881063 h 1533525"/>
              <a:gd name="connsiteX27" fmla="*/ 7143 w 1302543"/>
              <a:gd name="connsiteY27" fmla="*/ 847725 h 1533525"/>
              <a:gd name="connsiteX28" fmla="*/ 0 w 1302543"/>
              <a:gd name="connsiteY28" fmla="*/ 816769 h 1533525"/>
              <a:gd name="connsiteX29" fmla="*/ 54768 w 1302543"/>
              <a:gd name="connsiteY29" fmla="*/ 800100 h 1533525"/>
              <a:gd name="connsiteX30" fmla="*/ 76200 w 1302543"/>
              <a:gd name="connsiteY30" fmla="*/ 788194 h 1533525"/>
              <a:gd name="connsiteX31" fmla="*/ 128587 w 1302543"/>
              <a:gd name="connsiteY31" fmla="*/ 821531 h 1533525"/>
              <a:gd name="connsiteX32" fmla="*/ 126206 w 1302543"/>
              <a:gd name="connsiteY32" fmla="*/ 800100 h 1533525"/>
              <a:gd name="connsiteX33" fmla="*/ 164306 w 1302543"/>
              <a:gd name="connsiteY33" fmla="*/ 795338 h 1533525"/>
              <a:gd name="connsiteX34" fmla="*/ 173831 w 1302543"/>
              <a:gd name="connsiteY34" fmla="*/ 759619 h 1533525"/>
              <a:gd name="connsiteX35" fmla="*/ 235743 w 1302543"/>
              <a:gd name="connsiteY35" fmla="*/ 764381 h 1533525"/>
              <a:gd name="connsiteX36" fmla="*/ 235743 w 1302543"/>
              <a:gd name="connsiteY36" fmla="*/ 764381 h 1533525"/>
              <a:gd name="connsiteX37" fmla="*/ 245268 w 1302543"/>
              <a:gd name="connsiteY37" fmla="*/ 704850 h 1533525"/>
              <a:gd name="connsiteX38" fmla="*/ 276225 w 1302543"/>
              <a:gd name="connsiteY38" fmla="*/ 666750 h 1533525"/>
              <a:gd name="connsiteX39" fmla="*/ 292893 w 1302543"/>
              <a:gd name="connsiteY39" fmla="*/ 638175 h 1533525"/>
              <a:gd name="connsiteX40" fmla="*/ 245268 w 1302543"/>
              <a:gd name="connsiteY40" fmla="*/ 602456 h 1533525"/>
              <a:gd name="connsiteX41" fmla="*/ 264318 w 1302543"/>
              <a:gd name="connsiteY41" fmla="*/ 585788 h 1533525"/>
              <a:gd name="connsiteX42" fmla="*/ 311943 w 1302543"/>
              <a:gd name="connsiteY42" fmla="*/ 602456 h 1533525"/>
              <a:gd name="connsiteX43" fmla="*/ 369093 w 1302543"/>
              <a:gd name="connsiteY43" fmla="*/ 573881 h 1533525"/>
              <a:gd name="connsiteX44" fmla="*/ 457200 w 1302543"/>
              <a:gd name="connsiteY44" fmla="*/ 545306 h 1533525"/>
              <a:gd name="connsiteX45" fmla="*/ 538162 w 1302543"/>
              <a:gd name="connsiteY45" fmla="*/ 578644 h 1533525"/>
              <a:gd name="connsiteX46" fmla="*/ 614362 w 1302543"/>
              <a:gd name="connsiteY46" fmla="*/ 550069 h 1533525"/>
              <a:gd name="connsiteX47" fmla="*/ 650081 w 1302543"/>
              <a:gd name="connsiteY47" fmla="*/ 552450 h 1533525"/>
              <a:gd name="connsiteX48" fmla="*/ 654843 w 1302543"/>
              <a:gd name="connsiteY48" fmla="*/ 523875 h 1533525"/>
              <a:gd name="connsiteX49" fmla="*/ 654843 w 1302543"/>
              <a:gd name="connsiteY49" fmla="*/ 490538 h 1533525"/>
              <a:gd name="connsiteX50" fmla="*/ 669131 w 1302543"/>
              <a:gd name="connsiteY50" fmla="*/ 469106 h 1533525"/>
              <a:gd name="connsiteX51" fmla="*/ 652462 w 1302543"/>
              <a:gd name="connsiteY51" fmla="*/ 450056 h 1533525"/>
              <a:gd name="connsiteX52" fmla="*/ 642937 w 1302543"/>
              <a:gd name="connsiteY52" fmla="*/ 411956 h 1533525"/>
              <a:gd name="connsiteX53" fmla="*/ 642937 w 1302543"/>
              <a:gd name="connsiteY53" fmla="*/ 330994 h 1533525"/>
              <a:gd name="connsiteX54" fmla="*/ 633412 w 1302543"/>
              <a:gd name="connsiteY54" fmla="*/ 319088 h 1533525"/>
              <a:gd name="connsiteX55" fmla="*/ 664368 w 1302543"/>
              <a:gd name="connsiteY55" fmla="*/ 285750 h 1533525"/>
              <a:gd name="connsiteX56" fmla="*/ 721518 w 1302543"/>
              <a:gd name="connsiteY56" fmla="*/ 292894 h 1533525"/>
              <a:gd name="connsiteX57" fmla="*/ 733425 w 1302543"/>
              <a:gd name="connsiteY57" fmla="*/ 264319 h 1533525"/>
              <a:gd name="connsiteX58" fmla="*/ 731043 w 1302543"/>
              <a:gd name="connsiteY58" fmla="*/ 228600 h 1533525"/>
              <a:gd name="connsiteX59" fmla="*/ 790575 w 1302543"/>
              <a:gd name="connsiteY59" fmla="*/ 192881 h 1533525"/>
              <a:gd name="connsiteX60" fmla="*/ 804862 w 1302543"/>
              <a:gd name="connsiteY60" fmla="*/ 166688 h 1533525"/>
              <a:gd name="connsiteX61" fmla="*/ 778668 w 1302543"/>
              <a:gd name="connsiteY61" fmla="*/ 128588 h 1533525"/>
              <a:gd name="connsiteX62" fmla="*/ 771525 w 1302543"/>
              <a:gd name="connsiteY62" fmla="*/ 104775 h 1533525"/>
              <a:gd name="connsiteX63" fmla="*/ 823912 w 1302543"/>
              <a:gd name="connsiteY63" fmla="*/ 97631 h 1533525"/>
              <a:gd name="connsiteX64" fmla="*/ 869156 w 1302543"/>
              <a:gd name="connsiteY64" fmla="*/ 52388 h 1533525"/>
              <a:gd name="connsiteX65" fmla="*/ 890587 w 1302543"/>
              <a:gd name="connsiteY65" fmla="*/ 23813 h 1533525"/>
              <a:gd name="connsiteX66" fmla="*/ 923925 w 1302543"/>
              <a:gd name="connsiteY66" fmla="*/ 9525 h 1533525"/>
              <a:gd name="connsiteX67" fmla="*/ 971550 w 1302543"/>
              <a:gd name="connsiteY67" fmla="*/ 0 h 1533525"/>
              <a:gd name="connsiteX68" fmla="*/ 971550 w 1302543"/>
              <a:gd name="connsiteY68" fmla="*/ 40481 h 1533525"/>
              <a:gd name="connsiteX69" fmla="*/ 950118 w 1302543"/>
              <a:gd name="connsiteY69" fmla="*/ 80963 h 1533525"/>
              <a:gd name="connsiteX70" fmla="*/ 950118 w 1302543"/>
              <a:gd name="connsiteY70" fmla="*/ 140494 h 1533525"/>
              <a:gd name="connsiteX71" fmla="*/ 969168 w 1302543"/>
              <a:gd name="connsiteY71" fmla="*/ 161925 h 1533525"/>
              <a:gd name="connsiteX72" fmla="*/ 1007268 w 1302543"/>
              <a:gd name="connsiteY72" fmla="*/ 188119 h 1533525"/>
              <a:gd name="connsiteX73" fmla="*/ 1019175 w 1302543"/>
              <a:gd name="connsiteY73" fmla="*/ 216694 h 1533525"/>
              <a:gd name="connsiteX74" fmla="*/ 1004887 w 1302543"/>
              <a:gd name="connsiteY74" fmla="*/ 226219 h 1533525"/>
              <a:gd name="connsiteX75" fmla="*/ 1057275 w 1302543"/>
              <a:gd name="connsiteY75" fmla="*/ 250031 h 1533525"/>
              <a:gd name="connsiteX76" fmla="*/ 1073943 w 1302543"/>
              <a:gd name="connsiteY76" fmla="*/ 228600 h 1533525"/>
              <a:gd name="connsiteX77" fmla="*/ 1083468 w 1302543"/>
              <a:gd name="connsiteY77" fmla="*/ 252413 h 1533525"/>
              <a:gd name="connsiteX78" fmla="*/ 1116806 w 1302543"/>
              <a:gd name="connsiteY78" fmla="*/ 252413 h 1533525"/>
              <a:gd name="connsiteX79" fmla="*/ 1123950 w 1302543"/>
              <a:gd name="connsiteY79" fmla="*/ 257175 h 1533525"/>
              <a:gd name="connsiteX80" fmla="*/ 1116806 w 1302543"/>
              <a:gd name="connsiteY80" fmla="*/ 276225 h 1533525"/>
              <a:gd name="connsiteX81" fmla="*/ 1088231 w 1302543"/>
              <a:gd name="connsiteY81" fmla="*/ 309563 h 1533525"/>
              <a:gd name="connsiteX82" fmla="*/ 1123950 w 1302543"/>
              <a:gd name="connsiteY82" fmla="*/ 333375 h 1533525"/>
              <a:gd name="connsiteX83" fmla="*/ 1135856 w 1302543"/>
              <a:gd name="connsiteY83" fmla="*/ 347663 h 1533525"/>
              <a:gd name="connsiteX84" fmla="*/ 1135856 w 1302543"/>
              <a:gd name="connsiteY84" fmla="*/ 376238 h 1533525"/>
              <a:gd name="connsiteX85" fmla="*/ 1119187 w 1302543"/>
              <a:gd name="connsiteY85" fmla="*/ 411956 h 1533525"/>
              <a:gd name="connsiteX86" fmla="*/ 1162050 w 1302543"/>
              <a:gd name="connsiteY86" fmla="*/ 423863 h 1533525"/>
              <a:gd name="connsiteX87" fmla="*/ 1233487 w 1302543"/>
              <a:gd name="connsiteY87" fmla="*/ 416719 h 1533525"/>
              <a:gd name="connsiteX88" fmla="*/ 1223962 w 1302543"/>
              <a:gd name="connsiteY88" fmla="*/ 385763 h 1533525"/>
              <a:gd name="connsiteX89" fmla="*/ 1188243 w 1302543"/>
              <a:gd name="connsiteY89" fmla="*/ 347663 h 1533525"/>
              <a:gd name="connsiteX90" fmla="*/ 1181100 w 1302543"/>
              <a:gd name="connsiteY90" fmla="*/ 333375 h 1533525"/>
              <a:gd name="connsiteX91" fmla="*/ 1207293 w 1302543"/>
              <a:gd name="connsiteY91" fmla="*/ 326231 h 1533525"/>
              <a:gd name="connsiteX92" fmla="*/ 1200150 w 1302543"/>
              <a:gd name="connsiteY92" fmla="*/ 302419 h 1533525"/>
              <a:gd name="connsiteX93" fmla="*/ 1223962 w 1302543"/>
              <a:gd name="connsiteY93" fmla="*/ 283369 h 1533525"/>
              <a:gd name="connsiteX94" fmla="*/ 1250156 w 1302543"/>
              <a:gd name="connsiteY94" fmla="*/ 242888 h 1533525"/>
              <a:gd name="connsiteX95" fmla="*/ 1302543 w 1302543"/>
              <a:gd name="connsiteY95" fmla="*/ 211931 h 1533525"/>
              <a:gd name="connsiteX96" fmla="*/ 1057275 w 1302543"/>
              <a:gd name="connsiteY96" fmla="*/ 264319 h 1533525"/>
              <a:gd name="connsiteX97" fmla="*/ 1062037 w 1302543"/>
              <a:gd name="connsiteY97" fmla="*/ 304800 h 1533525"/>
              <a:gd name="connsiteX98" fmla="*/ 995362 w 1302543"/>
              <a:gd name="connsiteY98" fmla="*/ 352425 h 1533525"/>
              <a:gd name="connsiteX99" fmla="*/ 973931 w 1302543"/>
              <a:gd name="connsiteY99" fmla="*/ 383381 h 1533525"/>
              <a:gd name="connsiteX100" fmla="*/ 1000125 w 1302543"/>
              <a:gd name="connsiteY100" fmla="*/ 428625 h 1533525"/>
              <a:gd name="connsiteX101" fmla="*/ 983456 w 1302543"/>
              <a:gd name="connsiteY101" fmla="*/ 466725 h 1533525"/>
              <a:gd name="connsiteX102" fmla="*/ 1000125 w 1302543"/>
              <a:gd name="connsiteY102" fmla="*/ 519113 h 1533525"/>
              <a:gd name="connsiteX103" fmla="*/ 1033462 w 1302543"/>
              <a:gd name="connsiteY103" fmla="*/ 519113 h 1533525"/>
              <a:gd name="connsiteX104" fmla="*/ 1019175 w 1302543"/>
              <a:gd name="connsiteY104" fmla="*/ 552450 h 1533525"/>
              <a:gd name="connsiteX105" fmla="*/ 1035843 w 1302543"/>
              <a:gd name="connsiteY105" fmla="*/ 590550 h 1533525"/>
              <a:gd name="connsiteX106" fmla="*/ 1035843 w 1302543"/>
              <a:gd name="connsiteY106" fmla="*/ 607219 h 1533525"/>
              <a:gd name="connsiteX107" fmla="*/ 1045368 w 1302543"/>
              <a:gd name="connsiteY107" fmla="*/ 645319 h 1533525"/>
              <a:gd name="connsiteX108" fmla="*/ 1064418 w 1302543"/>
              <a:gd name="connsiteY108" fmla="*/ 645319 h 1533525"/>
              <a:gd name="connsiteX109" fmla="*/ 1078706 w 1302543"/>
              <a:gd name="connsiteY109" fmla="*/ 666750 h 1533525"/>
              <a:gd name="connsiteX110" fmla="*/ 1085850 w 1302543"/>
              <a:gd name="connsiteY110" fmla="*/ 688181 h 1533525"/>
              <a:gd name="connsiteX111" fmla="*/ 1076325 w 1302543"/>
              <a:gd name="connsiteY111" fmla="*/ 719138 h 1533525"/>
              <a:gd name="connsiteX112" fmla="*/ 1021556 w 1302543"/>
              <a:gd name="connsiteY112" fmla="*/ 714375 h 1533525"/>
              <a:gd name="connsiteX113" fmla="*/ 1002506 w 1302543"/>
              <a:gd name="connsiteY113" fmla="*/ 721519 h 1533525"/>
              <a:gd name="connsiteX114" fmla="*/ 995362 w 1302543"/>
              <a:gd name="connsiteY114" fmla="*/ 726281 h 1533525"/>
              <a:gd name="connsiteX115" fmla="*/ 995362 w 1302543"/>
              <a:gd name="connsiteY115" fmla="*/ 726281 h 1533525"/>
              <a:gd name="connsiteX116" fmla="*/ 923925 w 1302543"/>
              <a:gd name="connsiteY116" fmla="*/ 721519 h 1533525"/>
              <a:gd name="connsiteX117" fmla="*/ 940593 w 1302543"/>
              <a:gd name="connsiteY117" fmla="*/ 778669 h 1533525"/>
              <a:gd name="connsiteX118" fmla="*/ 938212 w 1302543"/>
              <a:gd name="connsiteY118" fmla="*/ 847725 h 1533525"/>
              <a:gd name="connsiteX119" fmla="*/ 954881 w 1302543"/>
              <a:gd name="connsiteY119" fmla="*/ 871538 h 1533525"/>
              <a:gd name="connsiteX120" fmla="*/ 997743 w 1302543"/>
              <a:gd name="connsiteY120" fmla="*/ 919163 h 1533525"/>
              <a:gd name="connsiteX121" fmla="*/ 1012031 w 1302543"/>
              <a:gd name="connsiteY121" fmla="*/ 954881 h 1533525"/>
              <a:gd name="connsiteX122" fmla="*/ 1031081 w 1302543"/>
              <a:gd name="connsiteY122" fmla="*/ 954881 h 1533525"/>
              <a:gd name="connsiteX123" fmla="*/ 1071562 w 1302543"/>
              <a:gd name="connsiteY123" fmla="*/ 940594 h 1533525"/>
              <a:gd name="connsiteX124" fmla="*/ 1102518 w 1302543"/>
              <a:gd name="connsiteY124" fmla="*/ 933450 h 1533525"/>
              <a:gd name="connsiteX125" fmla="*/ 1159668 w 1302543"/>
              <a:gd name="connsiteY125" fmla="*/ 997744 h 1533525"/>
              <a:gd name="connsiteX126" fmla="*/ 1178718 w 1302543"/>
              <a:gd name="connsiteY126" fmla="*/ 1052513 h 1533525"/>
              <a:gd name="connsiteX127" fmla="*/ 1190625 w 1302543"/>
              <a:gd name="connsiteY127" fmla="*/ 1081088 h 1533525"/>
              <a:gd name="connsiteX128" fmla="*/ 1212056 w 1302543"/>
              <a:gd name="connsiteY128" fmla="*/ 1109663 h 1533525"/>
              <a:gd name="connsiteX129" fmla="*/ 1231106 w 1302543"/>
              <a:gd name="connsiteY129" fmla="*/ 1102519 h 1533525"/>
              <a:gd name="connsiteX130" fmla="*/ 1231106 w 1302543"/>
              <a:gd name="connsiteY130" fmla="*/ 1131094 h 1533525"/>
              <a:gd name="connsiteX131" fmla="*/ 1233487 w 1302543"/>
              <a:gd name="connsiteY131" fmla="*/ 1145381 h 1533525"/>
              <a:gd name="connsiteX132" fmla="*/ 1266825 w 1302543"/>
              <a:gd name="connsiteY132" fmla="*/ 1181100 h 1533525"/>
              <a:gd name="connsiteX133" fmla="*/ 1233487 w 1302543"/>
              <a:gd name="connsiteY133" fmla="*/ 1181100 h 1533525"/>
              <a:gd name="connsiteX134" fmla="*/ 1228725 w 1302543"/>
              <a:gd name="connsiteY134" fmla="*/ 1223963 h 1533525"/>
              <a:gd name="connsiteX135" fmla="*/ 1226343 w 1302543"/>
              <a:gd name="connsiteY135" fmla="*/ 1243013 h 1533525"/>
              <a:gd name="connsiteX136" fmla="*/ 1216818 w 1302543"/>
              <a:gd name="connsiteY136" fmla="*/ 1264444 h 1533525"/>
              <a:gd name="connsiteX137" fmla="*/ 1190625 w 1302543"/>
              <a:gd name="connsiteY137" fmla="*/ 1238250 h 1533525"/>
              <a:gd name="connsiteX138" fmla="*/ 1157287 w 1302543"/>
              <a:gd name="connsiteY138" fmla="*/ 1209675 h 1533525"/>
              <a:gd name="connsiteX139" fmla="*/ 1131093 w 1302543"/>
              <a:gd name="connsiteY139" fmla="*/ 1185863 h 1533525"/>
              <a:gd name="connsiteX140" fmla="*/ 1107281 w 1302543"/>
              <a:gd name="connsiteY140" fmla="*/ 1219200 h 1533525"/>
              <a:gd name="connsiteX141" fmla="*/ 1104900 w 1302543"/>
              <a:gd name="connsiteY141" fmla="*/ 1264444 h 1533525"/>
              <a:gd name="connsiteX142" fmla="*/ 1062037 w 1302543"/>
              <a:gd name="connsiteY142" fmla="*/ 1259681 h 1533525"/>
              <a:gd name="connsiteX143" fmla="*/ 1026318 w 1302543"/>
              <a:gd name="connsiteY143" fmla="*/ 1288256 h 1533525"/>
              <a:gd name="connsiteX144" fmla="*/ 1007268 w 1302543"/>
              <a:gd name="connsiteY144" fmla="*/ 1240631 h 1533525"/>
              <a:gd name="connsiteX145" fmla="*/ 947737 w 1302543"/>
              <a:gd name="connsiteY145" fmla="*/ 1231106 h 1533525"/>
              <a:gd name="connsiteX146" fmla="*/ 921543 w 1302543"/>
              <a:gd name="connsiteY146" fmla="*/ 1297781 h 1533525"/>
              <a:gd name="connsiteX147" fmla="*/ 885825 w 1302543"/>
              <a:gd name="connsiteY147" fmla="*/ 1278731 h 1533525"/>
              <a:gd name="connsiteX148" fmla="*/ 816768 w 1302543"/>
              <a:gd name="connsiteY148" fmla="*/ 1295400 h 1533525"/>
              <a:gd name="connsiteX149" fmla="*/ 757237 w 1302543"/>
              <a:gd name="connsiteY149" fmla="*/ 1259681 h 1533525"/>
              <a:gd name="connsiteX150" fmla="*/ 742950 w 1302543"/>
              <a:gd name="connsiteY150" fmla="*/ 1312069 h 1533525"/>
              <a:gd name="connsiteX151" fmla="*/ 704850 w 1302543"/>
              <a:gd name="connsiteY151" fmla="*/ 1345406 h 1533525"/>
              <a:gd name="connsiteX152" fmla="*/ 692943 w 1302543"/>
              <a:gd name="connsiteY152" fmla="*/ 1366838 h 1533525"/>
              <a:gd name="connsiteX153" fmla="*/ 671512 w 1302543"/>
              <a:gd name="connsiteY153" fmla="*/ 1509713 h 1533525"/>
              <a:gd name="connsiteX154" fmla="*/ 633412 w 1302543"/>
              <a:gd name="connsiteY154" fmla="*/ 1490663 h 1533525"/>
              <a:gd name="connsiteX155" fmla="*/ 614362 w 1302543"/>
              <a:gd name="connsiteY155" fmla="*/ 1504950 h 1533525"/>
              <a:gd name="connsiteX156" fmla="*/ 581025 w 1302543"/>
              <a:gd name="connsiteY156" fmla="*/ 1531144 h 1533525"/>
              <a:gd name="connsiteX157" fmla="*/ 523875 w 1302543"/>
              <a:gd name="connsiteY157" fmla="*/ 1502569 h 1533525"/>
              <a:gd name="connsiteX158" fmla="*/ 514350 w 1302543"/>
              <a:gd name="connsiteY158" fmla="*/ 1490663 h 1533525"/>
              <a:gd name="connsiteX159" fmla="*/ 483393 w 1302543"/>
              <a:gd name="connsiteY159" fmla="*/ 1533525 h 1533525"/>
              <a:gd name="connsiteX0" fmla="*/ 1057275 w 1393983"/>
              <a:gd name="connsiteY0" fmla="*/ 264319 h 1533525"/>
              <a:gd name="connsiteX1" fmla="*/ 1062037 w 1393983"/>
              <a:gd name="connsiteY1" fmla="*/ 304800 h 1533525"/>
              <a:gd name="connsiteX2" fmla="*/ 995362 w 1393983"/>
              <a:gd name="connsiteY2" fmla="*/ 352425 h 1533525"/>
              <a:gd name="connsiteX3" fmla="*/ 973931 w 1393983"/>
              <a:gd name="connsiteY3" fmla="*/ 383381 h 1533525"/>
              <a:gd name="connsiteX4" fmla="*/ 1000125 w 1393983"/>
              <a:gd name="connsiteY4" fmla="*/ 428625 h 1533525"/>
              <a:gd name="connsiteX5" fmla="*/ 983456 w 1393983"/>
              <a:gd name="connsiteY5" fmla="*/ 466725 h 1533525"/>
              <a:gd name="connsiteX6" fmla="*/ 1000125 w 1393983"/>
              <a:gd name="connsiteY6" fmla="*/ 519113 h 1533525"/>
              <a:gd name="connsiteX7" fmla="*/ 1033462 w 1393983"/>
              <a:gd name="connsiteY7" fmla="*/ 519113 h 1533525"/>
              <a:gd name="connsiteX8" fmla="*/ 1019175 w 1393983"/>
              <a:gd name="connsiteY8" fmla="*/ 552450 h 1533525"/>
              <a:gd name="connsiteX9" fmla="*/ 1035843 w 1393983"/>
              <a:gd name="connsiteY9" fmla="*/ 590550 h 1533525"/>
              <a:gd name="connsiteX10" fmla="*/ 1035843 w 1393983"/>
              <a:gd name="connsiteY10" fmla="*/ 607219 h 1533525"/>
              <a:gd name="connsiteX11" fmla="*/ 1045368 w 1393983"/>
              <a:gd name="connsiteY11" fmla="*/ 645319 h 1533525"/>
              <a:gd name="connsiteX12" fmla="*/ 1064418 w 1393983"/>
              <a:gd name="connsiteY12" fmla="*/ 645319 h 1533525"/>
              <a:gd name="connsiteX13" fmla="*/ 1078706 w 1393983"/>
              <a:gd name="connsiteY13" fmla="*/ 666750 h 1533525"/>
              <a:gd name="connsiteX14" fmla="*/ 1085850 w 1393983"/>
              <a:gd name="connsiteY14" fmla="*/ 688181 h 1533525"/>
              <a:gd name="connsiteX15" fmla="*/ 1076325 w 1393983"/>
              <a:gd name="connsiteY15" fmla="*/ 719138 h 1533525"/>
              <a:gd name="connsiteX16" fmla="*/ 1021556 w 1393983"/>
              <a:gd name="connsiteY16" fmla="*/ 714375 h 1533525"/>
              <a:gd name="connsiteX17" fmla="*/ 1002506 w 1393983"/>
              <a:gd name="connsiteY17" fmla="*/ 721519 h 1533525"/>
              <a:gd name="connsiteX18" fmla="*/ 995362 w 1393983"/>
              <a:gd name="connsiteY18" fmla="*/ 726281 h 1533525"/>
              <a:gd name="connsiteX19" fmla="*/ 995362 w 1393983"/>
              <a:gd name="connsiteY19" fmla="*/ 726281 h 1533525"/>
              <a:gd name="connsiteX20" fmla="*/ 923925 w 1393983"/>
              <a:gd name="connsiteY20" fmla="*/ 721519 h 1533525"/>
              <a:gd name="connsiteX21" fmla="*/ 940593 w 1393983"/>
              <a:gd name="connsiteY21" fmla="*/ 778669 h 1533525"/>
              <a:gd name="connsiteX22" fmla="*/ 938212 w 1393983"/>
              <a:gd name="connsiteY22" fmla="*/ 847725 h 1533525"/>
              <a:gd name="connsiteX23" fmla="*/ 954881 w 1393983"/>
              <a:gd name="connsiteY23" fmla="*/ 871538 h 1533525"/>
              <a:gd name="connsiteX24" fmla="*/ 997743 w 1393983"/>
              <a:gd name="connsiteY24" fmla="*/ 919163 h 1533525"/>
              <a:gd name="connsiteX25" fmla="*/ 1012031 w 1393983"/>
              <a:gd name="connsiteY25" fmla="*/ 954881 h 1533525"/>
              <a:gd name="connsiteX26" fmla="*/ 1031081 w 1393983"/>
              <a:gd name="connsiteY26" fmla="*/ 954881 h 1533525"/>
              <a:gd name="connsiteX27" fmla="*/ 1071562 w 1393983"/>
              <a:gd name="connsiteY27" fmla="*/ 940594 h 1533525"/>
              <a:gd name="connsiteX28" fmla="*/ 1102518 w 1393983"/>
              <a:gd name="connsiteY28" fmla="*/ 933450 h 1533525"/>
              <a:gd name="connsiteX29" fmla="*/ 1159668 w 1393983"/>
              <a:gd name="connsiteY29" fmla="*/ 997744 h 1533525"/>
              <a:gd name="connsiteX30" fmla="*/ 1178718 w 1393983"/>
              <a:gd name="connsiteY30" fmla="*/ 1052513 h 1533525"/>
              <a:gd name="connsiteX31" fmla="*/ 1190625 w 1393983"/>
              <a:gd name="connsiteY31" fmla="*/ 1081088 h 1533525"/>
              <a:gd name="connsiteX32" fmla="*/ 1212056 w 1393983"/>
              <a:gd name="connsiteY32" fmla="*/ 1109663 h 1533525"/>
              <a:gd name="connsiteX33" fmla="*/ 1231106 w 1393983"/>
              <a:gd name="connsiteY33" fmla="*/ 1102519 h 1533525"/>
              <a:gd name="connsiteX34" fmla="*/ 1231106 w 1393983"/>
              <a:gd name="connsiteY34" fmla="*/ 1131094 h 1533525"/>
              <a:gd name="connsiteX35" fmla="*/ 1233487 w 1393983"/>
              <a:gd name="connsiteY35" fmla="*/ 1145381 h 1533525"/>
              <a:gd name="connsiteX36" fmla="*/ 1266825 w 1393983"/>
              <a:gd name="connsiteY36" fmla="*/ 1181100 h 1533525"/>
              <a:gd name="connsiteX37" fmla="*/ 1233487 w 1393983"/>
              <a:gd name="connsiteY37" fmla="*/ 1181100 h 1533525"/>
              <a:gd name="connsiteX38" fmla="*/ 1228725 w 1393983"/>
              <a:gd name="connsiteY38" fmla="*/ 1223963 h 1533525"/>
              <a:gd name="connsiteX39" fmla="*/ 1226343 w 1393983"/>
              <a:gd name="connsiteY39" fmla="*/ 1243013 h 1533525"/>
              <a:gd name="connsiteX40" fmla="*/ 1216818 w 1393983"/>
              <a:gd name="connsiteY40" fmla="*/ 1264444 h 1533525"/>
              <a:gd name="connsiteX41" fmla="*/ 1190625 w 1393983"/>
              <a:gd name="connsiteY41" fmla="*/ 1238250 h 1533525"/>
              <a:gd name="connsiteX42" fmla="*/ 1157287 w 1393983"/>
              <a:gd name="connsiteY42" fmla="*/ 1209675 h 1533525"/>
              <a:gd name="connsiteX43" fmla="*/ 1131093 w 1393983"/>
              <a:gd name="connsiteY43" fmla="*/ 1185863 h 1533525"/>
              <a:gd name="connsiteX44" fmla="*/ 1107281 w 1393983"/>
              <a:gd name="connsiteY44" fmla="*/ 1219200 h 1533525"/>
              <a:gd name="connsiteX45" fmla="*/ 1104900 w 1393983"/>
              <a:gd name="connsiteY45" fmla="*/ 1264444 h 1533525"/>
              <a:gd name="connsiteX46" fmla="*/ 1062037 w 1393983"/>
              <a:gd name="connsiteY46" fmla="*/ 1259681 h 1533525"/>
              <a:gd name="connsiteX47" fmla="*/ 1026318 w 1393983"/>
              <a:gd name="connsiteY47" fmla="*/ 1288256 h 1533525"/>
              <a:gd name="connsiteX48" fmla="*/ 1007268 w 1393983"/>
              <a:gd name="connsiteY48" fmla="*/ 1240631 h 1533525"/>
              <a:gd name="connsiteX49" fmla="*/ 947737 w 1393983"/>
              <a:gd name="connsiteY49" fmla="*/ 1231106 h 1533525"/>
              <a:gd name="connsiteX50" fmla="*/ 921543 w 1393983"/>
              <a:gd name="connsiteY50" fmla="*/ 1297781 h 1533525"/>
              <a:gd name="connsiteX51" fmla="*/ 885825 w 1393983"/>
              <a:gd name="connsiteY51" fmla="*/ 1278731 h 1533525"/>
              <a:gd name="connsiteX52" fmla="*/ 816768 w 1393983"/>
              <a:gd name="connsiteY52" fmla="*/ 1295400 h 1533525"/>
              <a:gd name="connsiteX53" fmla="*/ 757237 w 1393983"/>
              <a:gd name="connsiteY53" fmla="*/ 1259681 h 1533525"/>
              <a:gd name="connsiteX54" fmla="*/ 742950 w 1393983"/>
              <a:gd name="connsiteY54" fmla="*/ 1312069 h 1533525"/>
              <a:gd name="connsiteX55" fmla="*/ 704850 w 1393983"/>
              <a:gd name="connsiteY55" fmla="*/ 1345406 h 1533525"/>
              <a:gd name="connsiteX56" fmla="*/ 692943 w 1393983"/>
              <a:gd name="connsiteY56" fmla="*/ 1366838 h 1533525"/>
              <a:gd name="connsiteX57" fmla="*/ 671512 w 1393983"/>
              <a:gd name="connsiteY57" fmla="*/ 1509713 h 1533525"/>
              <a:gd name="connsiteX58" fmla="*/ 633412 w 1393983"/>
              <a:gd name="connsiteY58" fmla="*/ 1490663 h 1533525"/>
              <a:gd name="connsiteX59" fmla="*/ 614362 w 1393983"/>
              <a:gd name="connsiteY59" fmla="*/ 1504950 h 1533525"/>
              <a:gd name="connsiteX60" fmla="*/ 581025 w 1393983"/>
              <a:gd name="connsiteY60" fmla="*/ 1531144 h 1533525"/>
              <a:gd name="connsiteX61" fmla="*/ 523875 w 1393983"/>
              <a:gd name="connsiteY61" fmla="*/ 1502569 h 1533525"/>
              <a:gd name="connsiteX62" fmla="*/ 514350 w 1393983"/>
              <a:gd name="connsiteY62" fmla="*/ 1490663 h 1533525"/>
              <a:gd name="connsiteX63" fmla="*/ 483393 w 1393983"/>
              <a:gd name="connsiteY63" fmla="*/ 1533525 h 1533525"/>
              <a:gd name="connsiteX64" fmla="*/ 459581 w 1393983"/>
              <a:gd name="connsiteY64" fmla="*/ 1481138 h 1533525"/>
              <a:gd name="connsiteX65" fmla="*/ 438150 w 1393983"/>
              <a:gd name="connsiteY65" fmla="*/ 1471613 h 1533525"/>
              <a:gd name="connsiteX66" fmla="*/ 400050 w 1393983"/>
              <a:gd name="connsiteY66" fmla="*/ 1485900 h 1533525"/>
              <a:gd name="connsiteX67" fmla="*/ 338137 w 1393983"/>
              <a:gd name="connsiteY67" fmla="*/ 1490663 h 1533525"/>
              <a:gd name="connsiteX68" fmla="*/ 330993 w 1393983"/>
              <a:gd name="connsiteY68" fmla="*/ 1497806 h 1533525"/>
              <a:gd name="connsiteX69" fmla="*/ 271462 w 1393983"/>
              <a:gd name="connsiteY69" fmla="*/ 1471613 h 1533525"/>
              <a:gd name="connsiteX70" fmla="*/ 219075 w 1393983"/>
              <a:gd name="connsiteY70" fmla="*/ 1443038 h 1533525"/>
              <a:gd name="connsiteX71" fmla="*/ 138112 w 1393983"/>
              <a:gd name="connsiteY71" fmla="*/ 1402556 h 1533525"/>
              <a:gd name="connsiteX72" fmla="*/ 95250 w 1393983"/>
              <a:gd name="connsiteY72" fmla="*/ 1316831 h 1533525"/>
              <a:gd name="connsiteX73" fmla="*/ 80962 w 1393983"/>
              <a:gd name="connsiteY73" fmla="*/ 1288256 h 1533525"/>
              <a:gd name="connsiteX74" fmla="*/ 104775 w 1393983"/>
              <a:gd name="connsiteY74" fmla="*/ 1266825 h 1533525"/>
              <a:gd name="connsiteX75" fmla="*/ 76200 w 1393983"/>
              <a:gd name="connsiteY75" fmla="*/ 1212056 h 1533525"/>
              <a:gd name="connsiteX76" fmla="*/ 109537 w 1393983"/>
              <a:gd name="connsiteY76" fmla="*/ 1193006 h 1533525"/>
              <a:gd name="connsiteX77" fmla="*/ 140493 w 1393983"/>
              <a:gd name="connsiteY77" fmla="*/ 1143000 h 1533525"/>
              <a:gd name="connsiteX78" fmla="*/ 123825 w 1393983"/>
              <a:gd name="connsiteY78" fmla="*/ 1107281 h 1533525"/>
              <a:gd name="connsiteX79" fmla="*/ 178593 w 1393983"/>
              <a:gd name="connsiteY79" fmla="*/ 1107281 h 1533525"/>
              <a:gd name="connsiteX80" fmla="*/ 192881 w 1393983"/>
              <a:gd name="connsiteY80" fmla="*/ 1109663 h 1533525"/>
              <a:gd name="connsiteX81" fmla="*/ 159543 w 1393983"/>
              <a:gd name="connsiteY81" fmla="*/ 1064419 h 1533525"/>
              <a:gd name="connsiteX82" fmla="*/ 169068 w 1393983"/>
              <a:gd name="connsiteY82" fmla="*/ 1014413 h 1533525"/>
              <a:gd name="connsiteX83" fmla="*/ 123825 w 1393983"/>
              <a:gd name="connsiteY83" fmla="*/ 997744 h 1533525"/>
              <a:gd name="connsiteX84" fmla="*/ 61912 w 1393983"/>
              <a:gd name="connsiteY84" fmla="*/ 954881 h 1533525"/>
              <a:gd name="connsiteX85" fmla="*/ 45243 w 1393983"/>
              <a:gd name="connsiteY85" fmla="*/ 938213 h 1533525"/>
              <a:gd name="connsiteX86" fmla="*/ 64293 w 1393983"/>
              <a:gd name="connsiteY86" fmla="*/ 909638 h 1533525"/>
              <a:gd name="connsiteX87" fmla="*/ 47625 w 1393983"/>
              <a:gd name="connsiteY87" fmla="*/ 897731 h 1533525"/>
              <a:gd name="connsiteX88" fmla="*/ 47625 w 1393983"/>
              <a:gd name="connsiteY88" fmla="*/ 881063 h 1533525"/>
              <a:gd name="connsiteX89" fmla="*/ 26193 w 1393983"/>
              <a:gd name="connsiteY89" fmla="*/ 881063 h 1533525"/>
              <a:gd name="connsiteX90" fmla="*/ 7143 w 1393983"/>
              <a:gd name="connsiteY90" fmla="*/ 847725 h 1533525"/>
              <a:gd name="connsiteX91" fmla="*/ 0 w 1393983"/>
              <a:gd name="connsiteY91" fmla="*/ 816769 h 1533525"/>
              <a:gd name="connsiteX92" fmla="*/ 54768 w 1393983"/>
              <a:gd name="connsiteY92" fmla="*/ 800100 h 1533525"/>
              <a:gd name="connsiteX93" fmla="*/ 76200 w 1393983"/>
              <a:gd name="connsiteY93" fmla="*/ 788194 h 1533525"/>
              <a:gd name="connsiteX94" fmla="*/ 128587 w 1393983"/>
              <a:gd name="connsiteY94" fmla="*/ 821531 h 1533525"/>
              <a:gd name="connsiteX95" fmla="*/ 126206 w 1393983"/>
              <a:gd name="connsiteY95" fmla="*/ 800100 h 1533525"/>
              <a:gd name="connsiteX96" fmla="*/ 164306 w 1393983"/>
              <a:gd name="connsiteY96" fmla="*/ 795338 h 1533525"/>
              <a:gd name="connsiteX97" fmla="*/ 173831 w 1393983"/>
              <a:gd name="connsiteY97" fmla="*/ 759619 h 1533525"/>
              <a:gd name="connsiteX98" fmla="*/ 235743 w 1393983"/>
              <a:gd name="connsiteY98" fmla="*/ 764381 h 1533525"/>
              <a:gd name="connsiteX99" fmla="*/ 235743 w 1393983"/>
              <a:gd name="connsiteY99" fmla="*/ 764381 h 1533525"/>
              <a:gd name="connsiteX100" fmla="*/ 245268 w 1393983"/>
              <a:gd name="connsiteY100" fmla="*/ 704850 h 1533525"/>
              <a:gd name="connsiteX101" fmla="*/ 276225 w 1393983"/>
              <a:gd name="connsiteY101" fmla="*/ 666750 h 1533525"/>
              <a:gd name="connsiteX102" fmla="*/ 292893 w 1393983"/>
              <a:gd name="connsiteY102" fmla="*/ 638175 h 1533525"/>
              <a:gd name="connsiteX103" fmla="*/ 245268 w 1393983"/>
              <a:gd name="connsiteY103" fmla="*/ 602456 h 1533525"/>
              <a:gd name="connsiteX104" fmla="*/ 264318 w 1393983"/>
              <a:gd name="connsiteY104" fmla="*/ 585788 h 1533525"/>
              <a:gd name="connsiteX105" fmla="*/ 311943 w 1393983"/>
              <a:gd name="connsiteY105" fmla="*/ 602456 h 1533525"/>
              <a:gd name="connsiteX106" fmla="*/ 369093 w 1393983"/>
              <a:gd name="connsiteY106" fmla="*/ 573881 h 1533525"/>
              <a:gd name="connsiteX107" fmla="*/ 457200 w 1393983"/>
              <a:gd name="connsiteY107" fmla="*/ 545306 h 1533525"/>
              <a:gd name="connsiteX108" fmla="*/ 538162 w 1393983"/>
              <a:gd name="connsiteY108" fmla="*/ 578644 h 1533525"/>
              <a:gd name="connsiteX109" fmla="*/ 614362 w 1393983"/>
              <a:gd name="connsiteY109" fmla="*/ 550069 h 1533525"/>
              <a:gd name="connsiteX110" fmla="*/ 650081 w 1393983"/>
              <a:gd name="connsiteY110" fmla="*/ 552450 h 1533525"/>
              <a:gd name="connsiteX111" fmla="*/ 654843 w 1393983"/>
              <a:gd name="connsiteY111" fmla="*/ 523875 h 1533525"/>
              <a:gd name="connsiteX112" fmla="*/ 654843 w 1393983"/>
              <a:gd name="connsiteY112" fmla="*/ 490538 h 1533525"/>
              <a:gd name="connsiteX113" fmla="*/ 669131 w 1393983"/>
              <a:gd name="connsiteY113" fmla="*/ 469106 h 1533525"/>
              <a:gd name="connsiteX114" fmla="*/ 652462 w 1393983"/>
              <a:gd name="connsiteY114" fmla="*/ 450056 h 1533525"/>
              <a:gd name="connsiteX115" fmla="*/ 642937 w 1393983"/>
              <a:gd name="connsiteY115" fmla="*/ 411956 h 1533525"/>
              <a:gd name="connsiteX116" fmla="*/ 642937 w 1393983"/>
              <a:gd name="connsiteY116" fmla="*/ 330994 h 1533525"/>
              <a:gd name="connsiteX117" fmla="*/ 633412 w 1393983"/>
              <a:gd name="connsiteY117" fmla="*/ 319088 h 1533525"/>
              <a:gd name="connsiteX118" fmla="*/ 664368 w 1393983"/>
              <a:gd name="connsiteY118" fmla="*/ 285750 h 1533525"/>
              <a:gd name="connsiteX119" fmla="*/ 721518 w 1393983"/>
              <a:gd name="connsiteY119" fmla="*/ 292894 h 1533525"/>
              <a:gd name="connsiteX120" fmla="*/ 733425 w 1393983"/>
              <a:gd name="connsiteY120" fmla="*/ 264319 h 1533525"/>
              <a:gd name="connsiteX121" fmla="*/ 731043 w 1393983"/>
              <a:gd name="connsiteY121" fmla="*/ 228600 h 1533525"/>
              <a:gd name="connsiteX122" fmla="*/ 790575 w 1393983"/>
              <a:gd name="connsiteY122" fmla="*/ 192881 h 1533525"/>
              <a:gd name="connsiteX123" fmla="*/ 804862 w 1393983"/>
              <a:gd name="connsiteY123" fmla="*/ 166688 h 1533525"/>
              <a:gd name="connsiteX124" fmla="*/ 778668 w 1393983"/>
              <a:gd name="connsiteY124" fmla="*/ 128588 h 1533525"/>
              <a:gd name="connsiteX125" fmla="*/ 771525 w 1393983"/>
              <a:gd name="connsiteY125" fmla="*/ 104775 h 1533525"/>
              <a:gd name="connsiteX126" fmla="*/ 823912 w 1393983"/>
              <a:gd name="connsiteY126" fmla="*/ 97631 h 1533525"/>
              <a:gd name="connsiteX127" fmla="*/ 869156 w 1393983"/>
              <a:gd name="connsiteY127" fmla="*/ 52388 h 1533525"/>
              <a:gd name="connsiteX128" fmla="*/ 890587 w 1393983"/>
              <a:gd name="connsiteY128" fmla="*/ 23813 h 1533525"/>
              <a:gd name="connsiteX129" fmla="*/ 923925 w 1393983"/>
              <a:gd name="connsiteY129" fmla="*/ 9525 h 1533525"/>
              <a:gd name="connsiteX130" fmla="*/ 971550 w 1393983"/>
              <a:gd name="connsiteY130" fmla="*/ 0 h 1533525"/>
              <a:gd name="connsiteX131" fmla="*/ 971550 w 1393983"/>
              <a:gd name="connsiteY131" fmla="*/ 40481 h 1533525"/>
              <a:gd name="connsiteX132" fmla="*/ 950118 w 1393983"/>
              <a:gd name="connsiteY132" fmla="*/ 80963 h 1533525"/>
              <a:gd name="connsiteX133" fmla="*/ 950118 w 1393983"/>
              <a:gd name="connsiteY133" fmla="*/ 140494 h 1533525"/>
              <a:gd name="connsiteX134" fmla="*/ 969168 w 1393983"/>
              <a:gd name="connsiteY134" fmla="*/ 161925 h 1533525"/>
              <a:gd name="connsiteX135" fmla="*/ 1007268 w 1393983"/>
              <a:gd name="connsiteY135" fmla="*/ 188119 h 1533525"/>
              <a:gd name="connsiteX136" fmla="*/ 1019175 w 1393983"/>
              <a:gd name="connsiteY136" fmla="*/ 216694 h 1533525"/>
              <a:gd name="connsiteX137" fmla="*/ 1004887 w 1393983"/>
              <a:gd name="connsiteY137" fmla="*/ 226219 h 1533525"/>
              <a:gd name="connsiteX138" fmla="*/ 1057275 w 1393983"/>
              <a:gd name="connsiteY138" fmla="*/ 250031 h 1533525"/>
              <a:gd name="connsiteX139" fmla="*/ 1073943 w 1393983"/>
              <a:gd name="connsiteY139" fmla="*/ 228600 h 1533525"/>
              <a:gd name="connsiteX140" fmla="*/ 1083468 w 1393983"/>
              <a:gd name="connsiteY140" fmla="*/ 252413 h 1533525"/>
              <a:gd name="connsiteX141" fmla="*/ 1116806 w 1393983"/>
              <a:gd name="connsiteY141" fmla="*/ 252413 h 1533525"/>
              <a:gd name="connsiteX142" fmla="*/ 1123950 w 1393983"/>
              <a:gd name="connsiteY142" fmla="*/ 257175 h 1533525"/>
              <a:gd name="connsiteX143" fmla="*/ 1116806 w 1393983"/>
              <a:gd name="connsiteY143" fmla="*/ 276225 h 1533525"/>
              <a:gd name="connsiteX144" fmla="*/ 1088231 w 1393983"/>
              <a:gd name="connsiteY144" fmla="*/ 309563 h 1533525"/>
              <a:gd name="connsiteX145" fmla="*/ 1123950 w 1393983"/>
              <a:gd name="connsiteY145" fmla="*/ 333375 h 1533525"/>
              <a:gd name="connsiteX146" fmla="*/ 1135856 w 1393983"/>
              <a:gd name="connsiteY146" fmla="*/ 347663 h 1533525"/>
              <a:gd name="connsiteX147" fmla="*/ 1135856 w 1393983"/>
              <a:gd name="connsiteY147" fmla="*/ 376238 h 1533525"/>
              <a:gd name="connsiteX148" fmla="*/ 1119187 w 1393983"/>
              <a:gd name="connsiteY148" fmla="*/ 411956 h 1533525"/>
              <a:gd name="connsiteX149" fmla="*/ 1162050 w 1393983"/>
              <a:gd name="connsiteY149" fmla="*/ 423863 h 1533525"/>
              <a:gd name="connsiteX150" fmla="*/ 1233487 w 1393983"/>
              <a:gd name="connsiteY150" fmla="*/ 416719 h 1533525"/>
              <a:gd name="connsiteX151" fmla="*/ 1223962 w 1393983"/>
              <a:gd name="connsiteY151" fmla="*/ 385763 h 1533525"/>
              <a:gd name="connsiteX152" fmla="*/ 1188243 w 1393983"/>
              <a:gd name="connsiteY152" fmla="*/ 347663 h 1533525"/>
              <a:gd name="connsiteX153" fmla="*/ 1181100 w 1393983"/>
              <a:gd name="connsiteY153" fmla="*/ 333375 h 1533525"/>
              <a:gd name="connsiteX154" fmla="*/ 1207293 w 1393983"/>
              <a:gd name="connsiteY154" fmla="*/ 326231 h 1533525"/>
              <a:gd name="connsiteX155" fmla="*/ 1200150 w 1393983"/>
              <a:gd name="connsiteY155" fmla="*/ 302419 h 1533525"/>
              <a:gd name="connsiteX156" fmla="*/ 1223962 w 1393983"/>
              <a:gd name="connsiteY156" fmla="*/ 283369 h 1533525"/>
              <a:gd name="connsiteX157" fmla="*/ 1250156 w 1393983"/>
              <a:gd name="connsiteY157" fmla="*/ 242888 h 1533525"/>
              <a:gd name="connsiteX158" fmla="*/ 1393983 w 1393983"/>
              <a:gd name="connsiteY158" fmla="*/ 303371 h 1533525"/>
              <a:gd name="connsiteX0" fmla="*/ 1057275 w 1393983"/>
              <a:gd name="connsiteY0" fmla="*/ 264319 h 1533525"/>
              <a:gd name="connsiteX1" fmla="*/ 1062037 w 1393983"/>
              <a:gd name="connsiteY1" fmla="*/ 304800 h 1533525"/>
              <a:gd name="connsiteX2" fmla="*/ 995362 w 1393983"/>
              <a:gd name="connsiteY2" fmla="*/ 352425 h 1533525"/>
              <a:gd name="connsiteX3" fmla="*/ 973931 w 1393983"/>
              <a:gd name="connsiteY3" fmla="*/ 383381 h 1533525"/>
              <a:gd name="connsiteX4" fmla="*/ 1000125 w 1393983"/>
              <a:gd name="connsiteY4" fmla="*/ 428625 h 1533525"/>
              <a:gd name="connsiteX5" fmla="*/ 983456 w 1393983"/>
              <a:gd name="connsiteY5" fmla="*/ 466725 h 1533525"/>
              <a:gd name="connsiteX6" fmla="*/ 1000125 w 1393983"/>
              <a:gd name="connsiteY6" fmla="*/ 519113 h 1533525"/>
              <a:gd name="connsiteX7" fmla="*/ 1033462 w 1393983"/>
              <a:gd name="connsiteY7" fmla="*/ 519113 h 1533525"/>
              <a:gd name="connsiteX8" fmla="*/ 1019175 w 1393983"/>
              <a:gd name="connsiteY8" fmla="*/ 552450 h 1533525"/>
              <a:gd name="connsiteX9" fmla="*/ 1035843 w 1393983"/>
              <a:gd name="connsiteY9" fmla="*/ 590550 h 1533525"/>
              <a:gd name="connsiteX10" fmla="*/ 1035843 w 1393983"/>
              <a:gd name="connsiteY10" fmla="*/ 607219 h 1533525"/>
              <a:gd name="connsiteX11" fmla="*/ 1045368 w 1393983"/>
              <a:gd name="connsiteY11" fmla="*/ 645319 h 1533525"/>
              <a:gd name="connsiteX12" fmla="*/ 1064418 w 1393983"/>
              <a:gd name="connsiteY12" fmla="*/ 645319 h 1533525"/>
              <a:gd name="connsiteX13" fmla="*/ 1078706 w 1393983"/>
              <a:gd name="connsiteY13" fmla="*/ 666750 h 1533525"/>
              <a:gd name="connsiteX14" fmla="*/ 1085850 w 1393983"/>
              <a:gd name="connsiteY14" fmla="*/ 688181 h 1533525"/>
              <a:gd name="connsiteX15" fmla="*/ 1076325 w 1393983"/>
              <a:gd name="connsiteY15" fmla="*/ 719138 h 1533525"/>
              <a:gd name="connsiteX16" fmla="*/ 1021556 w 1393983"/>
              <a:gd name="connsiteY16" fmla="*/ 714375 h 1533525"/>
              <a:gd name="connsiteX17" fmla="*/ 1002506 w 1393983"/>
              <a:gd name="connsiteY17" fmla="*/ 721519 h 1533525"/>
              <a:gd name="connsiteX18" fmla="*/ 995362 w 1393983"/>
              <a:gd name="connsiteY18" fmla="*/ 726281 h 1533525"/>
              <a:gd name="connsiteX19" fmla="*/ 995362 w 1393983"/>
              <a:gd name="connsiteY19" fmla="*/ 726281 h 1533525"/>
              <a:gd name="connsiteX20" fmla="*/ 923925 w 1393983"/>
              <a:gd name="connsiteY20" fmla="*/ 721519 h 1533525"/>
              <a:gd name="connsiteX21" fmla="*/ 940593 w 1393983"/>
              <a:gd name="connsiteY21" fmla="*/ 778669 h 1533525"/>
              <a:gd name="connsiteX22" fmla="*/ 938212 w 1393983"/>
              <a:gd name="connsiteY22" fmla="*/ 847725 h 1533525"/>
              <a:gd name="connsiteX23" fmla="*/ 954881 w 1393983"/>
              <a:gd name="connsiteY23" fmla="*/ 871538 h 1533525"/>
              <a:gd name="connsiteX24" fmla="*/ 997743 w 1393983"/>
              <a:gd name="connsiteY24" fmla="*/ 919163 h 1533525"/>
              <a:gd name="connsiteX25" fmla="*/ 1012031 w 1393983"/>
              <a:gd name="connsiteY25" fmla="*/ 954881 h 1533525"/>
              <a:gd name="connsiteX26" fmla="*/ 1031081 w 1393983"/>
              <a:gd name="connsiteY26" fmla="*/ 954881 h 1533525"/>
              <a:gd name="connsiteX27" fmla="*/ 1071562 w 1393983"/>
              <a:gd name="connsiteY27" fmla="*/ 940594 h 1533525"/>
              <a:gd name="connsiteX28" fmla="*/ 1102518 w 1393983"/>
              <a:gd name="connsiteY28" fmla="*/ 933450 h 1533525"/>
              <a:gd name="connsiteX29" fmla="*/ 1159668 w 1393983"/>
              <a:gd name="connsiteY29" fmla="*/ 997744 h 1533525"/>
              <a:gd name="connsiteX30" fmla="*/ 1178718 w 1393983"/>
              <a:gd name="connsiteY30" fmla="*/ 1052513 h 1533525"/>
              <a:gd name="connsiteX31" fmla="*/ 1190625 w 1393983"/>
              <a:gd name="connsiteY31" fmla="*/ 1081088 h 1533525"/>
              <a:gd name="connsiteX32" fmla="*/ 1212056 w 1393983"/>
              <a:gd name="connsiteY32" fmla="*/ 1109663 h 1533525"/>
              <a:gd name="connsiteX33" fmla="*/ 1231106 w 1393983"/>
              <a:gd name="connsiteY33" fmla="*/ 1102519 h 1533525"/>
              <a:gd name="connsiteX34" fmla="*/ 1231106 w 1393983"/>
              <a:gd name="connsiteY34" fmla="*/ 1131094 h 1533525"/>
              <a:gd name="connsiteX35" fmla="*/ 1233487 w 1393983"/>
              <a:gd name="connsiteY35" fmla="*/ 1145381 h 1533525"/>
              <a:gd name="connsiteX36" fmla="*/ 1266825 w 1393983"/>
              <a:gd name="connsiteY36" fmla="*/ 1181100 h 1533525"/>
              <a:gd name="connsiteX37" fmla="*/ 1233487 w 1393983"/>
              <a:gd name="connsiteY37" fmla="*/ 1181100 h 1533525"/>
              <a:gd name="connsiteX38" fmla="*/ 1228725 w 1393983"/>
              <a:gd name="connsiteY38" fmla="*/ 1223963 h 1533525"/>
              <a:gd name="connsiteX39" fmla="*/ 1226343 w 1393983"/>
              <a:gd name="connsiteY39" fmla="*/ 1243013 h 1533525"/>
              <a:gd name="connsiteX40" fmla="*/ 1216818 w 1393983"/>
              <a:gd name="connsiteY40" fmla="*/ 1264444 h 1533525"/>
              <a:gd name="connsiteX41" fmla="*/ 1190625 w 1393983"/>
              <a:gd name="connsiteY41" fmla="*/ 1238250 h 1533525"/>
              <a:gd name="connsiteX42" fmla="*/ 1157287 w 1393983"/>
              <a:gd name="connsiteY42" fmla="*/ 1209675 h 1533525"/>
              <a:gd name="connsiteX43" fmla="*/ 1131093 w 1393983"/>
              <a:gd name="connsiteY43" fmla="*/ 1185863 h 1533525"/>
              <a:gd name="connsiteX44" fmla="*/ 1107281 w 1393983"/>
              <a:gd name="connsiteY44" fmla="*/ 1219200 h 1533525"/>
              <a:gd name="connsiteX45" fmla="*/ 1104900 w 1393983"/>
              <a:gd name="connsiteY45" fmla="*/ 1264444 h 1533525"/>
              <a:gd name="connsiteX46" fmla="*/ 1062037 w 1393983"/>
              <a:gd name="connsiteY46" fmla="*/ 1259681 h 1533525"/>
              <a:gd name="connsiteX47" fmla="*/ 1026318 w 1393983"/>
              <a:gd name="connsiteY47" fmla="*/ 1288256 h 1533525"/>
              <a:gd name="connsiteX48" fmla="*/ 1007268 w 1393983"/>
              <a:gd name="connsiteY48" fmla="*/ 1240631 h 1533525"/>
              <a:gd name="connsiteX49" fmla="*/ 947737 w 1393983"/>
              <a:gd name="connsiteY49" fmla="*/ 1231106 h 1533525"/>
              <a:gd name="connsiteX50" fmla="*/ 921543 w 1393983"/>
              <a:gd name="connsiteY50" fmla="*/ 1297781 h 1533525"/>
              <a:gd name="connsiteX51" fmla="*/ 885825 w 1393983"/>
              <a:gd name="connsiteY51" fmla="*/ 1278731 h 1533525"/>
              <a:gd name="connsiteX52" fmla="*/ 816768 w 1393983"/>
              <a:gd name="connsiteY52" fmla="*/ 1295400 h 1533525"/>
              <a:gd name="connsiteX53" fmla="*/ 757237 w 1393983"/>
              <a:gd name="connsiteY53" fmla="*/ 1259681 h 1533525"/>
              <a:gd name="connsiteX54" fmla="*/ 742950 w 1393983"/>
              <a:gd name="connsiteY54" fmla="*/ 1312069 h 1533525"/>
              <a:gd name="connsiteX55" fmla="*/ 704850 w 1393983"/>
              <a:gd name="connsiteY55" fmla="*/ 1345406 h 1533525"/>
              <a:gd name="connsiteX56" fmla="*/ 692943 w 1393983"/>
              <a:gd name="connsiteY56" fmla="*/ 1366838 h 1533525"/>
              <a:gd name="connsiteX57" fmla="*/ 671512 w 1393983"/>
              <a:gd name="connsiteY57" fmla="*/ 1509713 h 1533525"/>
              <a:gd name="connsiteX58" fmla="*/ 633412 w 1393983"/>
              <a:gd name="connsiteY58" fmla="*/ 1490663 h 1533525"/>
              <a:gd name="connsiteX59" fmla="*/ 614362 w 1393983"/>
              <a:gd name="connsiteY59" fmla="*/ 1504950 h 1533525"/>
              <a:gd name="connsiteX60" fmla="*/ 581025 w 1393983"/>
              <a:gd name="connsiteY60" fmla="*/ 1531144 h 1533525"/>
              <a:gd name="connsiteX61" fmla="*/ 523875 w 1393983"/>
              <a:gd name="connsiteY61" fmla="*/ 1502569 h 1533525"/>
              <a:gd name="connsiteX62" fmla="*/ 514350 w 1393983"/>
              <a:gd name="connsiteY62" fmla="*/ 1490663 h 1533525"/>
              <a:gd name="connsiteX63" fmla="*/ 483393 w 1393983"/>
              <a:gd name="connsiteY63" fmla="*/ 1533525 h 1533525"/>
              <a:gd name="connsiteX64" fmla="*/ 459581 w 1393983"/>
              <a:gd name="connsiteY64" fmla="*/ 1481138 h 1533525"/>
              <a:gd name="connsiteX65" fmla="*/ 438150 w 1393983"/>
              <a:gd name="connsiteY65" fmla="*/ 1471613 h 1533525"/>
              <a:gd name="connsiteX66" fmla="*/ 400050 w 1393983"/>
              <a:gd name="connsiteY66" fmla="*/ 1485900 h 1533525"/>
              <a:gd name="connsiteX67" fmla="*/ 338137 w 1393983"/>
              <a:gd name="connsiteY67" fmla="*/ 1490663 h 1533525"/>
              <a:gd name="connsiteX68" fmla="*/ 330993 w 1393983"/>
              <a:gd name="connsiteY68" fmla="*/ 1497806 h 1533525"/>
              <a:gd name="connsiteX69" fmla="*/ 271462 w 1393983"/>
              <a:gd name="connsiteY69" fmla="*/ 1471613 h 1533525"/>
              <a:gd name="connsiteX70" fmla="*/ 219075 w 1393983"/>
              <a:gd name="connsiteY70" fmla="*/ 1443038 h 1533525"/>
              <a:gd name="connsiteX71" fmla="*/ 138112 w 1393983"/>
              <a:gd name="connsiteY71" fmla="*/ 1402556 h 1533525"/>
              <a:gd name="connsiteX72" fmla="*/ 95250 w 1393983"/>
              <a:gd name="connsiteY72" fmla="*/ 1316831 h 1533525"/>
              <a:gd name="connsiteX73" fmla="*/ 80962 w 1393983"/>
              <a:gd name="connsiteY73" fmla="*/ 1288256 h 1533525"/>
              <a:gd name="connsiteX74" fmla="*/ 104775 w 1393983"/>
              <a:gd name="connsiteY74" fmla="*/ 1266825 h 1533525"/>
              <a:gd name="connsiteX75" fmla="*/ 76200 w 1393983"/>
              <a:gd name="connsiteY75" fmla="*/ 1212056 h 1533525"/>
              <a:gd name="connsiteX76" fmla="*/ 109537 w 1393983"/>
              <a:gd name="connsiteY76" fmla="*/ 1193006 h 1533525"/>
              <a:gd name="connsiteX77" fmla="*/ 140493 w 1393983"/>
              <a:gd name="connsiteY77" fmla="*/ 1143000 h 1533525"/>
              <a:gd name="connsiteX78" fmla="*/ 123825 w 1393983"/>
              <a:gd name="connsiteY78" fmla="*/ 1107281 h 1533525"/>
              <a:gd name="connsiteX79" fmla="*/ 178593 w 1393983"/>
              <a:gd name="connsiteY79" fmla="*/ 1107281 h 1533525"/>
              <a:gd name="connsiteX80" fmla="*/ 192881 w 1393983"/>
              <a:gd name="connsiteY80" fmla="*/ 1109663 h 1533525"/>
              <a:gd name="connsiteX81" fmla="*/ 159543 w 1393983"/>
              <a:gd name="connsiteY81" fmla="*/ 1064419 h 1533525"/>
              <a:gd name="connsiteX82" fmla="*/ 169068 w 1393983"/>
              <a:gd name="connsiteY82" fmla="*/ 1014413 h 1533525"/>
              <a:gd name="connsiteX83" fmla="*/ 123825 w 1393983"/>
              <a:gd name="connsiteY83" fmla="*/ 997744 h 1533525"/>
              <a:gd name="connsiteX84" fmla="*/ 61912 w 1393983"/>
              <a:gd name="connsiteY84" fmla="*/ 954881 h 1533525"/>
              <a:gd name="connsiteX85" fmla="*/ 45243 w 1393983"/>
              <a:gd name="connsiteY85" fmla="*/ 938213 h 1533525"/>
              <a:gd name="connsiteX86" fmla="*/ 64293 w 1393983"/>
              <a:gd name="connsiteY86" fmla="*/ 909638 h 1533525"/>
              <a:gd name="connsiteX87" fmla="*/ 47625 w 1393983"/>
              <a:gd name="connsiteY87" fmla="*/ 897731 h 1533525"/>
              <a:gd name="connsiteX88" fmla="*/ 47625 w 1393983"/>
              <a:gd name="connsiteY88" fmla="*/ 881063 h 1533525"/>
              <a:gd name="connsiteX89" fmla="*/ 26193 w 1393983"/>
              <a:gd name="connsiteY89" fmla="*/ 881063 h 1533525"/>
              <a:gd name="connsiteX90" fmla="*/ 7143 w 1393983"/>
              <a:gd name="connsiteY90" fmla="*/ 847725 h 1533525"/>
              <a:gd name="connsiteX91" fmla="*/ 0 w 1393983"/>
              <a:gd name="connsiteY91" fmla="*/ 816769 h 1533525"/>
              <a:gd name="connsiteX92" fmla="*/ 54768 w 1393983"/>
              <a:gd name="connsiteY92" fmla="*/ 800100 h 1533525"/>
              <a:gd name="connsiteX93" fmla="*/ 76200 w 1393983"/>
              <a:gd name="connsiteY93" fmla="*/ 788194 h 1533525"/>
              <a:gd name="connsiteX94" fmla="*/ 128587 w 1393983"/>
              <a:gd name="connsiteY94" fmla="*/ 821531 h 1533525"/>
              <a:gd name="connsiteX95" fmla="*/ 126206 w 1393983"/>
              <a:gd name="connsiteY95" fmla="*/ 800100 h 1533525"/>
              <a:gd name="connsiteX96" fmla="*/ 164306 w 1393983"/>
              <a:gd name="connsiteY96" fmla="*/ 795338 h 1533525"/>
              <a:gd name="connsiteX97" fmla="*/ 173831 w 1393983"/>
              <a:gd name="connsiteY97" fmla="*/ 759619 h 1533525"/>
              <a:gd name="connsiteX98" fmla="*/ 235743 w 1393983"/>
              <a:gd name="connsiteY98" fmla="*/ 764381 h 1533525"/>
              <a:gd name="connsiteX99" fmla="*/ 235743 w 1393983"/>
              <a:gd name="connsiteY99" fmla="*/ 764381 h 1533525"/>
              <a:gd name="connsiteX100" fmla="*/ 245268 w 1393983"/>
              <a:gd name="connsiteY100" fmla="*/ 704850 h 1533525"/>
              <a:gd name="connsiteX101" fmla="*/ 276225 w 1393983"/>
              <a:gd name="connsiteY101" fmla="*/ 666750 h 1533525"/>
              <a:gd name="connsiteX102" fmla="*/ 292893 w 1393983"/>
              <a:gd name="connsiteY102" fmla="*/ 638175 h 1533525"/>
              <a:gd name="connsiteX103" fmla="*/ 245268 w 1393983"/>
              <a:gd name="connsiteY103" fmla="*/ 602456 h 1533525"/>
              <a:gd name="connsiteX104" fmla="*/ 264318 w 1393983"/>
              <a:gd name="connsiteY104" fmla="*/ 585788 h 1533525"/>
              <a:gd name="connsiteX105" fmla="*/ 311943 w 1393983"/>
              <a:gd name="connsiteY105" fmla="*/ 602456 h 1533525"/>
              <a:gd name="connsiteX106" fmla="*/ 369093 w 1393983"/>
              <a:gd name="connsiteY106" fmla="*/ 573881 h 1533525"/>
              <a:gd name="connsiteX107" fmla="*/ 457200 w 1393983"/>
              <a:gd name="connsiteY107" fmla="*/ 545306 h 1533525"/>
              <a:gd name="connsiteX108" fmla="*/ 538162 w 1393983"/>
              <a:gd name="connsiteY108" fmla="*/ 578644 h 1533525"/>
              <a:gd name="connsiteX109" fmla="*/ 614362 w 1393983"/>
              <a:gd name="connsiteY109" fmla="*/ 550069 h 1533525"/>
              <a:gd name="connsiteX110" fmla="*/ 650081 w 1393983"/>
              <a:gd name="connsiteY110" fmla="*/ 552450 h 1533525"/>
              <a:gd name="connsiteX111" fmla="*/ 654843 w 1393983"/>
              <a:gd name="connsiteY111" fmla="*/ 523875 h 1533525"/>
              <a:gd name="connsiteX112" fmla="*/ 654843 w 1393983"/>
              <a:gd name="connsiteY112" fmla="*/ 490538 h 1533525"/>
              <a:gd name="connsiteX113" fmla="*/ 669131 w 1393983"/>
              <a:gd name="connsiteY113" fmla="*/ 469106 h 1533525"/>
              <a:gd name="connsiteX114" fmla="*/ 652462 w 1393983"/>
              <a:gd name="connsiteY114" fmla="*/ 450056 h 1533525"/>
              <a:gd name="connsiteX115" fmla="*/ 642937 w 1393983"/>
              <a:gd name="connsiteY115" fmla="*/ 411956 h 1533525"/>
              <a:gd name="connsiteX116" fmla="*/ 642937 w 1393983"/>
              <a:gd name="connsiteY116" fmla="*/ 330994 h 1533525"/>
              <a:gd name="connsiteX117" fmla="*/ 633412 w 1393983"/>
              <a:gd name="connsiteY117" fmla="*/ 319088 h 1533525"/>
              <a:gd name="connsiteX118" fmla="*/ 664368 w 1393983"/>
              <a:gd name="connsiteY118" fmla="*/ 285750 h 1533525"/>
              <a:gd name="connsiteX119" fmla="*/ 721518 w 1393983"/>
              <a:gd name="connsiteY119" fmla="*/ 292894 h 1533525"/>
              <a:gd name="connsiteX120" fmla="*/ 733425 w 1393983"/>
              <a:gd name="connsiteY120" fmla="*/ 264319 h 1533525"/>
              <a:gd name="connsiteX121" fmla="*/ 731043 w 1393983"/>
              <a:gd name="connsiteY121" fmla="*/ 228600 h 1533525"/>
              <a:gd name="connsiteX122" fmla="*/ 790575 w 1393983"/>
              <a:gd name="connsiteY122" fmla="*/ 192881 h 1533525"/>
              <a:gd name="connsiteX123" fmla="*/ 804862 w 1393983"/>
              <a:gd name="connsiteY123" fmla="*/ 166688 h 1533525"/>
              <a:gd name="connsiteX124" fmla="*/ 778668 w 1393983"/>
              <a:gd name="connsiteY124" fmla="*/ 128588 h 1533525"/>
              <a:gd name="connsiteX125" fmla="*/ 771525 w 1393983"/>
              <a:gd name="connsiteY125" fmla="*/ 104775 h 1533525"/>
              <a:gd name="connsiteX126" fmla="*/ 823912 w 1393983"/>
              <a:gd name="connsiteY126" fmla="*/ 97631 h 1533525"/>
              <a:gd name="connsiteX127" fmla="*/ 869156 w 1393983"/>
              <a:gd name="connsiteY127" fmla="*/ 52388 h 1533525"/>
              <a:gd name="connsiteX128" fmla="*/ 890587 w 1393983"/>
              <a:gd name="connsiteY128" fmla="*/ 23813 h 1533525"/>
              <a:gd name="connsiteX129" fmla="*/ 923925 w 1393983"/>
              <a:gd name="connsiteY129" fmla="*/ 9525 h 1533525"/>
              <a:gd name="connsiteX130" fmla="*/ 971550 w 1393983"/>
              <a:gd name="connsiteY130" fmla="*/ 0 h 1533525"/>
              <a:gd name="connsiteX131" fmla="*/ 971550 w 1393983"/>
              <a:gd name="connsiteY131" fmla="*/ 40481 h 1533525"/>
              <a:gd name="connsiteX132" fmla="*/ 950118 w 1393983"/>
              <a:gd name="connsiteY132" fmla="*/ 80963 h 1533525"/>
              <a:gd name="connsiteX133" fmla="*/ 950118 w 1393983"/>
              <a:gd name="connsiteY133" fmla="*/ 140494 h 1533525"/>
              <a:gd name="connsiteX134" fmla="*/ 969168 w 1393983"/>
              <a:gd name="connsiteY134" fmla="*/ 161925 h 1533525"/>
              <a:gd name="connsiteX135" fmla="*/ 1007268 w 1393983"/>
              <a:gd name="connsiteY135" fmla="*/ 188119 h 1533525"/>
              <a:gd name="connsiteX136" fmla="*/ 1019175 w 1393983"/>
              <a:gd name="connsiteY136" fmla="*/ 216694 h 1533525"/>
              <a:gd name="connsiteX137" fmla="*/ 1004887 w 1393983"/>
              <a:gd name="connsiteY137" fmla="*/ 226219 h 1533525"/>
              <a:gd name="connsiteX138" fmla="*/ 1057275 w 1393983"/>
              <a:gd name="connsiteY138" fmla="*/ 250031 h 1533525"/>
              <a:gd name="connsiteX139" fmla="*/ 1073943 w 1393983"/>
              <a:gd name="connsiteY139" fmla="*/ 228600 h 1533525"/>
              <a:gd name="connsiteX140" fmla="*/ 1083468 w 1393983"/>
              <a:gd name="connsiteY140" fmla="*/ 252413 h 1533525"/>
              <a:gd name="connsiteX141" fmla="*/ 1116806 w 1393983"/>
              <a:gd name="connsiteY141" fmla="*/ 252413 h 1533525"/>
              <a:gd name="connsiteX142" fmla="*/ 1123950 w 1393983"/>
              <a:gd name="connsiteY142" fmla="*/ 257175 h 1533525"/>
              <a:gd name="connsiteX143" fmla="*/ 1116806 w 1393983"/>
              <a:gd name="connsiteY143" fmla="*/ 276225 h 1533525"/>
              <a:gd name="connsiteX144" fmla="*/ 1088231 w 1393983"/>
              <a:gd name="connsiteY144" fmla="*/ 309563 h 1533525"/>
              <a:gd name="connsiteX145" fmla="*/ 1123950 w 1393983"/>
              <a:gd name="connsiteY145" fmla="*/ 333375 h 1533525"/>
              <a:gd name="connsiteX146" fmla="*/ 1135856 w 1393983"/>
              <a:gd name="connsiteY146" fmla="*/ 347663 h 1533525"/>
              <a:gd name="connsiteX147" fmla="*/ 1135856 w 1393983"/>
              <a:gd name="connsiteY147" fmla="*/ 376238 h 1533525"/>
              <a:gd name="connsiteX148" fmla="*/ 1119187 w 1393983"/>
              <a:gd name="connsiteY148" fmla="*/ 411956 h 1533525"/>
              <a:gd name="connsiteX149" fmla="*/ 1162050 w 1393983"/>
              <a:gd name="connsiteY149" fmla="*/ 423863 h 1533525"/>
              <a:gd name="connsiteX150" fmla="*/ 1233487 w 1393983"/>
              <a:gd name="connsiteY150" fmla="*/ 416719 h 1533525"/>
              <a:gd name="connsiteX151" fmla="*/ 1223962 w 1393983"/>
              <a:gd name="connsiteY151" fmla="*/ 385763 h 1533525"/>
              <a:gd name="connsiteX152" fmla="*/ 1188243 w 1393983"/>
              <a:gd name="connsiteY152" fmla="*/ 347663 h 1533525"/>
              <a:gd name="connsiteX153" fmla="*/ 1181100 w 1393983"/>
              <a:gd name="connsiteY153" fmla="*/ 333375 h 1533525"/>
              <a:gd name="connsiteX154" fmla="*/ 1207293 w 1393983"/>
              <a:gd name="connsiteY154" fmla="*/ 326231 h 1533525"/>
              <a:gd name="connsiteX155" fmla="*/ 1200150 w 1393983"/>
              <a:gd name="connsiteY155" fmla="*/ 302419 h 1533525"/>
              <a:gd name="connsiteX156" fmla="*/ 1223962 w 1393983"/>
              <a:gd name="connsiteY156" fmla="*/ 283369 h 1533525"/>
              <a:gd name="connsiteX157" fmla="*/ 1393983 w 1393983"/>
              <a:gd name="connsiteY157" fmla="*/ 303371 h 1533525"/>
              <a:gd name="connsiteX0" fmla="*/ 1057275 w 1266825"/>
              <a:gd name="connsiteY0" fmla="*/ 264319 h 1533525"/>
              <a:gd name="connsiteX1" fmla="*/ 1062037 w 1266825"/>
              <a:gd name="connsiteY1" fmla="*/ 304800 h 1533525"/>
              <a:gd name="connsiteX2" fmla="*/ 995362 w 1266825"/>
              <a:gd name="connsiteY2" fmla="*/ 352425 h 1533525"/>
              <a:gd name="connsiteX3" fmla="*/ 973931 w 1266825"/>
              <a:gd name="connsiteY3" fmla="*/ 383381 h 1533525"/>
              <a:gd name="connsiteX4" fmla="*/ 1000125 w 1266825"/>
              <a:gd name="connsiteY4" fmla="*/ 428625 h 1533525"/>
              <a:gd name="connsiteX5" fmla="*/ 983456 w 1266825"/>
              <a:gd name="connsiteY5" fmla="*/ 466725 h 1533525"/>
              <a:gd name="connsiteX6" fmla="*/ 1000125 w 1266825"/>
              <a:gd name="connsiteY6" fmla="*/ 519113 h 1533525"/>
              <a:gd name="connsiteX7" fmla="*/ 1033462 w 1266825"/>
              <a:gd name="connsiteY7" fmla="*/ 519113 h 1533525"/>
              <a:gd name="connsiteX8" fmla="*/ 1019175 w 1266825"/>
              <a:gd name="connsiteY8" fmla="*/ 552450 h 1533525"/>
              <a:gd name="connsiteX9" fmla="*/ 1035843 w 1266825"/>
              <a:gd name="connsiteY9" fmla="*/ 590550 h 1533525"/>
              <a:gd name="connsiteX10" fmla="*/ 1035843 w 1266825"/>
              <a:gd name="connsiteY10" fmla="*/ 607219 h 1533525"/>
              <a:gd name="connsiteX11" fmla="*/ 1045368 w 1266825"/>
              <a:gd name="connsiteY11" fmla="*/ 645319 h 1533525"/>
              <a:gd name="connsiteX12" fmla="*/ 1064418 w 1266825"/>
              <a:gd name="connsiteY12" fmla="*/ 645319 h 1533525"/>
              <a:gd name="connsiteX13" fmla="*/ 1078706 w 1266825"/>
              <a:gd name="connsiteY13" fmla="*/ 666750 h 1533525"/>
              <a:gd name="connsiteX14" fmla="*/ 1085850 w 1266825"/>
              <a:gd name="connsiteY14" fmla="*/ 688181 h 1533525"/>
              <a:gd name="connsiteX15" fmla="*/ 1076325 w 1266825"/>
              <a:gd name="connsiteY15" fmla="*/ 719138 h 1533525"/>
              <a:gd name="connsiteX16" fmla="*/ 1021556 w 1266825"/>
              <a:gd name="connsiteY16" fmla="*/ 714375 h 1533525"/>
              <a:gd name="connsiteX17" fmla="*/ 1002506 w 1266825"/>
              <a:gd name="connsiteY17" fmla="*/ 721519 h 1533525"/>
              <a:gd name="connsiteX18" fmla="*/ 995362 w 1266825"/>
              <a:gd name="connsiteY18" fmla="*/ 726281 h 1533525"/>
              <a:gd name="connsiteX19" fmla="*/ 995362 w 1266825"/>
              <a:gd name="connsiteY19" fmla="*/ 726281 h 1533525"/>
              <a:gd name="connsiteX20" fmla="*/ 923925 w 1266825"/>
              <a:gd name="connsiteY20" fmla="*/ 721519 h 1533525"/>
              <a:gd name="connsiteX21" fmla="*/ 940593 w 1266825"/>
              <a:gd name="connsiteY21" fmla="*/ 778669 h 1533525"/>
              <a:gd name="connsiteX22" fmla="*/ 938212 w 1266825"/>
              <a:gd name="connsiteY22" fmla="*/ 847725 h 1533525"/>
              <a:gd name="connsiteX23" fmla="*/ 954881 w 1266825"/>
              <a:gd name="connsiteY23" fmla="*/ 871538 h 1533525"/>
              <a:gd name="connsiteX24" fmla="*/ 997743 w 1266825"/>
              <a:gd name="connsiteY24" fmla="*/ 919163 h 1533525"/>
              <a:gd name="connsiteX25" fmla="*/ 1012031 w 1266825"/>
              <a:gd name="connsiteY25" fmla="*/ 954881 h 1533525"/>
              <a:gd name="connsiteX26" fmla="*/ 1031081 w 1266825"/>
              <a:gd name="connsiteY26" fmla="*/ 954881 h 1533525"/>
              <a:gd name="connsiteX27" fmla="*/ 1071562 w 1266825"/>
              <a:gd name="connsiteY27" fmla="*/ 940594 h 1533525"/>
              <a:gd name="connsiteX28" fmla="*/ 1102518 w 1266825"/>
              <a:gd name="connsiteY28" fmla="*/ 933450 h 1533525"/>
              <a:gd name="connsiteX29" fmla="*/ 1159668 w 1266825"/>
              <a:gd name="connsiteY29" fmla="*/ 997744 h 1533525"/>
              <a:gd name="connsiteX30" fmla="*/ 1178718 w 1266825"/>
              <a:gd name="connsiteY30" fmla="*/ 1052513 h 1533525"/>
              <a:gd name="connsiteX31" fmla="*/ 1190625 w 1266825"/>
              <a:gd name="connsiteY31" fmla="*/ 1081088 h 1533525"/>
              <a:gd name="connsiteX32" fmla="*/ 1212056 w 1266825"/>
              <a:gd name="connsiteY32" fmla="*/ 1109663 h 1533525"/>
              <a:gd name="connsiteX33" fmla="*/ 1231106 w 1266825"/>
              <a:gd name="connsiteY33" fmla="*/ 1102519 h 1533525"/>
              <a:gd name="connsiteX34" fmla="*/ 1231106 w 1266825"/>
              <a:gd name="connsiteY34" fmla="*/ 1131094 h 1533525"/>
              <a:gd name="connsiteX35" fmla="*/ 1233487 w 1266825"/>
              <a:gd name="connsiteY35" fmla="*/ 1145381 h 1533525"/>
              <a:gd name="connsiteX36" fmla="*/ 1266825 w 1266825"/>
              <a:gd name="connsiteY36" fmla="*/ 1181100 h 1533525"/>
              <a:gd name="connsiteX37" fmla="*/ 1233487 w 1266825"/>
              <a:gd name="connsiteY37" fmla="*/ 1181100 h 1533525"/>
              <a:gd name="connsiteX38" fmla="*/ 1228725 w 1266825"/>
              <a:gd name="connsiteY38" fmla="*/ 1223963 h 1533525"/>
              <a:gd name="connsiteX39" fmla="*/ 1226343 w 1266825"/>
              <a:gd name="connsiteY39" fmla="*/ 1243013 h 1533525"/>
              <a:gd name="connsiteX40" fmla="*/ 1216818 w 1266825"/>
              <a:gd name="connsiteY40" fmla="*/ 1264444 h 1533525"/>
              <a:gd name="connsiteX41" fmla="*/ 1190625 w 1266825"/>
              <a:gd name="connsiteY41" fmla="*/ 1238250 h 1533525"/>
              <a:gd name="connsiteX42" fmla="*/ 1157287 w 1266825"/>
              <a:gd name="connsiteY42" fmla="*/ 1209675 h 1533525"/>
              <a:gd name="connsiteX43" fmla="*/ 1131093 w 1266825"/>
              <a:gd name="connsiteY43" fmla="*/ 1185863 h 1533525"/>
              <a:gd name="connsiteX44" fmla="*/ 1107281 w 1266825"/>
              <a:gd name="connsiteY44" fmla="*/ 1219200 h 1533525"/>
              <a:gd name="connsiteX45" fmla="*/ 1104900 w 1266825"/>
              <a:gd name="connsiteY45" fmla="*/ 1264444 h 1533525"/>
              <a:gd name="connsiteX46" fmla="*/ 1062037 w 1266825"/>
              <a:gd name="connsiteY46" fmla="*/ 1259681 h 1533525"/>
              <a:gd name="connsiteX47" fmla="*/ 1026318 w 1266825"/>
              <a:gd name="connsiteY47" fmla="*/ 1288256 h 1533525"/>
              <a:gd name="connsiteX48" fmla="*/ 1007268 w 1266825"/>
              <a:gd name="connsiteY48" fmla="*/ 1240631 h 1533525"/>
              <a:gd name="connsiteX49" fmla="*/ 947737 w 1266825"/>
              <a:gd name="connsiteY49" fmla="*/ 1231106 h 1533525"/>
              <a:gd name="connsiteX50" fmla="*/ 921543 w 1266825"/>
              <a:gd name="connsiteY50" fmla="*/ 1297781 h 1533525"/>
              <a:gd name="connsiteX51" fmla="*/ 885825 w 1266825"/>
              <a:gd name="connsiteY51" fmla="*/ 1278731 h 1533525"/>
              <a:gd name="connsiteX52" fmla="*/ 816768 w 1266825"/>
              <a:gd name="connsiteY52" fmla="*/ 1295400 h 1533525"/>
              <a:gd name="connsiteX53" fmla="*/ 757237 w 1266825"/>
              <a:gd name="connsiteY53" fmla="*/ 1259681 h 1533525"/>
              <a:gd name="connsiteX54" fmla="*/ 742950 w 1266825"/>
              <a:gd name="connsiteY54" fmla="*/ 1312069 h 1533525"/>
              <a:gd name="connsiteX55" fmla="*/ 704850 w 1266825"/>
              <a:gd name="connsiteY55" fmla="*/ 1345406 h 1533525"/>
              <a:gd name="connsiteX56" fmla="*/ 692943 w 1266825"/>
              <a:gd name="connsiteY56" fmla="*/ 1366838 h 1533525"/>
              <a:gd name="connsiteX57" fmla="*/ 671512 w 1266825"/>
              <a:gd name="connsiteY57" fmla="*/ 1509713 h 1533525"/>
              <a:gd name="connsiteX58" fmla="*/ 633412 w 1266825"/>
              <a:gd name="connsiteY58" fmla="*/ 1490663 h 1533525"/>
              <a:gd name="connsiteX59" fmla="*/ 614362 w 1266825"/>
              <a:gd name="connsiteY59" fmla="*/ 1504950 h 1533525"/>
              <a:gd name="connsiteX60" fmla="*/ 581025 w 1266825"/>
              <a:gd name="connsiteY60" fmla="*/ 1531144 h 1533525"/>
              <a:gd name="connsiteX61" fmla="*/ 523875 w 1266825"/>
              <a:gd name="connsiteY61" fmla="*/ 1502569 h 1533525"/>
              <a:gd name="connsiteX62" fmla="*/ 514350 w 1266825"/>
              <a:gd name="connsiteY62" fmla="*/ 1490663 h 1533525"/>
              <a:gd name="connsiteX63" fmla="*/ 483393 w 1266825"/>
              <a:gd name="connsiteY63" fmla="*/ 1533525 h 1533525"/>
              <a:gd name="connsiteX64" fmla="*/ 459581 w 1266825"/>
              <a:gd name="connsiteY64" fmla="*/ 1481138 h 1533525"/>
              <a:gd name="connsiteX65" fmla="*/ 438150 w 1266825"/>
              <a:gd name="connsiteY65" fmla="*/ 1471613 h 1533525"/>
              <a:gd name="connsiteX66" fmla="*/ 400050 w 1266825"/>
              <a:gd name="connsiteY66" fmla="*/ 1485900 h 1533525"/>
              <a:gd name="connsiteX67" fmla="*/ 338137 w 1266825"/>
              <a:gd name="connsiteY67" fmla="*/ 1490663 h 1533525"/>
              <a:gd name="connsiteX68" fmla="*/ 330993 w 1266825"/>
              <a:gd name="connsiteY68" fmla="*/ 1497806 h 1533525"/>
              <a:gd name="connsiteX69" fmla="*/ 271462 w 1266825"/>
              <a:gd name="connsiteY69" fmla="*/ 1471613 h 1533525"/>
              <a:gd name="connsiteX70" fmla="*/ 219075 w 1266825"/>
              <a:gd name="connsiteY70" fmla="*/ 1443038 h 1533525"/>
              <a:gd name="connsiteX71" fmla="*/ 138112 w 1266825"/>
              <a:gd name="connsiteY71" fmla="*/ 1402556 h 1533525"/>
              <a:gd name="connsiteX72" fmla="*/ 95250 w 1266825"/>
              <a:gd name="connsiteY72" fmla="*/ 1316831 h 1533525"/>
              <a:gd name="connsiteX73" fmla="*/ 80962 w 1266825"/>
              <a:gd name="connsiteY73" fmla="*/ 1288256 h 1533525"/>
              <a:gd name="connsiteX74" fmla="*/ 104775 w 1266825"/>
              <a:gd name="connsiteY74" fmla="*/ 1266825 h 1533525"/>
              <a:gd name="connsiteX75" fmla="*/ 76200 w 1266825"/>
              <a:gd name="connsiteY75" fmla="*/ 1212056 h 1533525"/>
              <a:gd name="connsiteX76" fmla="*/ 109537 w 1266825"/>
              <a:gd name="connsiteY76" fmla="*/ 1193006 h 1533525"/>
              <a:gd name="connsiteX77" fmla="*/ 140493 w 1266825"/>
              <a:gd name="connsiteY77" fmla="*/ 1143000 h 1533525"/>
              <a:gd name="connsiteX78" fmla="*/ 123825 w 1266825"/>
              <a:gd name="connsiteY78" fmla="*/ 1107281 h 1533525"/>
              <a:gd name="connsiteX79" fmla="*/ 178593 w 1266825"/>
              <a:gd name="connsiteY79" fmla="*/ 1107281 h 1533525"/>
              <a:gd name="connsiteX80" fmla="*/ 192881 w 1266825"/>
              <a:gd name="connsiteY80" fmla="*/ 1109663 h 1533525"/>
              <a:gd name="connsiteX81" fmla="*/ 159543 w 1266825"/>
              <a:gd name="connsiteY81" fmla="*/ 1064419 h 1533525"/>
              <a:gd name="connsiteX82" fmla="*/ 169068 w 1266825"/>
              <a:gd name="connsiteY82" fmla="*/ 1014413 h 1533525"/>
              <a:gd name="connsiteX83" fmla="*/ 123825 w 1266825"/>
              <a:gd name="connsiteY83" fmla="*/ 997744 h 1533525"/>
              <a:gd name="connsiteX84" fmla="*/ 61912 w 1266825"/>
              <a:gd name="connsiteY84" fmla="*/ 954881 h 1533525"/>
              <a:gd name="connsiteX85" fmla="*/ 45243 w 1266825"/>
              <a:gd name="connsiteY85" fmla="*/ 938213 h 1533525"/>
              <a:gd name="connsiteX86" fmla="*/ 64293 w 1266825"/>
              <a:gd name="connsiteY86" fmla="*/ 909638 h 1533525"/>
              <a:gd name="connsiteX87" fmla="*/ 47625 w 1266825"/>
              <a:gd name="connsiteY87" fmla="*/ 897731 h 1533525"/>
              <a:gd name="connsiteX88" fmla="*/ 47625 w 1266825"/>
              <a:gd name="connsiteY88" fmla="*/ 881063 h 1533525"/>
              <a:gd name="connsiteX89" fmla="*/ 26193 w 1266825"/>
              <a:gd name="connsiteY89" fmla="*/ 881063 h 1533525"/>
              <a:gd name="connsiteX90" fmla="*/ 7143 w 1266825"/>
              <a:gd name="connsiteY90" fmla="*/ 847725 h 1533525"/>
              <a:gd name="connsiteX91" fmla="*/ 0 w 1266825"/>
              <a:gd name="connsiteY91" fmla="*/ 816769 h 1533525"/>
              <a:gd name="connsiteX92" fmla="*/ 54768 w 1266825"/>
              <a:gd name="connsiteY92" fmla="*/ 800100 h 1533525"/>
              <a:gd name="connsiteX93" fmla="*/ 76200 w 1266825"/>
              <a:gd name="connsiteY93" fmla="*/ 788194 h 1533525"/>
              <a:gd name="connsiteX94" fmla="*/ 128587 w 1266825"/>
              <a:gd name="connsiteY94" fmla="*/ 821531 h 1533525"/>
              <a:gd name="connsiteX95" fmla="*/ 126206 w 1266825"/>
              <a:gd name="connsiteY95" fmla="*/ 800100 h 1533525"/>
              <a:gd name="connsiteX96" fmla="*/ 164306 w 1266825"/>
              <a:gd name="connsiteY96" fmla="*/ 795338 h 1533525"/>
              <a:gd name="connsiteX97" fmla="*/ 173831 w 1266825"/>
              <a:gd name="connsiteY97" fmla="*/ 759619 h 1533525"/>
              <a:gd name="connsiteX98" fmla="*/ 235743 w 1266825"/>
              <a:gd name="connsiteY98" fmla="*/ 764381 h 1533525"/>
              <a:gd name="connsiteX99" fmla="*/ 235743 w 1266825"/>
              <a:gd name="connsiteY99" fmla="*/ 764381 h 1533525"/>
              <a:gd name="connsiteX100" fmla="*/ 245268 w 1266825"/>
              <a:gd name="connsiteY100" fmla="*/ 704850 h 1533525"/>
              <a:gd name="connsiteX101" fmla="*/ 276225 w 1266825"/>
              <a:gd name="connsiteY101" fmla="*/ 666750 h 1533525"/>
              <a:gd name="connsiteX102" fmla="*/ 292893 w 1266825"/>
              <a:gd name="connsiteY102" fmla="*/ 638175 h 1533525"/>
              <a:gd name="connsiteX103" fmla="*/ 245268 w 1266825"/>
              <a:gd name="connsiteY103" fmla="*/ 602456 h 1533525"/>
              <a:gd name="connsiteX104" fmla="*/ 264318 w 1266825"/>
              <a:gd name="connsiteY104" fmla="*/ 585788 h 1533525"/>
              <a:gd name="connsiteX105" fmla="*/ 311943 w 1266825"/>
              <a:gd name="connsiteY105" fmla="*/ 602456 h 1533525"/>
              <a:gd name="connsiteX106" fmla="*/ 369093 w 1266825"/>
              <a:gd name="connsiteY106" fmla="*/ 573881 h 1533525"/>
              <a:gd name="connsiteX107" fmla="*/ 457200 w 1266825"/>
              <a:gd name="connsiteY107" fmla="*/ 545306 h 1533525"/>
              <a:gd name="connsiteX108" fmla="*/ 538162 w 1266825"/>
              <a:gd name="connsiteY108" fmla="*/ 578644 h 1533525"/>
              <a:gd name="connsiteX109" fmla="*/ 614362 w 1266825"/>
              <a:gd name="connsiteY109" fmla="*/ 550069 h 1533525"/>
              <a:gd name="connsiteX110" fmla="*/ 650081 w 1266825"/>
              <a:gd name="connsiteY110" fmla="*/ 552450 h 1533525"/>
              <a:gd name="connsiteX111" fmla="*/ 654843 w 1266825"/>
              <a:gd name="connsiteY111" fmla="*/ 523875 h 1533525"/>
              <a:gd name="connsiteX112" fmla="*/ 654843 w 1266825"/>
              <a:gd name="connsiteY112" fmla="*/ 490538 h 1533525"/>
              <a:gd name="connsiteX113" fmla="*/ 669131 w 1266825"/>
              <a:gd name="connsiteY113" fmla="*/ 469106 h 1533525"/>
              <a:gd name="connsiteX114" fmla="*/ 652462 w 1266825"/>
              <a:gd name="connsiteY114" fmla="*/ 450056 h 1533525"/>
              <a:gd name="connsiteX115" fmla="*/ 642937 w 1266825"/>
              <a:gd name="connsiteY115" fmla="*/ 411956 h 1533525"/>
              <a:gd name="connsiteX116" fmla="*/ 642937 w 1266825"/>
              <a:gd name="connsiteY116" fmla="*/ 330994 h 1533525"/>
              <a:gd name="connsiteX117" fmla="*/ 633412 w 1266825"/>
              <a:gd name="connsiteY117" fmla="*/ 319088 h 1533525"/>
              <a:gd name="connsiteX118" fmla="*/ 664368 w 1266825"/>
              <a:gd name="connsiteY118" fmla="*/ 285750 h 1533525"/>
              <a:gd name="connsiteX119" fmla="*/ 721518 w 1266825"/>
              <a:gd name="connsiteY119" fmla="*/ 292894 h 1533525"/>
              <a:gd name="connsiteX120" fmla="*/ 733425 w 1266825"/>
              <a:gd name="connsiteY120" fmla="*/ 264319 h 1533525"/>
              <a:gd name="connsiteX121" fmla="*/ 731043 w 1266825"/>
              <a:gd name="connsiteY121" fmla="*/ 228600 h 1533525"/>
              <a:gd name="connsiteX122" fmla="*/ 790575 w 1266825"/>
              <a:gd name="connsiteY122" fmla="*/ 192881 h 1533525"/>
              <a:gd name="connsiteX123" fmla="*/ 804862 w 1266825"/>
              <a:gd name="connsiteY123" fmla="*/ 166688 h 1533525"/>
              <a:gd name="connsiteX124" fmla="*/ 778668 w 1266825"/>
              <a:gd name="connsiteY124" fmla="*/ 128588 h 1533525"/>
              <a:gd name="connsiteX125" fmla="*/ 771525 w 1266825"/>
              <a:gd name="connsiteY125" fmla="*/ 104775 h 1533525"/>
              <a:gd name="connsiteX126" fmla="*/ 823912 w 1266825"/>
              <a:gd name="connsiteY126" fmla="*/ 97631 h 1533525"/>
              <a:gd name="connsiteX127" fmla="*/ 869156 w 1266825"/>
              <a:gd name="connsiteY127" fmla="*/ 52388 h 1533525"/>
              <a:gd name="connsiteX128" fmla="*/ 890587 w 1266825"/>
              <a:gd name="connsiteY128" fmla="*/ 23813 h 1533525"/>
              <a:gd name="connsiteX129" fmla="*/ 923925 w 1266825"/>
              <a:gd name="connsiteY129" fmla="*/ 9525 h 1533525"/>
              <a:gd name="connsiteX130" fmla="*/ 971550 w 1266825"/>
              <a:gd name="connsiteY130" fmla="*/ 0 h 1533525"/>
              <a:gd name="connsiteX131" fmla="*/ 971550 w 1266825"/>
              <a:gd name="connsiteY131" fmla="*/ 40481 h 1533525"/>
              <a:gd name="connsiteX132" fmla="*/ 950118 w 1266825"/>
              <a:gd name="connsiteY132" fmla="*/ 80963 h 1533525"/>
              <a:gd name="connsiteX133" fmla="*/ 950118 w 1266825"/>
              <a:gd name="connsiteY133" fmla="*/ 140494 h 1533525"/>
              <a:gd name="connsiteX134" fmla="*/ 969168 w 1266825"/>
              <a:gd name="connsiteY134" fmla="*/ 161925 h 1533525"/>
              <a:gd name="connsiteX135" fmla="*/ 1007268 w 1266825"/>
              <a:gd name="connsiteY135" fmla="*/ 188119 h 1533525"/>
              <a:gd name="connsiteX136" fmla="*/ 1019175 w 1266825"/>
              <a:gd name="connsiteY136" fmla="*/ 216694 h 1533525"/>
              <a:gd name="connsiteX137" fmla="*/ 1004887 w 1266825"/>
              <a:gd name="connsiteY137" fmla="*/ 226219 h 1533525"/>
              <a:gd name="connsiteX138" fmla="*/ 1057275 w 1266825"/>
              <a:gd name="connsiteY138" fmla="*/ 250031 h 1533525"/>
              <a:gd name="connsiteX139" fmla="*/ 1073943 w 1266825"/>
              <a:gd name="connsiteY139" fmla="*/ 228600 h 1533525"/>
              <a:gd name="connsiteX140" fmla="*/ 1083468 w 1266825"/>
              <a:gd name="connsiteY140" fmla="*/ 252413 h 1533525"/>
              <a:gd name="connsiteX141" fmla="*/ 1116806 w 1266825"/>
              <a:gd name="connsiteY141" fmla="*/ 252413 h 1533525"/>
              <a:gd name="connsiteX142" fmla="*/ 1123950 w 1266825"/>
              <a:gd name="connsiteY142" fmla="*/ 257175 h 1533525"/>
              <a:gd name="connsiteX143" fmla="*/ 1116806 w 1266825"/>
              <a:gd name="connsiteY143" fmla="*/ 276225 h 1533525"/>
              <a:gd name="connsiteX144" fmla="*/ 1088231 w 1266825"/>
              <a:gd name="connsiteY144" fmla="*/ 309563 h 1533525"/>
              <a:gd name="connsiteX145" fmla="*/ 1123950 w 1266825"/>
              <a:gd name="connsiteY145" fmla="*/ 333375 h 1533525"/>
              <a:gd name="connsiteX146" fmla="*/ 1135856 w 1266825"/>
              <a:gd name="connsiteY146" fmla="*/ 347663 h 1533525"/>
              <a:gd name="connsiteX147" fmla="*/ 1135856 w 1266825"/>
              <a:gd name="connsiteY147" fmla="*/ 376238 h 1533525"/>
              <a:gd name="connsiteX148" fmla="*/ 1119187 w 1266825"/>
              <a:gd name="connsiteY148" fmla="*/ 411956 h 1533525"/>
              <a:gd name="connsiteX149" fmla="*/ 1162050 w 1266825"/>
              <a:gd name="connsiteY149" fmla="*/ 423863 h 1533525"/>
              <a:gd name="connsiteX150" fmla="*/ 1233487 w 1266825"/>
              <a:gd name="connsiteY150" fmla="*/ 416719 h 1533525"/>
              <a:gd name="connsiteX151" fmla="*/ 1223962 w 1266825"/>
              <a:gd name="connsiteY151" fmla="*/ 385763 h 1533525"/>
              <a:gd name="connsiteX152" fmla="*/ 1188243 w 1266825"/>
              <a:gd name="connsiteY152" fmla="*/ 347663 h 1533525"/>
              <a:gd name="connsiteX153" fmla="*/ 1181100 w 1266825"/>
              <a:gd name="connsiteY153" fmla="*/ 333375 h 1533525"/>
              <a:gd name="connsiteX154" fmla="*/ 1207293 w 1266825"/>
              <a:gd name="connsiteY154" fmla="*/ 326231 h 1533525"/>
              <a:gd name="connsiteX155" fmla="*/ 1200150 w 1266825"/>
              <a:gd name="connsiteY155" fmla="*/ 302419 h 1533525"/>
              <a:gd name="connsiteX156" fmla="*/ 1223962 w 1266825"/>
              <a:gd name="connsiteY156" fmla="*/ 283369 h 1533525"/>
              <a:gd name="connsiteX0" fmla="*/ 1057275 w 1266825"/>
              <a:gd name="connsiteY0" fmla="*/ 264319 h 1533525"/>
              <a:gd name="connsiteX1" fmla="*/ 1062037 w 1266825"/>
              <a:gd name="connsiteY1" fmla="*/ 304800 h 1533525"/>
              <a:gd name="connsiteX2" fmla="*/ 995362 w 1266825"/>
              <a:gd name="connsiteY2" fmla="*/ 352425 h 1533525"/>
              <a:gd name="connsiteX3" fmla="*/ 973931 w 1266825"/>
              <a:gd name="connsiteY3" fmla="*/ 383381 h 1533525"/>
              <a:gd name="connsiteX4" fmla="*/ 1000125 w 1266825"/>
              <a:gd name="connsiteY4" fmla="*/ 428625 h 1533525"/>
              <a:gd name="connsiteX5" fmla="*/ 983456 w 1266825"/>
              <a:gd name="connsiteY5" fmla="*/ 466725 h 1533525"/>
              <a:gd name="connsiteX6" fmla="*/ 1000125 w 1266825"/>
              <a:gd name="connsiteY6" fmla="*/ 519113 h 1533525"/>
              <a:gd name="connsiteX7" fmla="*/ 1033462 w 1266825"/>
              <a:gd name="connsiteY7" fmla="*/ 519113 h 1533525"/>
              <a:gd name="connsiteX8" fmla="*/ 1019175 w 1266825"/>
              <a:gd name="connsiteY8" fmla="*/ 552450 h 1533525"/>
              <a:gd name="connsiteX9" fmla="*/ 1035843 w 1266825"/>
              <a:gd name="connsiteY9" fmla="*/ 590550 h 1533525"/>
              <a:gd name="connsiteX10" fmla="*/ 1035843 w 1266825"/>
              <a:gd name="connsiteY10" fmla="*/ 607219 h 1533525"/>
              <a:gd name="connsiteX11" fmla="*/ 1045368 w 1266825"/>
              <a:gd name="connsiteY11" fmla="*/ 645319 h 1533525"/>
              <a:gd name="connsiteX12" fmla="*/ 1064418 w 1266825"/>
              <a:gd name="connsiteY12" fmla="*/ 645319 h 1533525"/>
              <a:gd name="connsiteX13" fmla="*/ 1078706 w 1266825"/>
              <a:gd name="connsiteY13" fmla="*/ 666750 h 1533525"/>
              <a:gd name="connsiteX14" fmla="*/ 1085850 w 1266825"/>
              <a:gd name="connsiteY14" fmla="*/ 688181 h 1533525"/>
              <a:gd name="connsiteX15" fmla="*/ 1076325 w 1266825"/>
              <a:gd name="connsiteY15" fmla="*/ 719138 h 1533525"/>
              <a:gd name="connsiteX16" fmla="*/ 1021556 w 1266825"/>
              <a:gd name="connsiteY16" fmla="*/ 714375 h 1533525"/>
              <a:gd name="connsiteX17" fmla="*/ 1002506 w 1266825"/>
              <a:gd name="connsiteY17" fmla="*/ 721519 h 1533525"/>
              <a:gd name="connsiteX18" fmla="*/ 995362 w 1266825"/>
              <a:gd name="connsiteY18" fmla="*/ 726281 h 1533525"/>
              <a:gd name="connsiteX19" fmla="*/ 995362 w 1266825"/>
              <a:gd name="connsiteY19" fmla="*/ 726281 h 1533525"/>
              <a:gd name="connsiteX20" fmla="*/ 923925 w 1266825"/>
              <a:gd name="connsiteY20" fmla="*/ 721519 h 1533525"/>
              <a:gd name="connsiteX21" fmla="*/ 940593 w 1266825"/>
              <a:gd name="connsiteY21" fmla="*/ 778669 h 1533525"/>
              <a:gd name="connsiteX22" fmla="*/ 938212 w 1266825"/>
              <a:gd name="connsiteY22" fmla="*/ 847725 h 1533525"/>
              <a:gd name="connsiteX23" fmla="*/ 954881 w 1266825"/>
              <a:gd name="connsiteY23" fmla="*/ 871538 h 1533525"/>
              <a:gd name="connsiteX24" fmla="*/ 997743 w 1266825"/>
              <a:gd name="connsiteY24" fmla="*/ 919163 h 1533525"/>
              <a:gd name="connsiteX25" fmla="*/ 1012031 w 1266825"/>
              <a:gd name="connsiteY25" fmla="*/ 954881 h 1533525"/>
              <a:gd name="connsiteX26" fmla="*/ 1031081 w 1266825"/>
              <a:gd name="connsiteY26" fmla="*/ 954881 h 1533525"/>
              <a:gd name="connsiteX27" fmla="*/ 1071562 w 1266825"/>
              <a:gd name="connsiteY27" fmla="*/ 940594 h 1533525"/>
              <a:gd name="connsiteX28" fmla="*/ 1102518 w 1266825"/>
              <a:gd name="connsiteY28" fmla="*/ 933450 h 1533525"/>
              <a:gd name="connsiteX29" fmla="*/ 1159668 w 1266825"/>
              <a:gd name="connsiteY29" fmla="*/ 997744 h 1533525"/>
              <a:gd name="connsiteX30" fmla="*/ 1178718 w 1266825"/>
              <a:gd name="connsiteY30" fmla="*/ 1052513 h 1533525"/>
              <a:gd name="connsiteX31" fmla="*/ 1190625 w 1266825"/>
              <a:gd name="connsiteY31" fmla="*/ 1081088 h 1533525"/>
              <a:gd name="connsiteX32" fmla="*/ 1212056 w 1266825"/>
              <a:gd name="connsiteY32" fmla="*/ 1109663 h 1533525"/>
              <a:gd name="connsiteX33" fmla="*/ 1231106 w 1266825"/>
              <a:gd name="connsiteY33" fmla="*/ 1102519 h 1533525"/>
              <a:gd name="connsiteX34" fmla="*/ 1231106 w 1266825"/>
              <a:gd name="connsiteY34" fmla="*/ 1131094 h 1533525"/>
              <a:gd name="connsiteX35" fmla="*/ 1233487 w 1266825"/>
              <a:gd name="connsiteY35" fmla="*/ 1145381 h 1533525"/>
              <a:gd name="connsiteX36" fmla="*/ 1266825 w 1266825"/>
              <a:gd name="connsiteY36" fmla="*/ 1181100 h 1533525"/>
              <a:gd name="connsiteX37" fmla="*/ 1233487 w 1266825"/>
              <a:gd name="connsiteY37" fmla="*/ 1181100 h 1533525"/>
              <a:gd name="connsiteX38" fmla="*/ 1228725 w 1266825"/>
              <a:gd name="connsiteY38" fmla="*/ 1223963 h 1533525"/>
              <a:gd name="connsiteX39" fmla="*/ 1226343 w 1266825"/>
              <a:gd name="connsiteY39" fmla="*/ 1243013 h 1533525"/>
              <a:gd name="connsiteX40" fmla="*/ 1216818 w 1266825"/>
              <a:gd name="connsiteY40" fmla="*/ 1264444 h 1533525"/>
              <a:gd name="connsiteX41" fmla="*/ 1190625 w 1266825"/>
              <a:gd name="connsiteY41" fmla="*/ 1238250 h 1533525"/>
              <a:gd name="connsiteX42" fmla="*/ 1157287 w 1266825"/>
              <a:gd name="connsiteY42" fmla="*/ 1209675 h 1533525"/>
              <a:gd name="connsiteX43" fmla="*/ 1131093 w 1266825"/>
              <a:gd name="connsiteY43" fmla="*/ 1185863 h 1533525"/>
              <a:gd name="connsiteX44" fmla="*/ 1107281 w 1266825"/>
              <a:gd name="connsiteY44" fmla="*/ 1219200 h 1533525"/>
              <a:gd name="connsiteX45" fmla="*/ 1104900 w 1266825"/>
              <a:gd name="connsiteY45" fmla="*/ 1264444 h 1533525"/>
              <a:gd name="connsiteX46" fmla="*/ 1062037 w 1266825"/>
              <a:gd name="connsiteY46" fmla="*/ 1259681 h 1533525"/>
              <a:gd name="connsiteX47" fmla="*/ 1026318 w 1266825"/>
              <a:gd name="connsiteY47" fmla="*/ 1288256 h 1533525"/>
              <a:gd name="connsiteX48" fmla="*/ 1007268 w 1266825"/>
              <a:gd name="connsiteY48" fmla="*/ 1240631 h 1533525"/>
              <a:gd name="connsiteX49" fmla="*/ 947737 w 1266825"/>
              <a:gd name="connsiteY49" fmla="*/ 1231106 h 1533525"/>
              <a:gd name="connsiteX50" fmla="*/ 921543 w 1266825"/>
              <a:gd name="connsiteY50" fmla="*/ 1297781 h 1533525"/>
              <a:gd name="connsiteX51" fmla="*/ 885825 w 1266825"/>
              <a:gd name="connsiteY51" fmla="*/ 1278731 h 1533525"/>
              <a:gd name="connsiteX52" fmla="*/ 816768 w 1266825"/>
              <a:gd name="connsiteY52" fmla="*/ 1295400 h 1533525"/>
              <a:gd name="connsiteX53" fmla="*/ 757237 w 1266825"/>
              <a:gd name="connsiteY53" fmla="*/ 1259681 h 1533525"/>
              <a:gd name="connsiteX54" fmla="*/ 742950 w 1266825"/>
              <a:gd name="connsiteY54" fmla="*/ 1312069 h 1533525"/>
              <a:gd name="connsiteX55" fmla="*/ 704850 w 1266825"/>
              <a:gd name="connsiteY55" fmla="*/ 1345406 h 1533525"/>
              <a:gd name="connsiteX56" fmla="*/ 692943 w 1266825"/>
              <a:gd name="connsiteY56" fmla="*/ 1366838 h 1533525"/>
              <a:gd name="connsiteX57" fmla="*/ 671512 w 1266825"/>
              <a:gd name="connsiteY57" fmla="*/ 1509713 h 1533525"/>
              <a:gd name="connsiteX58" fmla="*/ 633412 w 1266825"/>
              <a:gd name="connsiteY58" fmla="*/ 1490663 h 1533525"/>
              <a:gd name="connsiteX59" fmla="*/ 614362 w 1266825"/>
              <a:gd name="connsiteY59" fmla="*/ 1504950 h 1533525"/>
              <a:gd name="connsiteX60" fmla="*/ 581025 w 1266825"/>
              <a:gd name="connsiteY60" fmla="*/ 1531144 h 1533525"/>
              <a:gd name="connsiteX61" fmla="*/ 523875 w 1266825"/>
              <a:gd name="connsiteY61" fmla="*/ 1502569 h 1533525"/>
              <a:gd name="connsiteX62" fmla="*/ 514350 w 1266825"/>
              <a:gd name="connsiteY62" fmla="*/ 1490663 h 1533525"/>
              <a:gd name="connsiteX63" fmla="*/ 483393 w 1266825"/>
              <a:gd name="connsiteY63" fmla="*/ 1533525 h 1533525"/>
              <a:gd name="connsiteX64" fmla="*/ 459581 w 1266825"/>
              <a:gd name="connsiteY64" fmla="*/ 1481138 h 1533525"/>
              <a:gd name="connsiteX65" fmla="*/ 438150 w 1266825"/>
              <a:gd name="connsiteY65" fmla="*/ 1471613 h 1533525"/>
              <a:gd name="connsiteX66" fmla="*/ 400050 w 1266825"/>
              <a:gd name="connsiteY66" fmla="*/ 1485900 h 1533525"/>
              <a:gd name="connsiteX67" fmla="*/ 338137 w 1266825"/>
              <a:gd name="connsiteY67" fmla="*/ 1490663 h 1533525"/>
              <a:gd name="connsiteX68" fmla="*/ 330993 w 1266825"/>
              <a:gd name="connsiteY68" fmla="*/ 1497806 h 1533525"/>
              <a:gd name="connsiteX69" fmla="*/ 271462 w 1266825"/>
              <a:gd name="connsiteY69" fmla="*/ 1471613 h 1533525"/>
              <a:gd name="connsiteX70" fmla="*/ 219075 w 1266825"/>
              <a:gd name="connsiteY70" fmla="*/ 1443038 h 1533525"/>
              <a:gd name="connsiteX71" fmla="*/ 138112 w 1266825"/>
              <a:gd name="connsiteY71" fmla="*/ 1402556 h 1533525"/>
              <a:gd name="connsiteX72" fmla="*/ 95250 w 1266825"/>
              <a:gd name="connsiteY72" fmla="*/ 1316831 h 1533525"/>
              <a:gd name="connsiteX73" fmla="*/ 80962 w 1266825"/>
              <a:gd name="connsiteY73" fmla="*/ 1288256 h 1533525"/>
              <a:gd name="connsiteX74" fmla="*/ 104775 w 1266825"/>
              <a:gd name="connsiteY74" fmla="*/ 1266825 h 1533525"/>
              <a:gd name="connsiteX75" fmla="*/ 76200 w 1266825"/>
              <a:gd name="connsiteY75" fmla="*/ 1212056 h 1533525"/>
              <a:gd name="connsiteX76" fmla="*/ 109537 w 1266825"/>
              <a:gd name="connsiteY76" fmla="*/ 1193006 h 1533525"/>
              <a:gd name="connsiteX77" fmla="*/ 140493 w 1266825"/>
              <a:gd name="connsiteY77" fmla="*/ 1143000 h 1533525"/>
              <a:gd name="connsiteX78" fmla="*/ 123825 w 1266825"/>
              <a:gd name="connsiteY78" fmla="*/ 1107281 h 1533525"/>
              <a:gd name="connsiteX79" fmla="*/ 178593 w 1266825"/>
              <a:gd name="connsiteY79" fmla="*/ 1107281 h 1533525"/>
              <a:gd name="connsiteX80" fmla="*/ 192881 w 1266825"/>
              <a:gd name="connsiteY80" fmla="*/ 1109663 h 1533525"/>
              <a:gd name="connsiteX81" fmla="*/ 159543 w 1266825"/>
              <a:gd name="connsiteY81" fmla="*/ 1064419 h 1533525"/>
              <a:gd name="connsiteX82" fmla="*/ 169068 w 1266825"/>
              <a:gd name="connsiteY82" fmla="*/ 1014413 h 1533525"/>
              <a:gd name="connsiteX83" fmla="*/ 123825 w 1266825"/>
              <a:gd name="connsiteY83" fmla="*/ 997744 h 1533525"/>
              <a:gd name="connsiteX84" fmla="*/ 61912 w 1266825"/>
              <a:gd name="connsiteY84" fmla="*/ 954881 h 1533525"/>
              <a:gd name="connsiteX85" fmla="*/ 45243 w 1266825"/>
              <a:gd name="connsiteY85" fmla="*/ 938213 h 1533525"/>
              <a:gd name="connsiteX86" fmla="*/ 64293 w 1266825"/>
              <a:gd name="connsiteY86" fmla="*/ 909638 h 1533525"/>
              <a:gd name="connsiteX87" fmla="*/ 47625 w 1266825"/>
              <a:gd name="connsiteY87" fmla="*/ 897731 h 1533525"/>
              <a:gd name="connsiteX88" fmla="*/ 47625 w 1266825"/>
              <a:gd name="connsiteY88" fmla="*/ 881063 h 1533525"/>
              <a:gd name="connsiteX89" fmla="*/ 26193 w 1266825"/>
              <a:gd name="connsiteY89" fmla="*/ 881063 h 1533525"/>
              <a:gd name="connsiteX90" fmla="*/ 7143 w 1266825"/>
              <a:gd name="connsiteY90" fmla="*/ 847725 h 1533525"/>
              <a:gd name="connsiteX91" fmla="*/ 0 w 1266825"/>
              <a:gd name="connsiteY91" fmla="*/ 816769 h 1533525"/>
              <a:gd name="connsiteX92" fmla="*/ 54768 w 1266825"/>
              <a:gd name="connsiteY92" fmla="*/ 800100 h 1533525"/>
              <a:gd name="connsiteX93" fmla="*/ 76200 w 1266825"/>
              <a:gd name="connsiteY93" fmla="*/ 788194 h 1533525"/>
              <a:gd name="connsiteX94" fmla="*/ 128587 w 1266825"/>
              <a:gd name="connsiteY94" fmla="*/ 821531 h 1533525"/>
              <a:gd name="connsiteX95" fmla="*/ 126206 w 1266825"/>
              <a:gd name="connsiteY95" fmla="*/ 800100 h 1533525"/>
              <a:gd name="connsiteX96" fmla="*/ 164306 w 1266825"/>
              <a:gd name="connsiteY96" fmla="*/ 795338 h 1533525"/>
              <a:gd name="connsiteX97" fmla="*/ 173831 w 1266825"/>
              <a:gd name="connsiteY97" fmla="*/ 759619 h 1533525"/>
              <a:gd name="connsiteX98" fmla="*/ 235743 w 1266825"/>
              <a:gd name="connsiteY98" fmla="*/ 764381 h 1533525"/>
              <a:gd name="connsiteX99" fmla="*/ 235743 w 1266825"/>
              <a:gd name="connsiteY99" fmla="*/ 764381 h 1533525"/>
              <a:gd name="connsiteX100" fmla="*/ 245268 w 1266825"/>
              <a:gd name="connsiteY100" fmla="*/ 704850 h 1533525"/>
              <a:gd name="connsiteX101" fmla="*/ 276225 w 1266825"/>
              <a:gd name="connsiteY101" fmla="*/ 666750 h 1533525"/>
              <a:gd name="connsiteX102" fmla="*/ 292893 w 1266825"/>
              <a:gd name="connsiteY102" fmla="*/ 638175 h 1533525"/>
              <a:gd name="connsiteX103" fmla="*/ 245268 w 1266825"/>
              <a:gd name="connsiteY103" fmla="*/ 602456 h 1533525"/>
              <a:gd name="connsiteX104" fmla="*/ 264318 w 1266825"/>
              <a:gd name="connsiteY104" fmla="*/ 585788 h 1533525"/>
              <a:gd name="connsiteX105" fmla="*/ 311943 w 1266825"/>
              <a:gd name="connsiteY105" fmla="*/ 602456 h 1533525"/>
              <a:gd name="connsiteX106" fmla="*/ 369093 w 1266825"/>
              <a:gd name="connsiteY106" fmla="*/ 573881 h 1533525"/>
              <a:gd name="connsiteX107" fmla="*/ 457200 w 1266825"/>
              <a:gd name="connsiteY107" fmla="*/ 545306 h 1533525"/>
              <a:gd name="connsiteX108" fmla="*/ 538162 w 1266825"/>
              <a:gd name="connsiteY108" fmla="*/ 578644 h 1533525"/>
              <a:gd name="connsiteX109" fmla="*/ 614362 w 1266825"/>
              <a:gd name="connsiteY109" fmla="*/ 550069 h 1533525"/>
              <a:gd name="connsiteX110" fmla="*/ 650081 w 1266825"/>
              <a:gd name="connsiteY110" fmla="*/ 552450 h 1533525"/>
              <a:gd name="connsiteX111" fmla="*/ 654843 w 1266825"/>
              <a:gd name="connsiteY111" fmla="*/ 523875 h 1533525"/>
              <a:gd name="connsiteX112" fmla="*/ 654843 w 1266825"/>
              <a:gd name="connsiteY112" fmla="*/ 490538 h 1533525"/>
              <a:gd name="connsiteX113" fmla="*/ 669131 w 1266825"/>
              <a:gd name="connsiteY113" fmla="*/ 469106 h 1533525"/>
              <a:gd name="connsiteX114" fmla="*/ 652462 w 1266825"/>
              <a:gd name="connsiteY114" fmla="*/ 450056 h 1533525"/>
              <a:gd name="connsiteX115" fmla="*/ 642937 w 1266825"/>
              <a:gd name="connsiteY115" fmla="*/ 411956 h 1533525"/>
              <a:gd name="connsiteX116" fmla="*/ 642937 w 1266825"/>
              <a:gd name="connsiteY116" fmla="*/ 330994 h 1533525"/>
              <a:gd name="connsiteX117" fmla="*/ 633412 w 1266825"/>
              <a:gd name="connsiteY117" fmla="*/ 319088 h 1533525"/>
              <a:gd name="connsiteX118" fmla="*/ 664368 w 1266825"/>
              <a:gd name="connsiteY118" fmla="*/ 285750 h 1533525"/>
              <a:gd name="connsiteX119" fmla="*/ 721518 w 1266825"/>
              <a:gd name="connsiteY119" fmla="*/ 292894 h 1533525"/>
              <a:gd name="connsiteX120" fmla="*/ 733425 w 1266825"/>
              <a:gd name="connsiteY120" fmla="*/ 264319 h 1533525"/>
              <a:gd name="connsiteX121" fmla="*/ 731043 w 1266825"/>
              <a:gd name="connsiteY121" fmla="*/ 228600 h 1533525"/>
              <a:gd name="connsiteX122" fmla="*/ 790575 w 1266825"/>
              <a:gd name="connsiteY122" fmla="*/ 192881 h 1533525"/>
              <a:gd name="connsiteX123" fmla="*/ 804862 w 1266825"/>
              <a:gd name="connsiteY123" fmla="*/ 166688 h 1533525"/>
              <a:gd name="connsiteX124" fmla="*/ 778668 w 1266825"/>
              <a:gd name="connsiteY124" fmla="*/ 128588 h 1533525"/>
              <a:gd name="connsiteX125" fmla="*/ 771525 w 1266825"/>
              <a:gd name="connsiteY125" fmla="*/ 104775 h 1533525"/>
              <a:gd name="connsiteX126" fmla="*/ 823912 w 1266825"/>
              <a:gd name="connsiteY126" fmla="*/ 97631 h 1533525"/>
              <a:gd name="connsiteX127" fmla="*/ 869156 w 1266825"/>
              <a:gd name="connsiteY127" fmla="*/ 52388 h 1533525"/>
              <a:gd name="connsiteX128" fmla="*/ 890587 w 1266825"/>
              <a:gd name="connsiteY128" fmla="*/ 23813 h 1533525"/>
              <a:gd name="connsiteX129" fmla="*/ 923925 w 1266825"/>
              <a:gd name="connsiteY129" fmla="*/ 9525 h 1533525"/>
              <a:gd name="connsiteX130" fmla="*/ 971550 w 1266825"/>
              <a:gd name="connsiteY130" fmla="*/ 0 h 1533525"/>
              <a:gd name="connsiteX131" fmla="*/ 971550 w 1266825"/>
              <a:gd name="connsiteY131" fmla="*/ 40481 h 1533525"/>
              <a:gd name="connsiteX132" fmla="*/ 950118 w 1266825"/>
              <a:gd name="connsiteY132" fmla="*/ 80963 h 1533525"/>
              <a:gd name="connsiteX133" fmla="*/ 950118 w 1266825"/>
              <a:gd name="connsiteY133" fmla="*/ 140494 h 1533525"/>
              <a:gd name="connsiteX134" fmla="*/ 969168 w 1266825"/>
              <a:gd name="connsiteY134" fmla="*/ 161925 h 1533525"/>
              <a:gd name="connsiteX135" fmla="*/ 1007268 w 1266825"/>
              <a:gd name="connsiteY135" fmla="*/ 188119 h 1533525"/>
              <a:gd name="connsiteX136" fmla="*/ 1019175 w 1266825"/>
              <a:gd name="connsiteY136" fmla="*/ 216694 h 1533525"/>
              <a:gd name="connsiteX137" fmla="*/ 1004887 w 1266825"/>
              <a:gd name="connsiteY137" fmla="*/ 226219 h 1533525"/>
              <a:gd name="connsiteX138" fmla="*/ 1057275 w 1266825"/>
              <a:gd name="connsiteY138" fmla="*/ 250031 h 1533525"/>
              <a:gd name="connsiteX139" fmla="*/ 1073943 w 1266825"/>
              <a:gd name="connsiteY139" fmla="*/ 228600 h 1533525"/>
              <a:gd name="connsiteX140" fmla="*/ 1083468 w 1266825"/>
              <a:gd name="connsiteY140" fmla="*/ 252413 h 1533525"/>
              <a:gd name="connsiteX141" fmla="*/ 1116806 w 1266825"/>
              <a:gd name="connsiteY141" fmla="*/ 252413 h 1533525"/>
              <a:gd name="connsiteX142" fmla="*/ 1123950 w 1266825"/>
              <a:gd name="connsiteY142" fmla="*/ 257175 h 1533525"/>
              <a:gd name="connsiteX143" fmla="*/ 1116806 w 1266825"/>
              <a:gd name="connsiteY143" fmla="*/ 276225 h 1533525"/>
              <a:gd name="connsiteX144" fmla="*/ 1088231 w 1266825"/>
              <a:gd name="connsiteY144" fmla="*/ 309563 h 1533525"/>
              <a:gd name="connsiteX145" fmla="*/ 1123950 w 1266825"/>
              <a:gd name="connsiteY145" fmla="*/ 333375 h 1533525"/>
              <a:gd name="connsiteX146" fmla="*/ 1135856 w 1266825"/>
              <a:gd name="connsiteY146" fmla="*/ 347663 h 1533525"/>
              <a:gd name="connsiteX147" fmla="*/ 1135856 w 1266825"/>
              <a:gd name="connsiteY147" fmla="*/ 376238 h 1533525"/>
              <a:gd name="connsiteX148" fmla="*/ 1119187 w 1266825"/>
              <a:gd name="connsiteY148" fmla="*/ 411956 h 1533525"/>
              <a:gd name="connsiteX149" fmla="*/ 1162050 w 1266825"/>
              <a:gd name="connsiteY149" fmla="*/ 423863 h 1533525"/>
              <a:gd name="connsiteX150" fmla="*/ 1233487 w 1266825"/>
              <a:gd name="connsiteY150" fmla="*/ 416719 h 1533525"/>
              <a:gd name="connsiteX151" fmla="*/ 1223962 w 1266825"/>
              <a:gd name="connsiteY151" fmla="*/ 385763 h 1533525"/>
              <a:gd name="connsiteX152" fmla="*/ 1188243 w 1266825"/>
              <a:gd name="connsiteY152" fmla="*/ 347663 h 1533525"/>
              <a:gd name="connsiteX153" fmla="*/ 1181100 w 1266825"/>
              <a:gd name="connsiteY153" fmla="*/ 333375 h 1533525"/>
              <a:gd name="connsiteX154" fmla="*/ 1207293 w 1266825"/>
              <a:gd name="connsiteY154" fmla="*/ 326231 h 1533525"/>
              <a:gd name="connsiteX155" fmla="*/ 1200150 w 1266825"/>
              <a:gd name="connsiteY155" fmla="*/ 302419 h 1533525"/>
              <a:gd name="connsiteX0" fmla="*/ 1057275 w 1266825"/>
              <a:gd name="connsiteY0" fmla="*/ 264319 h 1533525"/>
              <a:gd name="connsiteX1" fmla="*/ 1062037 w 1266825"/>
              <a:gd name="connsiteY1" fmla="*/ 304800 h 1533525"/>
              <a:gd name="connsiteX2" fmla="*/ 995362 w 1266825"/>
              <a:gd name="connsiteY2" fmla="*/ 352425 h 1533525"/>
              <a:gd name="connsiteX3" fmla="*/ 973931 w 1266825"/>
              <a:gd name="connsiteY3" fmla="*/ 383381 h 1533525"/>
              <a:gd name="connsiteX4" fmla="*/ 1000125 w 1266825"/>
              <a:gd name="connsiteY4" fmla="*/ 428625 h 1533525"/>
              <a:gd name="connsiteX5" fmla="*/ 983456 w 1266825"/>
              <a:gd name="connsiteY5" fmla="*/ 466725 h 1533525"/>
              <a:gd name="connsiteX6" fmla="*/ 1000125 w 1266825"/>
              <a:gd name="connsiteY6" fmla="*/ 519113 h 1533525"/>
              <a:gd name="connsiteX7" fmla="*/ 1033462 w 1266825"/>
              <a:gd name="connsiteY7" fmla="*/ 519113 h 1533525"/>
              <a:gd name="connsiteX8" fmla="*/ 1019175 w 1266825"/>
              <a:gd name="connsiteY8" fmla="*/ 552450 h 1533525"/>
              <a:gd name="connsiteX9" fmla="*/ 1035843 w 1266825"/>
              <a:gd name="connsiteY9" fmla="*/ 590550 h 1533525"/>
              <a:gd name="connsiteX10" fmla="*/ 1035843 w 1266825"/>
              <a:gd name="connsiteY10" fmla="*/ 607219 h 1533525"/>
              <a:gd name="connsiteX11" fmla="*/ 1045368 w 1266825"/>
              <a:gd name="connsiteY11" fmla="*/ 645319 h 1533525"/>
              <a:gd name="connsiteX12" fmla="*/ 1064418 w 1266825"/>
              <a:gd name="connsiteY12" fmla="*/ 645319 h 1533525"/>
              <a:gd name="connsiteX13" fmla="*/ 1078706 w 1266825"/>
              <a:gd name="connsiteY13" fmla="*/ 666750 h 1533525"/>
              <a:gd name="connsiteX14" fmla="*/ 1085850 w 1266825"/>
              <a:gd name="connsiteY14" fmla="*/ 688181 h 1533525"/>
              <a:gd name="connsiteX15" fmla="*/ 1076325 w 1266825"/>
              <a:gd name="connsiteY15" fmla="*/ 719138 h 1533525"/>
              <a:gd name="connsiteX16" fmla="*/ 1021556 w 1266825"/>
              <a:gd name="connsiteY16" fmla="*/ 714375 h 1533525"/>
              <a:gd name="connsiteX17" fmla="*/ 1002506 w 1266825"/>
              <a:gd name="connsiteY17" fmla="*/ 721519 h 1533525"/>
              <a:gd name="connsiteX18" fmla="*/ 995362 w 1266825"/>
              <a:gd name="connsiteY18" fmla="*/ 726281 h 1533525"/>
              <a:gd name="connsiteX19" fmla="*/ 995362 w 1266825"/>
              <a:gd name="connsiteY19" fmla="*/ 726281 h 1533525"/>
              <a:gd name="connsiteX20" fmla="*/ 923925 w 1266825"/>
              <a:gd name="connsiteY20" fmla="*/ 721519 h 1533525"/>
              <a:gd name="connsiteX21" fmla="*/ 940593 w 1266825"/>
              <a:gd name="connsiteY21" fmla="*/ 778669 h 1533525"/>
              <a:gd name="connsiteX22" fmla="*/ 938212 w 1266825"/>
              <a:gd name="connsiteY22" fmla="*/ 847725 h 1533525"/>
              <a:gd name="connsiteX23" fmla="*/ 954881 w 1266825"/>
              <a:gd name="connsiteY23" fmla="*/ 871538 h 1533525"/>
              <a:gd name="connsiteX24" fmla="*/ 997743 w 1266825"/>
              <a:gd name="connsiteY24" fmla="*/ 919163 h 1533525"/>
              <a:gd name="connsiteX25" fmla="*/ 1012031 w 1266825"/>
              <a:gd name="connsiteY25" fmla="*/ 954881 h 1533525"/>
              <a:gd name="connsiteX26" fmla="*/ 1031081 w 1266825"/>
              <a:gd name="connsiteY26" fmla="*/ 954881 h 1533525"/>
              <a:gd name="connsiteX27" fmla="*/ 1071562 w 1266825"/>
              <a:gd name="connsiteY27" fmla="*/ 940594 h 1533525"/>
              <a:gd name="connsiteX28" fmla="*/ 1102518 w 1266825"/>
              <a:gd name="connsiteY28" fmla="*/ 933450 h 1533525"/>
              <a:gd name="connsiteX29" fmla="*/ 1159668 w 1266825"/>
              <a:gd name="connsiteY29" fmla="*/ 997744 h 1533525"/>
              <a:gd name="connsiteX30" fmla="*/ 1178718 w 1266825"/>
              <a:gd name="connsiteY30" fmla="*/ 1052513 h 1533525"/>
              <a:gd name="connsiteX31" fmla="*/ 1190625 w 1266825"/>
              <a:gd name="connsiteY31" fmla="*/ 1081088 h 1533525"/>
              <a:gd name="connsiteX32" fmla="*/ 1212056 w 1266825"/>
              <a:gd name="connsiteY32" fmla="*/ 1109663 h 1533525"/>
              <a:gd name="connsiteX33" fmla="*/ 1231106 w 1266825"/>
              <a:gd name="connsiteY33" fmla="*/ 1102519 h 1533525"/>
              <a:gd name="connsiteX34" fmla="*/ 1231106 w 1266825"/>
              <a:gd name="connsiteY34" fmla="*/ 1131094 h 1533525"/>
              <a:gd name="connsiteX35" fmla="*/ 1233487 w 1266825"/>
              <a:gd name="connsiteY35" fmla="*/ 1145381 h 1533525"/>
              <a:gd name="connsiteX36" fmla="*/ 1266825 w 1266825"/>
              <a:gd name="connsiteY36" fmla="*/ 1181100 h 1533525"/>
              <a:gd name="connsiteX37" fmla="*/ 1233487 w 1266825"/>
              <a:gd name="connsiteY37" fmla="*/ 1181100 h 1533525"/>
              <a:gd name="connsiteX38" fmla="*/ 1228725 w 1266825"/>
              <a:gd name="connsiteY38" fmla="*/ 1223963 h 1533525"/>
              <a:gd name="connsiteX39" fmla="*/ 1226343 w 1266825"/>
              <a:gd name="connsiteY39" fmla="*/ 1243013 h 1533525"/>
              <a:gd name="connsiteX40" fmla="*/ 1216818 w 1266825"/>
              <a:gd name="connsiteY40" fmla="*/ 1264444 h 1533525"/>
              <a:gd name="connsiteX41" fmla="*/ 1190625 w 1266825"/>
              <a:gd name="connsiteY41" fmla="*/ 1238250 h 1533525"/>
              <a:gd name="connsiteX42" fmla="*/ 1157287 w 1266825"/>
              <a:gd name="connsiteY42" fmla="*/ 1209675 h 1533525"/>
              <a:gd name="connsiteX43" fmla="*/ 1131093 w 1266825"/>
              <a:gd name="connsiteY43" fmla="*/ 1185863 h 1533525"/>
              <a:gd name="connsiteX44" fmla="*/ 1107281 w 1266825"/>
              <a:gd name="connsiteY44" fmla="*/ 1219200 h 1533525"/>
              <a:gd name="connsiteX45" fmla="*/ 1104900 w 1266825"/>
              <a:gd name="connsiteY45" fmla="*/ 1264444 h 1533525"/>
              <a:gd name="connsiteX46" fmla="*/ 1062037 w 1266825"/>
              <a:gd name="connsiteY46" fmla="*/ 1259681 h 1533525"/>
              <a:gd name="connsiteX47" fmla="*/ 1026318 w 1266825"/>
              <a:gd name="connsiteY47" fmla="*/ 1288256 h 1533525"/>
              <a:gd name="connsiteX48" fmla="*/ 1007268 w 1266825"/>
              <a:gd name="connsiteY48" fmla="*/ 1240631 h 1533525"/>
              <a:gd name="connsiteX49" fmla="*/ 947737 w 1266825"/>
              <a:gd name="connsiteY49" fmla="*/ 1231106 h 1533525"/>
              <a:gd name="connsiteX50" fmla="*/ 921543 w 1266825"/>
              <a:gd name="connsiteY50" fmla="*/ 1297781 h 1533525"/>
              <a:gd name="connsiteX51" fmla="*/ 885825 w 1266825"/>
              <a:gd name="connsiteY51" fmla="*/ 1278731 h 1533525"/>
              <a:gd name="connsiteX52" fmla="*/ 816768 w 1266825"/>
              <a:gd name="connsiteY52" fmla="*/ 1295400 h 1533525"/>
              <a:gd name="connsiteX53" fmla="*/ 757237 w 1266825"/>
              <a:gd name="connsiteY53" fmla="*/ 1259681 h 1533525"/>
              <a:gd name="connsiteX54" fmla="*/ 742950 w 1266825"/>
              <a:gd name="connsiteY54" fmla="*/ 1312069 h 1533525"/>
              <a:gd name="connsiteX55" fmla="*/ 704850 w 1266825"/>
              <a:gd name="connsiteY55" fmla="*/ 1345406 h 1533525"/>
              <a:gd name="connsiteX56" fmla="*/ 692943 w 1266825"/>
              <a:gd name="connsiteY56" fmla="*/ 1366838 h 1533525"/>
              <a:gd name="connsiteX57" fmla="*/ 671512 w 1266825"/>
              <a:gd name="connsiteY57" fmla="*/ 1509713 h 1533525"/>
              <a:gd name="connsiteX58" fmla="*/ 633412 w 1266825"/>
              <a:gd name="connsiteY58" fmla="*/ 1490663 h 1533525"/>
              <a:gd name="connsiteX59" fmla="*/ 614362 w 1266825"/>
              <a:gd name="connsiteY59" fmla="*/ 1504950 h 1533525"/>
              <a:gd name="connsiteX60" fmla="*/ 581025 w 1266825"/>
              <a:gd name="connsiteY60" fmla="*/ 1531144 h 1533525"/>
              <a:gd name="connsiteX61" fmla="*/ 523875 w 1266825"/>
              <a:gd name="connsiteY61" fmla="*/ 1502569 h 1533525"/>
              <a:gd name="connsiteX62" fmla="*/ 514350 w 1266825"/>
              <a:gd name="connsiteY62" fmla="*/ 1490663 h 1533525"/>
              <a:gd name="connsiteX63" fmla="*/ 483393 w 1266825"/>
              <a:gd name="connsiteY63" fmla="*/ 1533525 h 1533525"/>
              <a:gd name="connsiteX64" fmla="*/ 459581 w 1266825"/>
              <a:gd name="connsiteY64" fmla="*/ 1481138 h 1533525"/>
              <a:gd name="connsiteX65" fmla="*/ 438150 w 1266825"/>
              <a:gd name="connsiteY65" fmla="*/ 1471613 h 1533525"/>
              <a:gd name="connsiteX66" fmla="*/ 400050 w 1266825"/>
              <a:gd name="connsiteY66" fmla="*/ 1485900 h 1533525"/>
              <a:gd name="connsiteX67" fmla="*/ 338137 w 1266825"/>
              <a:gd name="connsiteY67" fmla="*/ 1490663 h 1533525"/>
              <a:gd name="connsiteX68" fmla="*/ 330993 w 1266825"/>
              <a:gd name="connsiteY68" fmla="*/ 1497806 h 1533525"/>
              <a:gd name="connsiteX69" fmla="*/ 271462 w 1266825"/>
              <a:gd name="connsiteY69" fmla="*/ 1471613 h 1533525"/>
              <a:gd name="connsiteX70" fmla="*/ 219075 w 1266825"/>
              <a:gd name="connsiteY70" fmla="*/ 1443038 h 1533525"/>
              <a:gd name="connsiteX71" fmla="*/ 138112 w 1266825"/>
              <a:gd name="connsiteY71" fmla="*/ 1402556 h 1533525"/>
              <a:gd name="connsiteX72" fmla="*/ 95250 w 1266825"/>
              <a:gd name="connsiteY72" fmla="*/ 1316831 h 1533525"/>
              <a:gd name="connsiteX73" fmla="*/ 80962 w 1266825"/>
              <a:gd name="connsiteY73" fmla="*/ 1288256 h 1533525"/>
              <a:gd name="connsiteX74" fmla="*/ 104775 w 1266825"/>
              <a:gd name="connsiteY74" fmla="*/ 1266825 h 1533525"/>
              <a:gd name="connsiteX75" fmla="*/ 76200 w 1266825"/>
              <a:gd name="connsiteY75" fmla="*/ 1212056 h 1533525"/>
              <a:gd name="connsiteX76" fmla="*/ 109537 w 1266825"/>
              <a:gd name="connsiteY76" fmla="*/ 1193006 h 1533525"/>
              <a:gd name="connsiteX77" fmla="*/ 140493 w 1266825"/>
              <a:gd name="connsiteY77" fmla="*/ 1143000 h 1533525"/>
              <a:gd name="connsiteX78" fmla="*/ 123825 w 1266825"/>
              <a:gd name="connsiteY78" fmla="*/ 1107281 h 1533525"/>
              <a:gd name="connsiteX79" fmla="*/ 178593 w 1266825"/>
              <a:gd name="connsiteY79" fmla="*/ 1107281 h 1533525"/>
              <a:gd name="connsiteX80" fmla="*/ 192881 w 1266825"/>
              <a:gd name="connsiteY80" fmla="*/ 1109663 h 1533525"/>
              <a:gd name="connsiteX81" fmla="*/ 159543 w 1266825"/>
              <a:gd name="connsiteY81" fmla="*/ 1064419 h 1533525"/>
              <a:gd name="connsiteX82" fmla="*/ 169068 w 1266825"/>
              <a:gd name="connsiteY82" fmla="*/ 1014413 h 1533525"/>
              <a:gd name="connsiteX83" fmla="*/ 123825 w 1266825"/>
              <a:gd name="connsiteY83" fmla="*/ 997744 h 1533525"/>
              <a:gd name="connsiteX84" fmla="*/ 61912 w 1266825"/>
              <a:gd name="connsiteY84" fmla="*/ 954881 h 1533525"/>
              <a:gd name="connsiteX85" fmla="*/ 45243 w 1266825"/>
              <a:gd name="connsiteY85" fmla="*/ 938213 h 1533525"/>
              <a:gd name="connsiteX86" fmla="*/ 64293 w 1266825"/>
              <a:gd name="connsiteY86" fmla="*/ 909638 h 1533525"/>
              <a:gd name="connsiteX87" fmla="*/ 47625 w 1266825"/>
              <a:gd name="connsiteY87" fmla="*/ 897731 h 1533525"/>
              <a:gd name="connsiteX88" fmla="*/ 47625 w 1266825"/>
              <a:gd name="connsiteY88" fmla="*/ 881063 h 1533525"/>
              <a:gd name="connsiteX89" fmla="*/ 26193 w 1266825"/>
              <a:gd name="connsiteY89" fmla="*/ 881063 h 1533525"/>
              <a:gd name="connsiteX90" fmla="*/ 7143 w 1266825"/>
              <a:gd name="connsiteY90" fmla="*/ 847725 h 1533525"/>
              <a:gd name="connsiteX91" fmla="*/ 0 w 1266825"/>
              <a:gd name="connsiteY91" fmla="*/ 816769 h 1533525"/>
              <a:gd name="connsiteX92" fmla="*/ 54768 w 1266825"/>
              <a:gd name="connsiteY92" fmla="*/ 800100 h 1533525"/>
              <a:gd name="connsiteX93" fmla="*/ 76200 w 1266825"/>
              <a:gd name="connsiteY93" fmla="*/ 788194 h 1533525"/>
              <a:gd name="connsiteX94" fmla="*/ 128587 w 1266825"/>
              <a:gd name="connsiteY94" fmla="*/ 821531 h 1533525"/>
              <a:gd name="connsiteX95" fmla="*/ 126206 w 1266825"/>
              <a:gd name="connsiteY95" fmla="*/ 800100 h 1533525"/>
              <a:gd name="connsiteX96" fmla="*/ 164306 w 1266825"/>
              <a:gd name="connsiteY96" fmla="*/ 795338 h 1533525"/>
              <a:gd name="connsiteX97" fmla="*/ 173831 w 1266825"/>
              <a:gd name="connsiteY97" fmla="*/ 759619 h 1533525"/>
              <a:gd name="connsiteX98" fmla="*/ 235743 w 1266825"/>
              <a:gd name="connsiteY98" fmla="*/ 764381 h 1533525"/>
              <a:gd name="connsiteX99" fmla="*/ 235743 w 1266825"/>
              <a:gd name="connsiteY99" fmla="*/ 764381 h 1533525"/>
              <a:gd name="connsiteX100" fmla="*/ 245268 w 1266825"/>
              <a:gd name="connsiteY100" fmla="*/ 704850 h 1533525"/>
              <a:gd name="connsiteX101" fmla="*/ 276225 w 1266825"/>
              <a:gd name="connsiteY101" fmla="*/ 666750 h 1533525"/>
              <a:gd name="connsiteX102" fmla="*/ 292893 w 1266825"/>
              <a:gd name="connsiteY102" fmla="*/ 638175 h 1533525"/>
              <a:gd name="connsiteX103" fmla="*/ 245268 w 1266825"/>
              <a:gd name="connsiteY103" fmla="*/ 602456 h 1533525"/>
              <a:gd name="connsiteX104" fmla="*/ 264318 w 1266825"/>
              <a:gd name="connsiteY104" fmla="*/ 585788 h 1533525"/>
              <a:gd name="connsiteX105" fmla="*/ 311943 w 1266825"/>
              <a:gd name="connsiteY105" fmla="*/ 602456 h 1533525"/>
              <a:gd name="connsiteX106" fmla="*/ 369093 w 1266825"/>
              <a:gd name="connsiteY106" fmla="*/ 573881 h 1533525"/>
              <a:gd name="connsiteX107" fmla="*/ 457200 w 1266825"/>
              <a:gd name="connsiteY107" fmla="*/ 545306 h 1533525"/>
              <a:gd name="connsiteX108" fmla="*/ 538162 w 1266825"/>
              <a:gd name="connsiteY108" fmla="*/ 578644 h 1533525"/>
              <a:gd name="connsiteX109" fmla="*/ 614362 w 1266825"/>
              <a:gd name="connsiteY109" fmla="*/ 550069 h 1533525"/>
              <a:gd name="connsiteX110" fmla="*/ 650081 w 1266825"/>
              <a:gd name="connsiteY110" fmla="*/ 552450 h 1533525"/>
              <a:gd name="connsiteX111" fmla="*/ 654843 w 1266825"/>
              <a:gd name="connsiteY111" fmla="*/ 523875 h 1533525"/>
              <a:gd name="connsiteX112" fmla="*/ 654843 w 1266825"/>
              <a:gd name="connsiteY112" fmla="*/ 490538 h 1533525"/>
              <a:gd name="connsiteX113" fmla="*/ 669131 w 1266825"/>
              <a:gd name="connsiteY113" fmla="*/ 469106 h 1533525"/>
              <a:gd name="connsiteX114" fmla="*/ 652462 w 1266825"/>
              <a:gd name="connsiteY114" fmla="*/ 450056 h 1533525"/>
              <a:gd name="connsiteX115" fmla="*/ 642937 w 1266825"/>
              <a:gd name="connsiteY115" fmla="*/ 411956 h 1533525"/>
              <a:gd name="connsiteX116" fmla="*/ 642937 w 1266825"/>
              <a:gd name="connsiteY116" fmla="*/ 330994 h 1533525"/>
              <a:gd name="connsiteX117" fmla="*/ 633412 w 1266825"/>
              <a:gd name="connsiteY117" fmla="*/ 319088 h 1533525"/>
              <a:gd name="connsiteX118" fmla="*/ 664368 w 1266825"/>
              <a:gd name="connsiteY118" fmla="*/ 285750 h 1533525"/>
              <a:gd name="connsiteX119" fmla="*/ 721518 w 1266825"/>
              <a:gd name="connsiteY119" fmla="*/ 292894 h 1533525"/>
              <a:gd name="connsiteX120" fmla="*/ 733425 w 1266825"/>
              <a:gd name="connsiteY120" fmla="*/ 264319 h 1533525"/>
              <a:gd name="connsiteX121" fmla="*/ 731043 w 1266825"/>
              <a:gd name="connsiteY121" fmla="*/ 228600 h 1533525"/>
              <a:gd name="connsiteX122" fmla="*/ 790575 w 1266825"/>
              <a:gd name="connsiteY122" fmla="*/ 192881 h 1533525"/>
              <a:gd name="connsiteX123" fmla="*/ 804862 w 1266825"/>
              <a:gd name="connsiteY123" fmla="*/ 166688 h 1533525"/>
              <a:gd name="connsiteX124" fmla="*/ 778668 w 1266825"/>
              <a:gd name="connsiteY124" fmla="*/ 128588 h 1533525"/>
              <a:gd name="connsiteX125" fmla="*/ 771525 w 1266825"/>
              <a:gd name="connsiteY125" fmla="*/ 104775 h 1533525"/>
              <a:gd name="connsiteX126" fmla="*/ 823912 w 1266825"/>
              <a:gd name="connsiteY126" fmla="*/ 97631 h 1533525"/>
              <a:gd name="connsiteX127" fmla="*/ 869156 w 1266825"/>
              <a:gd name="connsiteY127" fmla="*/ 52388 h 1533525"/>
              <a:gd name="connsiteX128" fmla="*/ 890587 w 1266825"/>
              <a:gd name="connsiteY128" fmla="*/ 23813 h 1533525"/>
              <a:gd name="connsiteX129" fmla="*/ 923925 w 1266825"/>
              <a:gd name="connsiteY129" fmla="*/ 9525 h 1533525"/>
              <a:gd name="connsiteX130" fmla="*/ 971550 w 1266825"/>
              <a:gd name="connsiteY130" fmla="*/ 0 h 1533525"/>
              <a:gd name="connsiteX131" fmla="*/ 971550 w 1266825"/>
              <a:gd name="connsiteY131" fmla="*/ 40481 h 1533525"/>
              <a:gd name="connsiteX132" fmla="*/ 950118 w 1266825"/>
              <a:gd name="connsiteY132" fmla="*/ 80963 h 1533525"/>
              <a:gd name="connsiteX133" fmla="*/ 950118 w 1266825"/>
              <a:gd name="connsiteY133" fmla="*/ 140494 h 1533525"/>
              <a:gd name="connsiteX134" fmla="*/ 969168 w 1266825"/>
              <a:gd name="connsiteY134" fmla="*/ 161925 h 1533525"/>
              <a:gd name="connsiteX135" fmla="*/ 1007268 w 1266825"/>
              <a:gd name="connsiteY135" fmla="*/ 188119 h 1533525"/>
              <a:gd name="connsiteX136" fmla="*/ 1019175 w 1266825"/>
              <a:gd name="connsiteY136" fmla="*/ 216694 h 1533525"/>
              <a:gd name="connsiteX137" fmla="*/ 1004887 w 1266825"/>
              <a:gd name="connsiteY137" fmla="*/ 226219 h 1533525"/>
              <a:gd name="connsiteX138" fmla="*/ 1057275 w 1266825"/>
              <a:gd name="connsiteY138" fmla="*/ 250031 h 1533525"/>
              <a:gd name="connsiteX139" fmla="*/ 1073943 w 1266825"/>
              <a:gd name="connsiteY139" fmla="*/ 228600 h 1533525"/>
              <a:gd name="connsiteX140" fmla="*/ 1083468 w 1266825"/>
              <a:gd name="connsiteY140" fmla="*/ 252413 h 1533525"/>
              <a:gd name="connsiteX141" fmla="*/ 1116806 w 1266825"/>
              <a:gd name="connsiteY141" fmla="*/ 252413 h 1533525"/>
              <a:gd name="connsiteX142" fmla="*/ 1123950 w 1266825"/>
              <a:gd name="connsiteY142" fmla="*/ 257175 h 1533525"/>
              <a:gd name="connsiteX143" fmla="*/ 1116806 w 1266825"/>
              <a:gd name="connsiteY143" fmla="*/ 276225 h 1533525"/>
              <a:gd name="connsiteX144" fmla="*/ 1088231 w 1266825"/>
              <a:gd name="connsiteY144" fmla="*/ 309563 h 1533525"/>
              <a:gd name="connsiteX145" fmla="*/ 1123950 w 1266825"/>
              <a:gd name="connsiteY145" fmla="*/ 333375 h 1533525"/>
              <a:gd name="connsiteX146" fmla="*/ 1135856 w 1266825"/>
              <a:gd name="connsiteY146" fmla="*/ 347663 h 1533525"/>
              <a:gd name="connsiteX147" fmla="*/ 1135856 w 1266825"/>
              <a:gd name="connsiteY147" fmla="*/ 376238 h 1533525"/>
              <a:gd name="connsiteX148" fmla="*/ 1119187 w 1266825"/>
              <a:gd name="connsiteY148" fmla="*/ 411956 h 1533525"/>
              <a:gd name="connsiteX149" fmla="*/ 1162050 w 1266825"/>
              <a:gd name="connsiteY149" fmla="*/ 423863 h 1533525"/>
              <a:gd name="connsiteX150" fmla="*/ 1233487 w 1266825"/>
              <a:gd name="connsiteY150" fmla="*/ 416719 h 1533525"/>
              <a:gd name="connsiteX151" fmla="*/ 1223962 w 1266825"/>
              <a:gd name="connsiteY151" fmla="*/ 385763 h 1533525"/>
              <a:gd name="connsiteX152" fmla="*/ 1188243 w 1266825"/>
              <a:gd name="connsiteY152" fmla="*/ 347663 h 1533525"/>
              <a:gd name="connsiteX153" fmla="*/ 1181100 w 1266825"/>
              <a:gd name="connsiteY153" fmla="*/ 333375 h 1533525"/>
              <a:gd name="connsiteX154" fmla="*/ 1207293 w 1266825"/>
              <a:gd name="connsiteY154" fmla="*/ 326231 h 1533525"/>
              <a:gd name="connsiteX0" fmla="*/ 1057275 w 1266825"/>
              <a:gd name="connsiteY0" fmla="*/ 264319 h 1533525"/>
              <a:gd name="connsiteX1" fmla="*/ 1062037 w 1266825"/>
              <a:gd name="connsiteY1" fmla="*/ 304800 h 1533525"/>
              <a:gd name="connsiteX2" fmla="*/ 995362 w 1266825"/>
              <a:gd name="connsiteY2" fmla="*/ 352425 h 1533525"/>
              <a:gd name="connsiteX3" fmla="*/ 973931 w 1266825"/>
              <a:gd name="connsiteY3" fmla="*/ 383381 h 1533525"/>
              <a:gd name="connsiteX4" fmla="*/ 1000125 w 1266825"/>
              <a:gd name="connsiteY4" fmla="*/ 428625 h 1533525"/>
              <a:gd name="connsiteX5" fmla="*/ 983456 w 1266825"/>
              <a:gd name="connsiteY5" fmla="*/ 466725 h 1533525"/>
              <a:gd name="connsiteX6" fmla="*/ 1000125 w 1266825"/>
              <a:gd name="connsiteY6" fmla="*/ 519113 h 1533525"/>
              <a:gd name="connsiteX7" fmla="*/ 1033462 w 1266825"/>
              <a:gd name="connsiteY7" fmla="*/ 519113 h 1533525"/>
              <a:gd name="connsiteX8" fmla="*/ 1019175 w 1266825"/>
              <a:gd name="connsiteY8" fmla="*/ 552450 h 1533525"/>
              <a:gd name="connsiteX9" fmla="*/ 1035843 w 1266825"/>
              <a:gd name="connsiteY9" fmla="*/ 590550 h 1533525"/>
              <a:gd name="connsiteX10" fmla="*/ 1035843 w 1266825"/>
              <a:gd name="connsiteY10" fmla="*/ 607219 h 1533525"/>
              <a:gd name="connsiteX11" fmla="*/ 1045368 w 1266825"/>
              <a:gd name="connsiteY11" fmla="*/ 645319 h 1533525"/>
              <a:gd name="connsiteX12" fmla="*/ 1064418 w 1266825"/>
              <a:gd name="connsiteY12" fmla="*/ 645319 h 1533525"/>
              <a:gd name="connsiteX13" fmla="*/ 1078706 w 1266825"/>
              <a:gd name="connsiteY13" fmla="*/ 666750 h 1533525"/>
              <a:gd name="connsiteX14" fmla="*/ 1085850 w 1266825"/>
              <a:gd name="connsiteY14" fmla="*/ 688181 h 1533525"/>
              <a:gd name="connsiteX15" fmla="*/ 1076325 w 1266825"/>
              <a:gd name="connsiteY15" fmla="*/ 719138 h 1533525"/>
              <a:gd name="connsiteX16" fmla="*/ 1021556 w 1266825"/>
              <a:gd name="connsiteY16" fmla="*/ 714375 h 1533525"/>
              <a:gd name="connsiteX17" fmla="*/ 1002506 w 1266825"/>
              <a:gd name="connsiteY17" fmla="*/ 721519 h 1533525"/>
              <a:gd name="connsiteX18" fmla="*/ 995362 w 1266825"/>
              <a:gd name="connsiteY18" fmla="*/ 726281 h 1533525"/>
              <a:gd name="connsiteX19" fmla="*/ 995362 w 1266825"/>
              <a:gd name="connsiteY19" fmla="*/ 726281 h 1533525"/>
              <a:gd name="connsiteX20" fmla="*/ 923925 w 1266825"/>
              <a:gd name="connsiteY20" fmla="*/ 721519 h 1533525"/>
              <a:gd name="connsiteX21" fmla="*/ 940593 w 1266825"/>
              <a:gd name="connsiteY21" fmla="*/ 778669 h 1533525"/>
              <a:gd name="connsiteX22" fmla="*/ 938212 w 1266825"/>
              <a:gd name="connsiteY22" fmla="*/ 847725 h 1533525"/>
              <a:gd name="connsiteX23" fmla="*/ 954881 w 1266825"/>
              <a:gd name="connsiteY23" fmla="*/ 871538 h 1533525"/>
              <a:gd name="connsiteX24" fmla="*/ 997743 w 1266825"/>
              <a:gd name="connsiteY24" fmla="*/ 919163 h 1533525"/>
              <a:gd name="connsiteX25" fmla="*/ 1012031 w 1266825"/>
              <a:gd name="connsiteY25" fmla="*/ 954881 h 1533525"/>
              <a:gd name="connsiteX26" fmla="*/ 1031081 w 1266825"/>
              <a:gd name="connsiteY26" fmla="*/ 954881 h 1533525"/>
              <a:gd name="connsiteX27" fmla="*/ 1071562 w 1266825"/>
              <a:gd name="connsiteY27" fmla="*/ 940594 h 1533525"/>
              <a:gd name="connsiteX28" fmla="*/ 1102518 w 1266825"/>
              <a:gd name="connsiteY28" fmla="*/ 933450 h 1533525"/>
              <a:gd name="connsiteX29" fmla="*/ 1159668 w 1266825"/>
              <a:gd name="connsiteY29" fmla="*/ 997744 h 1533525"/>
              <a:gd name="connsiteX30" fmla="*/ 1178718 w 1266825"/>
              <a:gd name="connsiteY30" fmla="*/ 1052513 h 1533525"/>
              <a:gd name="connsiteX31" fmla="*/ 1190625 w 1266825"/>
              <a:gd name="connsiteY31" fmla="*/ 1081088 h 1533525"/>
              <a:gd name="connsiteX32" fmla="*/ 1212056 w 1266825"/>
              <a:gd name="connsiteY32" fmla="*/ 1109663 h 1533525"/>
              <a:gd name="connsiteX33" fmla="*/ 1231106 w 1266825"/>
              <a:gd name="connsiteY33" fmla="*/ 1102519 h 1533525"/>
              <a:gd name="connsiteX34" fmla="*/ 1231106 w 1266825"/>
              <a:gd name="connsiteY34" fmla="*/ 1131094 h 1533525"/>
              <a:gd name="connsiteX35" fmla="*/ 1233487 w 1266825"/>
              <a:gd name="connsiteY35" fmla="*/ 1145381 h 1533525"/>
              <a:gd name="connsiteX36" fmla="*/ 1266825 w 1266825"/>
              <a:gd name="connsiteY36" fmla="*/ 1181100 h 1533525"/>
              <a:gd name="connsiteX37" fmla="*/ 1233487 w 1266825"/>
              <a:gd name="connsiteY37" fmla="*/ 1181100 h 1533525"/>
              <a:gd name="connsiteX38" fmla="*/ 1228725 w 1266825"/>
              <a:gd name="connsiteY38" fmla="*/ 1223963 h 1533525"/>
              <a:gd name="connsiteX39" fmla="*/ 1226343 w 1266825"/>
              <a:gd name="connsiteY39" fmla="*/ 1243013 h 1533525"/>
              <a:gd name="connsiteX40" fmla="*/ 1216818 w 1266825"/>
              <a:gd name="connsiteY40" fmla="*/ 1264444 h 1533525"/>
              <a:gd name="connsiteX41" fmla="*/ 1190625 w 1266825"/>
              <a:gd name="connsiteY41" fmla="*/ 1238250 h 1533525"/>
              <a:gd name="connsiteX42" fmla="*/ 1157287 w 1266825"/>
              <a:gd name="connsiteY42" fmla="*/ 1209675 h 1533525"/>
              <a:gd name="connsiteX43" fmla="*/ 1131093 w 1266825"/>
              <a:gd name="connsiteY43" fmla="*/ 1185863 h 1533525"/>
              <a:gd name="connsiteX44" fmla="*/ 1107281 w 1266825"/>
              <a:gd name="connsiteY44" fmla="*/ 1219200 h 1533525"/>
              <a:gd name="connsiteX45" fmla="*/ 1104900 w 1266825"/>
              <a:gd name="connsiteY45" fmla="*/ 1264444 h 1533525"/>
              <a:gd name="connsiteX46" fmla="*/ 1062037 w 1266825"/>
              <a:gd name="connsiteY46" fmla="*/ 1259681 h 1533525"/>
              <a:gd name="connsiteX47" fmla="*/ 1026318 w 1266825"/>
              <a:gd name="connsiteY47" fmla="*/ 1288256 h 1533525"/>
              <a:gd name="connsiteX48" fmla="*/ 1007268 w 1266825"/>
              <a:gd name="connsiteY48" fmla="*/ 1240631 h 1533525"/>
              <a:gd name="connsiteX49" fmla="*/ 947737 w 1266825"/>
              <a:gd name="connsiteY49" fmla="*/ 1231106 h 1533525"/>
              <a:gd name="connsiteX50" fmla="*/ 921543 w 1266825"/>
              <a:gd name="connsiteY50" fmla="*/ 1297781 h 1533525"/>
              <a:gd name="connsiteX51" fmla="*/ 885825 w 1266825"/>
              <a:gd name="connsiteY51" fmla="*/ 1278731 h 1533525"/>
              <a:gd name="connsiteX52" fmla="*/ 816768 w 1266825"/>
              <a:gd name="connsiteY52" fmla="*/ 1295400 h 1533525"/>
              <a:gd name="connsiteX53" fmla="*/ 757237 w 1266825"/>
              <a:gd name="connsiteY53" fmla="*/ 1259681 h 1533525"/>
              <a:gd name="connsiteX54" fmla="*/ 742950 w 1266825"/>
              <a:gd name="connsiteY54" fmla="*/ 1312069 h 1533525"/>
              <a:gd name="connsiteX55" fmla="*/ 704850 w 1266825"/>
              <a:gd name="connsiteY55" fmla="*/ 1345406 h 1533525"/>
              <a:gd name="connsiteX56" fmla="*/ 692943 w 1266825"/>
              <a:gd name="connsiteY56" fmla="*/ 1366838 h 1533525"/>
              <a:gd name="connsiteX57" fmla="*/ 671512 w 1266825"/>
              <a:gd name="connsiteY57" fmla="*/ 1509713 h 1533525"/>
              <a:gd name="connsiteX58" fmla="*/ 633412 w 1266825"/>
              <a:gd name="connsiteY58" fmla="*/ 1490663 h 1533525"/>
              <a:gd name="connsiteX59" fmla="*/ 614362 w 1266825"/>
              <a:gd name="connsiteY59" fmla="*/ 1504950 h 1533525"/>
              <a:gd name="connsiteX60" fmla="*/ 581025 w 1266825"/>
              <a:gd name="connsiteY60" fmla="*/ 1531144 h 1533525"/>
              <a:gd name="connsiteX61" fmla="*/ 523875 w 1266825"/>
              <a:gd name="connsiteY61" fmla="*/ 1502569 h 1533525"/>
              <a:gd name="connsiteX62" fmla="*/ 514350 w 1266825"/>
              <a:gd name="connsiteY62" fmla="*/ 1490663 h 1533525"/>
              <a:gd name="connsiteX63" fmla="*/ 483393 w 1266825"/>
              <a:gd name="connsiteY63" fmla="*/ 1533525 h 1533525"/>
              <a:gd name="connsiteX64" fmla="*/ 459581 w 1266825"/>
              <a:gd name="connsiteY64" fmla="*/ 1481138 h 1533525"/>
              <a:gd name="connsiteX65" fmla="*/ 438150 w 1266825"/>
              <a:gd name="connsiteY65" fmla="*/ 1471613 h 1533525"/>
              <a:gd name="connsiteX66" fmla="*/ 400050 w 1266825"/>
              <a:gd name="connsiteY66" fmla="*/ 1485900 h 1533525"/>
              <a:gd name="connsiteX67" fmla="*/ 338137 w 1266825"/>
              <a:gd name="connsiteY67" fmla="*/ 1490663 h 1533525"/>
              <a:gd name="connsiteX68" fmla="*/ 330993 w 1266825"/>
              <a:gd name="connsiteY68" fmla="*/ 1497806 h 1533525"/>
              <a:gd name="connsiteX69" fmla="*/ 271462 w 1266825"/>
              <a:gd name="connsiteY69" fmla="*/ 1471613 h 1533525"/>
              <a:gd name="connsiteX70" fmla="*/ 219075 w 1266825"/>
              <a:gd name="connsiteY70" fmla="*/ 1443038 h 1533525"/>
              <a:gd name="connsiteX71" fmla="*/ 138112 w 1266825"/>
              <a:gd name="connsiteY71" fmla="*/ 1402556 h 1533525"/>
              <a:gd name="connsiteX72" fmla="*/ 95250 w 1266825"/>
              <a:gd name="connsiteY72" fmla="*/ 1316831 h 1533525"/>
              <a:gd name="connsiteX73" fmla="*/ 80962 w 1266825"/>
              <a:gd name="connsiteY73" fmla="*/ 1288256 h 1533525"/>
              <a:gd name="connsiteX74" fmla="*/ 104775 w 1266825"/>
              <a:gd name="connsiteY74" fmla="*/ 1266825 h 1533525"/>
              <a:gd name="connsiteX75" fmla="*/ 76200 w 1266825"/>
              <a:gd name="connsiteY75" fmla="*/ 1212056 h 1533525"/>
              <a:gd name="connsiteX76" fmla="*/ 109537 w 1266825"/>
              <a:gd name="connsiteY76" fmla="*/ 1193006 h 1533525"/>
              <a:gd name="connsiteX77" fmla="*/ 140493 w 1266825"/>
              <a:gd name="connsiteY77" fmla="*/ 1143000 h 1533525"/>
              <a:gd name="connsiteX78" fmla="*/ 123825 w 1266825"/>
              <a:gd name="connsiteY78" fmla="*/ 1107281 h 1533525"/>
              <a:gd name="connsiteX79" fmla="*/ 178593 w 1266825"/>
              <a:gd name="connsiteY79" fmla="*/ 1107281 h 1533525"/>
              <a:gd name="connsiteX80" fmla="*/ 192881 w 1266825"/>
              <a:gd name="connsiteY80" fmla="*/ 1109663 h 1533525"/>
              <a:gd name="connsiteX81" fmla="*/ 159543 w 1266825"/>
              <a:gd name="connsiteY81" fmla="*/ 1064419 h 1533525"/>
              <a:gd name="connsiteX82" fmla="*/ 169068 w 1266825"/>
              <a:gd name="connsiteY82" fmla="*/ 1014413 h 1533525"/>
              <a:gd name="connsiteX83" fmla="*/ 123825 w 1266825"/>
              <a:gd name="connsiteY83" fmla="*/ 997744 h 1533525"/>
              <a:gd name="connsiteX84" fmla="*/ 61912 w 1266825"/>
              <a:gd name="connsiteY84" fmla="*/ 954881 h 1533525"/>
              <a:gd name="connsiteX85" fmla="*/ 45243 w 1266825"/>
              <a:gd name="connsiteY85" fmla="*/ 938213 h 1533525"/>
              <a:gd name="connsiteX86" fmla="*/ 64293 w 1266825"/>
              <a:gd name="connsiteY86" fmla="*/ 909638 h 1533525"/>
              <a:gd name="connsiteX87" fmla="*/ 47625 w 1266825"/>
              <a:gd name="connsiteY87" fmla="*/ 897731 h 1533525"/>
              <a:gd name="connsiteX88" fmla="*/ 47625 w 1266825"/>
              <a:gd name="connsiteY88" fmla="*/ 881063 h 1533525"/>
              <a:gd name="connsiteX89" fmla="*/ 26193 w 1266825"/>
              <a:gd name="connsiteY89" fmla="*/ 881063 h 1533525"/>
              <a:gd name="connsiteX90" fmla="*/ 7143 w 1266825"/>
              <a:gd name="connsiteY90" fmla="*/ 847725 h 1533525"/>
              <a:gd name="connsiteX91" fmla="*/ 0 w 1266825"/>
              <a:gd name="connsiteY91" fmla="*/ 816769 h 1533525"/>
              <a:gd name="connsiteX92" fmla="*/ 54768 w 1266825"/>
              <a:gd name="connsiteY92" fmla="*/ 800100 h 1533525"/>
              <a:gd name="connsiteX93" fmla="*/ 76200 w 1266825"/>
              <a:gd name="connsiteY93" fmla="*/ 788194 h 1533525"/>
              <a:gd name="connsiteX94" fmla="*/ 128587 w 1266825"/>
              <a:gd name="connsiteY94" fmla="*/ 821531 h 1533525"/>
              <a:gd name="connsiteX95" fmla="*/ 126206 w 1266825"/>
              <a:gd name="connsiteY95" fmla="*/ 800100 h 1533525"/>
              <a:gd name="connsiteX96" fmla="*/ 164306 w 1266825"/>
              <a:gd name="connsiteY96" fmla="*/ 795338 h 1533525"/>
              <a:gd name="connsiteX97" fmla="*/ 173831 w 1266825"/>
              <a:gd name="connsiteY97" fmla="*/ 759619 h 1533525"/>
              <a:gd name="connsiteX98" fmla="*/ 235743 w 1266825"/>
              <a:gd name="connsiteY98" fmla="*/ 764381 h 1533525"/>
              <a:gd name="connsiteX99" fmla="*/ 235743 w 1266825"/>
              <a:gd name="connsiteY99" fmla="*/ 764381 h 1533525"/>
              <a:gd name="connsiteX100" fmla="*/ 245268 w 1266825"/>
              <a:gd name="connsiteY100" fmla="*/ 704850 h 1533525"/>
              <a:gd name="connsiteX101" fmla="*/ 276225 w 1266825"/>
              <a:gd name="connsiteY101" fmla="*/ 666750 h 1533525"/>
              <a:gd name="connsiteX102" fmla="*/ 292893 w 1266825"/>
              <a:gd name="connsiteY102" fmla="*/ 638175 h 1533525"/>
              <a:gd name="connsiteX103" fmla="*/ 245268 w 1266825"/>
              <a:gd name="connsiteY103" fmla="*/ 602456 h 1533525"/>
              <a:gd name="connsiteX104" fmla="*/ 264318 w 1266825"/>
              <a:gd name="connsiteY104" fmla="*/ 585788 h 1533525"/>
              <a:gd name="connsiteX105" fmla="*/ 311943 w 1266825"/>
              <a:gd name="connsiteY105" fmla="*/ 602456 h 1533525"/>
              <a:gd name="connsiteX106" fmla="*/ 369093 w 1266825"/>
              <a:gd name="connsiteY106" fmla="*/ 573881 h 1533525"/>
              <a:gd name="connsiteX107" fmla="*/ 457200 w 1266825"/>
              <a:gd name="connsiteY107" fmla="*/ 545306 h 1533525"/>
              <a:gd name="connsiteX108" fmla="*/ 538162 w 1266825"/>
              <a:gd name="connsiteY108" fmla="*/ 578644 h 1533525"/>
              <a:gd name="connsiteX109" fmla="*/ 614362 w 1266825"/>
              <a:gd name="connsiteY109" fmla="*/ 550069 h 1533525"/>
              <a:gd name="connsiteX110" fmla="*/ 650081 w 1266825"/>
              <a:gd name="connsiteY110" fmla="*/ 552450 h 1533525"/>
              <a:gd name="connsiteX111" fmla="*/ 654843 w 1266825"/>
              <a:gd name="connsiteY111" fmla="*/ 523875 h 1533525"/>
              <a:gd name="connsiteX112" fmla="*/ 654843 w 1266825"/>
              <a:gd name="connsiteY112" fmla="*/ 490538 h 1533525"/>
              <a:gd name="connsiteX113" fmla="*/ 669131 w 1266825"/>
              <a:gd name="connsiteY113" fmla="*/ 469106 h 1533525"/>
              <a:gd name="connsiteX114" fmla="*/ 652462 w 1266825"/>
              <a:gd name="connsiteY114" fmla="*/ 450056 h 1533525"/>
              <a:gd name="connsiteX115" fmla="*/ 642937 w 1266825"/>
              <a:gd name="connsiteY115" fmla="*/ 411956 h 1533525"/>
              <a:gd name="connsiteX116" fmla="*/ 642937 w 1266825"/>
              <a:gd name="connsiteY116" fmla="*/ 330994 h 1533525"/>
              <a:gd name="connsiteX117" fmla="*/ 633412 w 1266825"/>
              <a:gd name="connsiteY117" fmla="*/ 319088 h 1533525"/>
              <a:gd name="connsiteX118" fmla="*/ 664368 w 1266825"/>
              <a:gd name="connsiteY118" fmla="*/ 285750 h 1533525"/>
              <a:gd name="connsiteX119" fmla="*/ 721518 w 1266825"/>
              <a:gd name="connsiteY119" fmla="*/ 292894 h 1533525"/>
              <a:gd name="connsiteX120" fmla="*/ 733425 w 1266825"/>
              <a:gd name="connsiteY120" fmla="*/ 264319 h 1533525"/>
              <a:gd name="connsiteX121" fmla="*/ 731043 w 1266825"/>
              <a:gd name="connsiteY121" fmla="*/ 228600 h 1533525"/>
              <a:gd name="connsiteX122" fmla="*/ 790575 w 1266825"/>
              <a:gd name="connsiteY122" fmla="*/ 192881 h 1533525"/>
              <a:gd name="connsiteX123" fmla="*/ 804862 w 1266825"/>
              <a:gd name="connsiteY123" fmla="*/ 166688 h 1533525"/>
              <a:gd name="connsiteX124" fmla="*/ 778668 w 1266825"/>
              <a:gd name="connsiteY124" fmla="*/ 128588 h 1533525"/>
              <a:gd name="connsiteX125" fmla="*/ 771525 w 1266825"/>
              <a:gd name="connsiteY125" fmla="*/ 104775 h 1533525"/>
              <a:gd name="connsiteX126" fmla="*/ 823912 w 1266825"/>
              <a:gd name="connsiteY126" fmla="*/ 97631 h 1533525"/>
              <a:gd name="connsiteX127" fmla="*/ 869156 w 1266825"/>
              <a:gd name="connsiteY127" fmla="*/ 52388 h 1533525"/>
              <a:gd name="connsiteX128" fmla="*/ 890587 w 1266825"/>
              <a:gd name="connsiteY128" fmla="*/ 23813 h 1533525"/>
              <a:gd name="connsiteX129" fmla="*/ 923925 w 1266825"/>
              <a:gd name="connsiteY129" fmla="*/ 9525 h 1533525"/>
              <a:gd name="connsiteX130" fmla="*/ 971550 w 1266825"/>
              <a:gd name="connsiteY130" fmla="*/ 0 h 1533525"/>
              <a:gd name="connsiteX131" fmla="*/ 971550 w 1266825"/>
              <a:gd name="connsiteY131" fmla="*/ 40481 h 1533525"/>
              <a:gd name="connsiteX132" fmla="*/ 950118 w 1266825"/>
              <a:gd name="connsiteY132" fmla="*/ 80963 h 1533525"/>
              <a:gd name="connsiteX133" fmla="*/ 950118 w 1266825"/>
              <a:gd name="connsiteY133" fmla="*/ 140494 h 1533525"/>
              <a:gd name="connsiteX134" fmla="*/ 969168 w 1266825"/>
              <a:gd name="connsiteY134" fmla="*/ 161925 h 1533525"/>
              <a:gd name="connsiteX135" fmla="*/ 1007268 w 1266825"/>
              <a:gd name="connsiteY135" fmla="*/ 188119 h 1533525"/>
              <a:gd name="connsiteX136" fmla="*/ 1019175 w 1266825"/>
              <a:gd name="connsiteY136" fmla="*/ 216694 h 1533525"/>
              <a:gd name="connsiteX137" fmla="*/ 1004887 w 1266825"/>
              <a:gd name="connsiteY137" fmla="*/ 226219 h 1533525"/>
              <a:gd name="connsiteX138" fmla="*/ 1057275 w 1266825"/>
              <a:gd name="connsiteY138" fmla="*/ 250031 h 1533525"/>
              <a:gd name="connsiteX139" fmla="*/ 1073943 w 1266825"/>
              <a:gd name="connsiteY139" fmla="*/ 228600 h 1533525"/>
              <a:gd name="connsiteX140" fmla="*/ 1083468 w 1266825"/>
              <a:gd name="connsiteY140" fmla="*/ 252413 h 1533525"/>
              <a:gd name="connsiteX141" fmla="*/ 1116806 w 1266825"/>
              <a:gd name="connsiteY141" fmla="*/ 252413 h 1533525"/>
              <a:gd name="connsiteX142" fmla="*/ 1123950 w 1266825"/>
              <a:gd name="connsiteY142" fmla="*/ 257175 h 1533525"/>
              <a:gd name="connsiteX143" fmla="*/ 1116806 w 1266825"/>
              <a:gd name="connsiteY143" fmla="*/ 276225 h 1533525"/>
              <a:gd name="connsiteX144" fmla="*/ 1088231 w 1266825"/>
              <a:gd name="connsiteY144" fmla="*/ 309563 h 1533525"/>
              <a:gd name="connsiteX145" fmla="*/ 1123950 w 1266825"/>
              <a:gd name="connsiteY145" fmla="*/ 333375 h 1533525"/>
              <a:gd name="connsiteX146" fmla="*/ 1135856 w 1266825"/>
              <a:gd name="connsiteY146" fmla="*/ 347663 h 1533525"/>
              <a:gd name="connsiteX147" fmla="*/ 1135856 w 1266825"/>
              <a:gd name="connsiteY147" fmla="*/ 376238 h 1533525"/>
              <a:gd name="connsiteX148" fmla="*/ 1119187 w 1266825"/>
              <a:gd name="connsiteY148" fmla="*/ 411956 h 1533525"/>
              <a:gd name="connsiteX149" fmla="*/ 1162050 w 1266825"/>
              <a:gd name="connsiteY149" fmla="*/ 423863 h 1533525"/>
              <a:gd name="connsiteX150" fmla="*/ 1233487 w 1266825"/>
              <a:gd name="connsiteY150" fmla="*/ 416719 h 1533525"/>
              <a:gd name="connsiteX151" fmla="*/ 1223962 w 1266825"/>
              <a:gd name="connsiteY151" fmla="*/ 385763 h 1533525"/>
              <a:gd name="connsiteX152" fmla="*/ 1188243 w 1266825"/>
              <a:gd name="connsiteY152" fmla="*/ 347663 h 1533525"/>
              <a:gd name="connsiteX153" fmla="*/ 1181100 w 1266825"/>
              <a:gd name="connsiteY153" fmla="*/ 333375 h 1533525"/>
              <a:gd name="connsiteX0" fmla="*/ 1057275 w 1266825"/>
              <a:gd name="connsiteY0" fmla="*/ 264319 h 1533525"/>
              <a:gd name="connsiteX1" fmla="*/ 1062037 w 1266825"/>
              <a:gd name="connsiteY1" fmla="*/ 304800 h 1533525"/>
              <a:gd name="connsiteX2" fmla="*/ 995362 w 1266825"/>
              <a:gd name="connsiteY2" fmla="*/ 352425 h 1533525"/>
              <a:gd name="connsiteX3" fmla="*/ 973931 w 1266825"/>
              <a:gd name="connsiteY3" fmla="*/ 383381 h 1533525"/>
              <a:gd name="connsiteX4" fmla="*/ 1000125 w 1266825"/>
              <a:gd name="connsiteY4" fmla="*/ 428625 h 1533525"/>
              <a:gd name="connsiteX5" fmla="*/ 983456 w 1266825"/>
              <a:gd name="connsiteY5" fmla="*/ 466725 h 1533525"/>
              <a:gd name="connsiteX6" fmla="*/ 1000125 w 1266825"/>
              <a:gd name="connsiteY6" fmla="*/ 519113 h 1533525"/>
              <a:gd name="connsiteX7" fmla="*/ 1033462 w 1266825"/>
              <a:gd name="connsiteY7" fmla="*/ 519113 h 1533525"/>
              <a:gd name="connsiteX8" fmla="*/ 1019175 w 1266825"/>
              <a:gd name="connsiteY8" fmla="*/ 552450 h 1533525"/>
              <a:gd name="connsiteX9" fmla="*/ 1035843 w 1266825"/>
              <a:gd name="connsiteY9" fmla="*/ 590550 h 1533525"/>
              <a:gd name="connsiteX10" fmla="*/ 1035843 w 1266825"/>
              <a:gd name="connsiteY10" fmla="*/ 607219 h 1533525"/>
              <a:gd name="connsiteX11" fmla="*/ 1045368 w 1266825"/>
              <a:gd name="connsiteY11" fmla="*/ 645319 h 1533525"/>
              <a:gd name="connsiteX12" fmla="*/ 1064418 w 1266825"/>
              <a:gd name="connsiteY12" fmla="*/ 645319 h 1533525"/>
              <a:gd name="connsiteX13" fmla="*/ 1078706 w 1266825"/>
              <a:gd name="connsiteY13" fmla="*/ 666750 h 1533525"/>
              <a:gd name="connsiteX14" fmla="*/ 1085850 w 1266825"/>
              <a:gd name="connsiteY14" fmla="*/ 688181 h 1533525"/>
              <a:gd name="connsiteX15" fmla="*/ 1076325 w 1266825"/>
              <a:gd name="connsiteY15" fmla="*/ 719138 h 1533525"/>
              <a:gd name="connsiteX16" fmla="*/ 1021556 w 1266825"/>
              <a:gd name="connsiteY16" fmla="*/ 714375 h 1533525"/>
              <a:gd name="connsiteX17" fmla="*/ 1002506 w 1266825"/>
              <a:gd name="connsiteY17" fmla="*/ 721519 h 1533525"/>
              <a:gd name="connsiteX18" fmla="*/ 995362 w 1266825"/>
              <a:gd name="connsiteY18" fmla="*/ 726281 h 1533525"/>
              <a:gd name="connsiteX19" fmla="*/ 995362 w 1266825"/>
              <a:gd name="connsiteY19" fmla="*/ 726281 h 1533525"/>
              <a:gd name="connsiteX20" fmla="*/ 923925 w 1266825"/>
              <a:gd name="connsiteY20" fmla="*/ 721519 h 1533525"/>
              <a:gd name="connsiteX21" fmla="*/ 940593 w 1266825"/>
              <a:gd name="connsiteY21" fmla="*/ 778669 h 1533525"/>
              <a:gd name="connsiteX22" fmla="*/ 938212 w 1266825"/>
              <a:gd name="connsiteY22" fmla="*/ 847725 h 1533525"/>
              <a:gd name="connsiteX23" fmla="*/ 954881 w 1266825"/>
              <a:gd name="connsiteY23" fmla="*/ 871538 h 1533525"/>
              <a:gd name="connsiteX24" fmla="*/ 997743 w 1266825"/>
              <a:gd name="connsiteY24" fmla="*/ 919163 h 1533525"/>
              <a:gd name="connsiteX25" fmla="*/ 1012031 w 1266825"/>
              <a:gd name="connsiteY25" fmla="*/ 954881 h 1533525"/>
              <a:gd name="connsiteX26" fmla="*/ 1031081 w 1266825"/>
              <a:gd name="connsiteY26" fmla="*/ 954881 h 1533525"/>
              <a:gd name="connsiteX27" fmla="*/ 1071562 w 1266825"/>
              <a:gd name="connsiteY27" fmla="*/ 940594 h 1533525"/>
              <a:gd name="connsiteX28" fmla="*/ 1102518 w 1266825"/>
              <a:gd name="connsiteY28" fmla="*/ 933450 h 1533525"/>
              <a:gd name="connsiteX29" fmla="*/ 1159668 w 1266825"/>
              <a:gd name="connsiteY29" fmla="*/ 997744 h 1533525"/>
              <a:gd name="connsiteX30" fmla="*/ 1178718 w 1266825"/>
              <a:gd name="connsiteY30" fmla="*/ 1052513 h 1533525"/>
              <a:gd name="connsiteX31" fmla="*/ 1190625 w 1266825"/>
              <a:gd name="connsiteY31" fmla="*/ 1081088 h 1533525"/>
              <a:gd name="connsiteX32" fmla="*/ 1212056 w 1266825"/>
              <a:gd name="connsiteY32" fmla="*/ 1109663 h 1533525"/>
              <a:gd name="connsiteX33" fmla="*/ 1231106 w 1266825"/>
              <a:gd name="connsiteY33" fmla="*/ 1102519 h 1533525"/>
              <a:gd name="connsiteX34" fmla="*/ 1231106 w 1266825"/>
              <a:gd name="connsiteY34" fmla="*/ 1131094 h 1533525"/>
              <a:gd name="connsiteX35" fmla="*/ 1233487 w 1266825"/>
              <a:gd name="connsiteY35" fmla="*/ 1145381 h 1533525"/>
              <a:gd name="connsiteX36" fmla="*/ 1266825 w 1266825"/>
              <a:gd name="connsiteY36" fmla="*/ 1181100 h 1533525"/>
              <a:gd name="connsiteX37" fmla="*/ 1233487 w 1266825"/>
              <a:gd name="connsiteY37" fmla="*/ 1181100 h 1533525"/>
              <a:gd name="connsiteX38" fmla="*/ 1228725 w 1266825"/>
              <a:gd name="connsiteY38" fmla="*/ 1223963 h 1533525"/>
              <a:gd name="connsiteX39" fmla="*/ 1226343 w 1266825"/>
              <a:gd name="connsiteY39" fmla="*/ 1243013 h 1533525"/>
              <a:gd name="connsiteX40" fmla="*/ 1216818 w 1266825"/>
              <a:gd name="connsiteY40" fmla="*/ 1264444 h 1533525"/>
              <a:gd name="connsiteX41" fmla="*/ 1190625 w 1266825"/>
              <a:gd name="connsiteY41" fmla="*/ 1238250 h 1533525"/>
              <a:gd name="connsiteX42" fmla="*/ 1157287 w 1266825"/>
              <a:gd name="connsiteY42" fmla="*/ 1209675 h 1533525"/>
              <a:gd name="connsiteX43" fmla="*/ 1131093 w 1266825"/>
              <a:gd name="connsiteY43" fmla="*/ 1185863 h 1533525"/>
              <a:gd name="connsiteX44" fmla="*/ 1107281 w 1266825"/>
              <a:gd name="connsiteY44" fmla="*/ 1219200 h 1533525"/>
              <a:gd name="connsiteX45" fmla="*/ 1104900 w 1266825"/>
              <a:gd name="connsiteY45" fmla="*/ 1264444 h 1533525"/>
              <a:gd name="connsiteX46" fmla="*/ 1062037 w 1266825"/>
              <a:gd name="connsiteY46" fmla="*/ 1259681 h 1533525"/>
              <a:gd name="connsiteX47" fmla="*/ 1026318 w 1266825"/>
              <a:gd name="connsiteY47" fmla="*/ 1288256 h 1533525"/>
              <a:gd name="connsiteX48" fmla="*/ 1007268 w 1266825"/>
              <a:gd name="connsiteY48" fmla="*/ 1240631 h 1533525"/>
              <a:gd name="connsiteX49" fmla="*/ 947737 w 1266825"/>
              <a:gd name="connsiteY49" fmla="*/ 1231106 h 1533525"/>
              <a:gd name="connsiteX50" fmla="*/ 921543 w 1266825"/>
              <a:gd name="connsiteY50" fmla="*/ 1297781 h 1533525"/>
              <a:gd name="connsiteX51" fmla="*/ 885825 w 1266825"/>
              <a:gd name="connsiteY51" fmla="*/ 1278731 h 1533525"/>
              <a:gd name="connsiteX52" fmla="*/ 816768 w 1266825"/>
              <a:gd name="connsiteY52" fmla="*/ 1295400 h 1533525"/>
              <a:gd name="connsiteX53" fmla="*/ 757237 w 1266825"/>
              <a:gd name="connsiteY53" fmla="*/ 1259681 h 1533525"/>
              <a:gd name="connsiteX54" fmla="*/ 742950 w 1266825"/>
              <a:gd name="connsiteY54" fmla="*/ 1312069 h 1533525"/>
              <a:gd name="connsiteX55" fmla="*/ 704850 w 1266825"/>
              <a:gd name="connsiteY55" fmla="*/ 1345406 h 1533525"/>
              <a:gd name="connsiteX56" fmla="*/ 692943 w 1266825"/>
              <a:gd name="connsiteY56" fmla="*/ 1366838 h 1533525"/>
              <a:gd name="connsiteX57" fmla="*/ 671512 w 1266825"/>
              <a:gd name="connsiteY57" fmla="*/ 1509713 h 1533525"/>
              <a:gd name="connsiteX58" fmla="*/ 633412 w 1266825"/>
              <a:gd name="connsiteY58" fmla="*/ 1490663 h 1533525"/>
              <a:gd name="connsiteX59" fmla="*/ 614362 w 1266825"/>
              <a:gd name="connsiteY59" fmla="*/ 1504950 h 1533525"/>
              <a:gd name="connsiteX60" fmla="*/ 581025 w 1266825"/>
              <a:gd name="connsiteY60" fmla="*/ 1531144 h 1533525"/>
              <a:gd name="connsiteX61" fmla="*/ 523875 w 1266825"/>
              <a:gd name="connsiteY61" fmla="*/ 1502569 h 1533525"/>
              <a:gd name="connsiteX62" fmla="*/ 514350 w 1266825"/>
              <a:gd name="connsiteY62" fmla="*/ 1490663 h 1533525"/>
              <a:gd name="connsiteX63" fmla="*/ 483393 w 1266825"/>
              <a:gd name="connsiteY63" fmla="*/ 1533525 h 1533525"/>
              <a:gd name="connsiteX64" fmla="*/ 459581 w 1266825"/>
              <a:gd name="connsiteY64" fmla="*/ 1481138 h 1533525"/>
              <a:gd name="connsiteX65" fmla="*/ 438150 w 1266825"/>
              <a:gd name="connsiteY65" fmla="*/ 1471613 h 1533525"/>
              <a:gd name="connsiteX66" fmla="*/ 400050 w 1266825"/>
              <a:gd name="connsiteY66" fmla="*/ 1485900 h 1533525"/>
              <a:gd name="connsiteX67" fmla="*/ 338137 w 1266825"/>
              <a:gd name="connsiteY67" fmla="*/ 1490663 h 1533525"/>
              <a:gd name="connsiteX68" fmla="*/ 330993 w 1266825"/>
              <a:gd name="connsiteY68" fmla="*/ 1497806 h 1533525"/>
              <a:gd name="connsiteX69" fmla="*/ 271462 w 1266825"/>
              <a:gd name="connsiteY69" fmla="*/ 1471613 h 1533525"/>
              <a:gd name="connsiteX70" fmla="*/ 219075 w 1266825"/>
              <a:gd name="connsiteY70" fmla="*/ 1443038 h 1533525"/>
              <a:gd name="connsiteX71" fmla="*/ 138112 w 1266825"/>
              <a:gd name="connsiteY71" fmla="*/ 1402556 h 1533525"/>
              <a:gd name="connsiteX72" fmla="*/ 95250 w 1266825"/>
              <a:gd name="connsiteY72" fmla="*/ 1316831 h 1533525"/>
              <a:gd name="connsiteX73" fmla="*/ 80962 w 1266825"/>
              <a:gd name="connsiteY73" fmla="*/ 1288256 h 1533525"/>
              <a:gd name="connsiteX74" fmla="*/ 104775 w 1266825"/>
              <a:gd name="connsiteY74" fmla="*/ 1266825 h 1533525"/>
              <a:gd name="connsiteX75" fmla="*/ 76200 w 1266825"/>
              <a:gd name="connsiteY75" fmla="*/ 1212056 h 1533525"/>
              <a:gd name="connsiteX76" fmla="*/ 109537 w 1266825"/>
              <a:gd name="connsiteY76" fmla="*/ 1193006 h 1533525"/>
              <a:gd name="connsiteX77" fmla="*/ 140493 w 1266825"/>
              <a:gd name="connsiteY77" fmla="*/ 1143000 h 1533525"/>
              <a:gd name="connsiteX78" fmla="*/ 123825 w 1266825"/>
              <a:gd name="connsiteY78" fmla="*/ 1107281 h 1533525"/>
              <a:gd name="connsiteX79" fmla="*/ 178593 w 1266825"/>
              <a:gd name="connsiteY79" fmla="*/ 1107281 h 1533525"/>
              <a:gd name="connsiteX80" fmla="*/ 192881 w 1266825"/>
              <a:gd name="connsiteY80" fmla="*/ 1109663 h 1533525"/>
              <a:gd name="connsiteX81" fmla="*/ 159543 w 1266825"/>
              <a:gd name="connsiteY81" fmla="*/ 1064419 h 1533525"/>
              <a:gd name="connsiteX82" fmla="*/ 169068 w 1266825"/>
              <a:gd name="connsiteY82" fmla="*/ 1014413 h 1533525"/>
              <a:gd name="connsiteX83" fmla="*/ 123825 w 1266825"/>
              <a:gd name="connsiteY83" fmla="*/ 997744 h 1533525"/>
              <a:gd name="connsiteX84" fmla="*/ 61912 w 1266825"/>
              <a:gd name="connsiteY84" fmla="*/ 954881 h 1533525"/>
              <a:gd name="connsiteX85" fmla="*/ 45243 w 1266825"/>
              <a:gd name="connsiteY85" fmla="*/ 938213 h 1533525"/>
              <a:gd name="connsiteX86" fmla="*/ 64293 w 1266825"/>
              <a:gd name="connsiteY86" fmla="*/ 909638 h 1533525"/>
              <a:gd name="connsiteX87" fmla="*/ 47625 w 1266825"/>
              <a:gd name="connsiteY87" fmla="*/ 897731 h 1533525"/>
              <a:gd name="connsiteX88" fmla="*/ 47625 w 1266825"/>
              <a:gd name="connsiteY88" fmla="*/ 881063 h 1533525"/>
              <a:gd name="connsiteX89" fmla="*/ 26193 w 1266825"/>
              <a:gd name="connsiteY89" fmla="*/ 881063 h 1533525"/>
              <a:gd name="connsiteX90" fmla="*/ 7143 w 1266825"/>
              <a:gd name="connsiteY90" fmla="*/ 847725 h 1533525"/>
              <a:gd name="connsiteX91" fmla="*/ 0 w 1266825"/>
              <a:gd name="connsiteY91" fmla="*/ 816769 h 1533525"/>
              <a:gd name="connsiteX92" fmla="*/ 54768 w 1266825"/>
              <a:gd name="connsiteY92" fmla="*/ 800100 h 1533525"/>
              <a:gd name="connsiteX93" fmla="*/ 76200 w 1266825"/>
              <a:gd name="connsiteY93" fmla="*/ 788194 h 1533525"/>
              <a:gd name="connsiteX94" fmla="*/ 128587 w 1266825"/>
              <a:gd name="connsiteY94" fmla="*/ 821531 h 1533525"/>
              <a:gd name="connsiteX95" fmla="*/ 126206 w 1266825"/>
              <a:gd name="connsiteY95" fmla="*/ 800100 h 1533525"/>
              <a:gd name="connsiteX96" fmla="*/ 164306 w 1266825"/>
              <a:gd name="connsiteY96" fmla="*/ 795338 h 1533525"/>
              <a:gd name="connsiteX97" fmla="*/ 173831 w 1266825"/>
              <a:gd name="connsiteY97" fmla="*/ 759619 h 1533525"/>
              <a:gd name="connsiteX98" fmla="*/ 235743 w 1266825"/>
              <a:gd name="connsiteY98" fmla="*/ 764381 h 1533525"/>
              <a:gd name="connsiteX99" fmla="*/ 235743 w 1266825"/>
              <a:gd name="connsiteY99" fmla="*/ 764381 h 1533525"/>
              <a:gd name="connsiteX100" fmla="*/ 245268 w 1266825"/>
              <a:gd name="connsiteY100" fmla="*/ 704850 h 1533525"/>
              <a:gd name="connsiteX101" fmla="*/ 276225 w 1266825"/>
              <a:gd name="connsiteY101" fmla="*/ 666750 h 1533525"/>
              <a:gd name="connsiteX102" fmla="*/ 292893 w 1266825"/>
              <a:gd name="connsiteY102" fmla="*/ 638175 h 1533525"/>
              <a:gd name="connsiteX103" fmla="*/ 245268 w 1266825"/>
              <a:gd name="connsiteY103" fmla="*/ 602456 h 1533525"/>
              <a:gd name="connsiteX104" fmla="*/ 264318 w 1266825"/>
              <a:gd name="connsiteY104" fmla="*/ 585788 h 1533525"/>
              <a:gd name="connsiteX105" fmla="*/ 311943 w 1266825"/>
              <a:gd name="connsiteY105" fmla="*/ 602456 h 1533525"/>
              <a:gd name="connsiteX106" fmla="*/ 369093 w 1266825"/>
              <a:gd name="connsiteY106" fmla="*/ 573881 h 1533525"/>
              <a:gd name="connsiteX107" fmla="*/ 457200 w 1266825"/>
              <a:gd name="connsiteY107" fmla="*/ 545306 h 1533525"/>
              <a:gd name="connsiteX108" fmla="*/ 538162 w 1266825"/>
              <a:gd name="connsiteY108" fmla="*/ 578644 h 1533525"/>
              <a:gd name="connsiteX109" fmla="*/ 614362 w 1266825"/>
              <a:gd name="connsiteY109" fmla="*/ 550069 h 1533525"/>
              <a:gd name="connsiteX110" fmla="*/ 650081 w 1266825"/>
              <a:gd name="connsiteY110" fmla="*/ 552450 h 1533525"/>
              <a:gd name="connsiteX111" fmla="*/ 654843 w 1266825"/>
              <a:gd name="connsiteY111" fmla="*/ 523875 h 1533525"/>
              <a:gd name="connsiteX112" fmla="*/ 654843 w 1266825"/>
              <a:gd name="connsiteY112" fmla="*/ 490538 h 1533525"/>
              <a:gd name="connsiteX113" fmla="*/ 669131 w 1266825"/>
              <a:gd name="connsiteY113" fmla="*/ 469106 h 1533525"/>
              <a:gd name="connsiteX114" fmla="*/ 652462 w 1266825"/>
              <a:gd name="connsiteY114" fmla="*/ 450056 h 1533525"/>
              <a:gd name="connsiteX115" fmla="*/ 642937 w 1266825"/>
              <a:gd name="connsiteY115" fmla="*/ 411956 h 1533525"/>
              <a:gd name="connsiteX116" fmla="*/ 642937 w 1266825"/>
              <a:gd name="connsiteY116" fmla="*/ 330994 h 1533525"/>
              <a:gd name="connsiteX117" fmla="*/ 633412 w 1266825"/>
              <a:gd name="connsiteY117" fmla="*/ 319088 h 1533525"/>
              <a:gd name="connsiteX118" fmla="*/ 664368 w 1266825"/>
              <a:gd name="connsiteY118" fmla="*/ 285750 h 1533525"/>
              <a:gd name="connsiteX119" fmla="*/ 721518 w 1266825"/>
              <a:gd name="connsiteY119" fmla="*/ 292894 h 1533525"/>
              <a:gd name="connsiteX120" fmla="*/ 733425 w 1266825"/>
              <a:gd name="connsiteY120" fmla="*/ 264319 h 1533525"/>
              <a:gd name="connsiteX121" fmla="*/ 731043 w 1266825"/>
              <a:gd name="connsiteY121" fmla="*/ 228600 h 1533525"/>
              <a:gd name="connsiteX122" fmla="*/ 790575 w 1266825"/>
              <a:gd name="connsiteY122" fmla="*/ 192881 h 1533525"/>
              <a:gd name="connsiteX123" fmla="*/ 804862 w 1266825"/>
              <a:gd name="connsiteY123" fmla="*/ 166688 h 1533525"/>
              <a:gd name="connsiteX124" fmla="*/ 778668 w 1266825"/>
              <a:gd name="connsiteY124" fmla="*/ 128588 h 1533525"/>
              <a:gd name="connsiteX125" fmla="*/ 771525 w 1266825"/>
              <a:gd name="connsiteY125" fmla="*/ 104775 h 1533525"/>
              <a:gd name="connsiteX126" fmla="*/ 823912 w 1266825"/>
              <a:gd name="connsiteY126" fmla="*/ 97631 h 1533525"/>
              <a:gd name="connsiteX127" fmla="*/ 869156 w 1266825"/>
              <a:gd name="connsiteY127" fmla="*/ 52388 h 1533525"/>
              <a:gd name="connsiteX128" fmla="*/ 890587 w 1266825"/>
              <a:gd name="connsiteY128" fmla="*/ 23813 h 1533525"/>
              <a:gd name="connsiteX129" fmla="*/ 923925 w 1266825"/>
              <a:gd name="connsiteY129" fmla="*/ 9525 h 1533525"/>
              <a:gd name="connsiteX130" fmla="*/ 971550 w 1266825"/>
              <a:gd name="connsiteY130" fmla="*/ 0 h 1533525"/>
              <a:gd name="connsiteX131" fmla="*/ 971550 w 1266825"/>
              <a:gd name="connsiteY131" fmla="*/ 40481 h 1533525"/>
              <a:gd name="connsiteX132" fmla="*/ 950118 w 1266825"/>
              <a:gd name="connsiteY132" fmla="*/ 80963 h 1533525"/>
              <a:gd name="connsiteX133" fmla="*/ 950118 w 1266825"/>
              <a:gd name="connsiteY133" fmla="*/ 140494 h 1533525"/>
              <a:gd name="connsiteX134" fmla="*/ 969168 w 1266825"/>
              <a:gd name="connsiteY134" fmla="*/ 161925 h 1533525"/>
              <a:gd name="connsiteX135" fmla="*/ 1007268 w 1266825"/>
              <a:gd name="connsiteY135" fmla="*/ 188119 h 1533525"/>
              <a:gd name="connsiteX136" fmla="*/ 1019175 w 1266825"/>
              <a:gd name="connsiteY136" fmla="*/ 216694 h 1533525"/>
              <a:gd name="connsiteX137" fmla="*/ 1004887 w 1266825"/>
              <a:gd name="connsiteY137" fmla="*/ 226219 h 1533525"/>
              <a:gd name="connsiteX138" fmla="*/ 1057275 w 1266825"/>
              <a:gd name="connsiteY138" fmla="*/ 250031 h 1533525"/>
              <a:gd name="connsiteX139" fmla="*/ 1073943 w 1266825"/>
              <a:gd name="connsiteY139" fmla="*/ 228600 h 1533525"/>
              <a:gd name="connsiteX140" fmla="*/ 1083468 w 1266825"/>
              <a:gd name="connsiteY140" fmla="*/ 252413 h 1533525"/>
              <a:gd name="connsiteX141" fmla="*/ 1116806 w 1266825"/>
              <a:gd name="connsiteY141" fmla="*/ 252413 h 1533525"/>
              <a:gd name="connsiteX142" fmla="*/ 1123950 w 1266825"/>
              <a:gd name="connsiteY142" fmla="*/ 257175 h 1533525"/>
              <a:gd name="connsiteX143" fmla="*/ 1116806 w 1266825"/>
              <a:gd name="connsiteY143" fmla="*/ 276225 h 1533525"/>
              <a:gd name="connsiteX144" fmla="*/ 1088231 w 1266825"/>
              <a:gd name="connsiteY144" fmla="*/ 309563 h 1533525"/>
              <a:gd name="connsiteX145" fmla="*/ 1123950 w 1266825"/>
              <a:gd name="connsiteY145" fmla="*/ 333375 h 1533525"/>
              <a:gd name="connsiteX146" fmla="*/ 1135856 w 1266825"/>
              <a:gd name="connsiteY146" fmla="*/ 347663 h 1533525"/>
              <a:gd name="connsiteX147" fmla="*/ 1135856 w 1266825"/>
              <a:gd name="connsiteY147" fmla="*/ 376238 h 1533525"/>
              <a:gd name="connsiteX148" fmla="*/ 1119187 w 1266825"/>
              <a:gd name="connsiteY148" fmla="*/ 411956 h 1533525"/>
              <a:gd name="connsiteX149" fmla="*/ 1162050 w 1266825"/>
              <a:gd name="connsiteY149" fmla="*/ 423863 h 1533525"/>
              <a:gd name="connsiteX150" fmla="*/ 1233487 w 1266825"/>
              <a:gd name="connsiteY150" fmla="*/ 416719 h 1533525"/>
              <a:gd name="connsiteX151" fmla="*/ 1223962 w 1266825"/>
              <a:gd name="connsiteY151" fmla="*/ 385763 h 1533525"/>
              <a:gd name="connsiteX152" fmla="*/ 1188243 w 1266825"/>
              <a:gd name="connsiteY152" fmla="*/ 347663 h 1533525"/>
              <a:gd name="connsiteX0" fmla="*/ 1057275 w 1266825"/>
              <a:gd name="connsiteY0" fmla="*/ 264319 h 1533525"/>
              <a:gd name="connsiteX1" fmla="*/ 1062037 w 1266825"/>
              <a:gd name="connsiteY1" fmla="*/ 304800 h 1533525"/>
              <a:gd name="connsiteX2" fmla="*/ 995362 w 1266825"/>
              <a:gd name="connsiteY2" fmla="*/ 352425 h 1533525"/>
              <a:gd name="connsiteX3" fmla="*/ 973931 w 1266825"/>
              <a:gd name="connsiteY3" fmla="*/ 383381 h 1533525"/>
              <a:gd name="connsiteX4" fmla="*/ 1000125 w 1266825"/>
              <a:gd name="connsiteY4" fmla="*/ 428625 h 1533525"/>
              <a:gd name="connsiteX5" fmla="*/ 983456 w 1266825"/>
              <a:gd name="connsiteY5" fmla="*/ 466725 h 1533525"/>
              <a:gd name="connsiteX6" fmla="*/ 1000125 w 1266825"/>
              <a:gd name="connsiteY6" fmla="*/ 519113 h 1533525"/>
              <a:gd name="connsiteX7" fmla="*/ 1033462 w 1266825"/>
              <a:gd name="connsiteY7" fmla="*/ 519113 h 1533525"/>
              <a:gd name="connsiteX8" fmla="*/ 1019175 w 1266825"/>
              <a:gd name="connsiteY8" fmla="*/ 552450 h 1533525"/>
              <a:gd name="connsiteX9" fmla="*/ 1035843 w 1266825"/>
              <a:gd name="connsiteY9" fmla="*/ 590550 h 1533525"/>
              <a:gd name="connsiteX10" fmla="*/ 1035843 w 1266825"/>
              <a:gd name="connsiteY10" fmla="*/ 607219 h 1533525"/>
              <a:gd name="connsiteX11" fmla="*/ 1045368 w 1266825"/>
              <a:gd name="connsiteY11" fmla="*/ 645319 h 1533525"/>
              <a:gd name="connsiteX12" fmla="*/ 1064418 w 1266825"/>
              <a:gd name="connsiteY12" fmla="*/ 645319 h 1533525"/>
              <a:gd name="connsiteX13" fmla="*/ 1078706 w 1266825"/>
              <a:gd name="connsiteY13" fmla="*/ 666750 h 1533525"/>
              <a:gd name="connsiteX14" fmla="*/ 1085850 w 1266825"/>
              <a:gd name="connsiteY14" fmla="*/ 688181 h 1533525"/>
              <a:gd name="connsiteX15" fmla="*/ 1076325 w 1266825"/>
              <a:gd name="connsiteY15" fmla="*/ 719138 h 1533525"/>
              <a:gd name="connsiteX16" fmla="*/ 1021556 w 1266825"/>
              <a:gd name="connsiteY16" fmla="*/ 714375 h 1533525"/>
              <a:gd name="connsiteX17" fmla="*/ 1002506 w 1266825"/>
              <a:gd name="connsiteY17" fmla="*/ 721519 h 1533525"/>
              <a:gd name="connsiteX18" fmla="*/ 995362 w 1266825"/>
              <a:gd name="connsiteY18" fmla="*/ 726281 h 1533525"/>
              <a:gd name="connsiteX19" fmla="*/ 995362 w 1266825"/>
              <a:gd name="connsiteY19" fmla="*/ 726281 h 1533525"/>
              <a:gd name="connsiteX20" fmla="*/ 923925 w 1266825"/>
              <a:gd name="connsiteY20" fmla="*/ 721519 h 1533525"/>
              <a:gd name="connsiteX21" fmla="*/ 940593 w 1266825"/>
              <a:gd name="connsiteY21" fmla="*/ 778669 h 1533525"/>
              <a:gd name="connsiteX22" fmla="*/ 938212 w 1266825"/>
              <a:gd name="connsiteY22" fmla="*/ 847725 h 1533525"/>
              <a:gd name="connsiteX23" fmla="*/ 954881 w 1266825"/>
              <a:gd name="connsiteY23" fmla="*/ 871538 h 1533525"/>
              <a:gd name="connsiteX24" fmla="*/ 997743 w 1266825"/>
              <a:gd name="connsiteY24" fmla="*/ 919163 h 1533525"/>
              <a:gd name="connsiteX25" fmla="*/ 1012031 w 1266825"/>
              <a:gd name="connsiteY25" fmla="*/ 954881 h 1533525"/>
              <a:gd name="connsiteX26" fmla="*/ 1031081 w 1266825"/>
              <a:gd name="connsiteY26" fmla="*/ 954881 h 1533525"/>
              <a:gd name="connsiteX27" fmla="*/ 1071562 w 1266825"/>
              <a:gd name="connsiteY27" fmla="*/ 940594 h 1533525"/>
              <a:gd name="connsiteX28" fmla="*/ 1102518 w 1266825"/>
              <a:gd name="connsiteY28" fmla="*/ 933450 h 1533525"/>
              <a:gd name="connsiteX29" fmla="*/ 1159668 w 1266825"/>
              <a:gd name="connsiteY29" fmla="*/ 997744 h 1533525"/>
              <a:gd name="connsiteX30" fmla="*/ 1178718 w 1266825"/>
              <a:gd name="connsiteY30" fmla="*/ 1052513 h 1533525"/>
              <a:gd name="connsiteX31" fmla="*/ 1190625 w 1266825"/>
              <a:gd name="connsiteY31" fmla="*/ 1081088 h 1533525"/>
              <a:gd name="connsiteX32" fmla="*/ 1212056 w 1266825"/>
              <a:gd name="connsiteY32" fmla="*/ 1109663 h 1533525"/>
              <a:gd name="connsiteX33" fmla="*/ 1231106 w 1266825"/>
              <a:gd name="connsiteY33" fmla="*/ 1102519 h 1533525"/>
              <a:gd name="connsiteX34" fmla="*/ 1231106 w 1266825"/>
              <a:gd name="connsiteY34" fmla="*/ 1131094 h 1533525"/>
              <a:gd name="connsiteX35" fmla="*/ 1233487 w 1266825"/>
              <a:gd name="connsiteY35" fmla="*/ 1145381 h 1533525"/>
              <a:gd name="connsiteX36" fmla="*/ 1266825 w 1266825"/>
              <a:gd name="connsiteY36" fmla="*/ 1181100 h 1533525"/>
              <a:gd name="connsiteX37" fmla="*/ 1233487 w 1266825"/>
              <a:gd name="connsiteY37" fmla="*/ 1181100 h 1533525"/>
              <a:gd name="connsiteX38" fmla="*/ 1228725 w 1266825"/>
              <a:gd name="connsiteY38" fmla="*/ 1223963 h 1533525"/>
              <a:gd name="connsiteX39" fmla="*/ 1226343 w 1266825"/>
              <a:gd name="connsiteY39" fmla="*/ 1243013 h 1533525"/>
              <a:gd name="connsiteX40" fmla="*/ 1216818 w 1266825"/>
              <a:gd name="connsiteY40" fmla="*/ 1264444 h 1533525"/>
              <a:gd name="connsiteX41" fmla="*/ 1190625 w 1266825"/>
              <a:gd name="connsiteY41" fmla="*/ 1238250 h 1533525"/>
              <a:gd name="connsiteX42" fmla="*/ 1157287 w 1266825"/>
              <a:gd name="connsiteY42" fmla="*/ 1209675 h 1533525"/>
              <a:gd name="connsiteX43" fmla="*/ 1131093 w 1266825"/>
              <a:gd name="connsiteY43" fmla="*/ 1185863 h 1533525"/>
              <a:gd name="connsiteX44" fmla="*/ 1107281 w 1266825"/>
              <a:gd name="connsiteY44" fmla="*/ 1219200 h 1533525"/>
              <a:gd name="connsiteX45" fmla="*/ 1104900 w 1266825"/>
              <a:gd name="connsiteY45" fmla="*/ 1264444 h 1533525"/>
              <a:gd name="connsiteX46" fmla="*/ 1062037 w 1266825"/>
              <a:gd name="connsiteY46" fmla="*/ 1259681 h 1533525"/>
              <a:gd name="connsiteX47" fmla="*/ 1026318 w 1266825"/>
              <a:gd name="connsiteY47" fmla="*/ 1288256 h 1533525"/>
              <a:gd name="connsiteX48" fmla="*/ 1007268 w 1266825"/>
              <a:gd name="connsiteY48" fmla="*/ 1240631 h 1533525"/>
              <a:gd name="connsiteX49" fmla="*/ 947737 w 1266825"/>
              <a:gd name="connsiteY49" fmla="*/ 1231106 h 1533525"/>
              <a:gd name="connsiteX50" fmla="*/ 921543 w 1266825"/>
              <a:gd name="connsiteY50" fmla="*/ 1297781 h 1533525"/>
              <a:gd name="connsiteX51" fmla="*/ 885825 w 1266825"/>
              <a:gd name="connsiteY51" fmla="*/ 1278731 h 1533525"/>
              <a:gd name="connsiteX52" fmla="*/ 816768 w 1266825"/>
              <a:gd name="connsiteY52" fmla="*/ 1295400 h 1533525"/>
              <a:gd name="connsiteX53" fmla="*/ 757237 w 1266825"/>
              <a:gd name="connsiteY53" fmla="*/ 1259681 h 1533525"/>
              <a:gd name="connsiteX54" fmla="*/ 742950 w 1266825"/>
              <a:gd name="connsiteY54" fmla="*/ 1312069 h 1533525"/>
              <a:gd name="connsiteX55" fmla="*/ 704850 w 1266825"/>
              <a:gd name="connsiteY55" fmla="*/ 1345406 h 1533525"/>
              <a:gd name="connsiteX56" fmla="*/ 692943 w 1266825"/>
              <a:gd name="connsiteY56" fmla="*/ 1366838 h 1533525"/>
              <a:gd name="connsiteX57" fmla="*/ 671512 w 1266825"/>
              <a:gd name="connsiteY57" fmla="*/ 1509713 h 1533525"/>
              <a:gd name="connsiteX58" fmla="*/ 633412 w 1266825"/>
              <a:gd name="connsiteY58" fmla="*/ 1490663 h 1533525"/>
              <a:gd name="connsiteX59" fmla="*/ 614362 w 1266825"/>
              <a:gd name="connsiteY59" fmla="*/ 1504950 h 1533525"/>
              <a:gd name="connsiteX60" fmla="*/ 581025 w 1266825"/>
              <a:gd name="connsiteY60" fmla="*/ 1531144 h 1533525"/>
              <a:gd name="connsiteX61" fmla="*/ 523875 w 1266825"/>
              <a:gd name="connsiteY61" fmla="*/ 1502569 h 1533525"/>
              <a:gd name="connsiteX62" fmla="*/ 514350 w 1266825"/>
              <a:gd name="connsiteY62" fmla="*/ 1490663 h 1533525"/>
              <a:gd name="connsiteX63" fmla="*/ 483393 w 1266825"/>
              <a:gd name="connsiteY63" fmla="*/ 1533525 h 1533525"/>
              <a:gd name="connsiteX64" fmla="*/ 459581 w 1266825"/>
              <a:gd name="connsiteY64" fmla="*/ 1481138 h 1533525"/>
              <a:gd name="connsiteX65" fmla="*/ 438150 w 1266825"/>
              <a:gd name="connsiteY65" fmla="*/ 1471613 h 1533525"/>
              <a:gd name="connsiteX66" fmla="*/ 400050 w 1266825"/>
              <a:gd name="connsiteY66" fmla="*/ 1485900 h 1533525"/>
              <a:gd name="connsiteX67" fmla="*/ 338137 w 1266825"/>
              <a:gd name="connsiteY67" fmla="*/ 1490663 h 1533525"/>
              <a:gd name="connsiteX68" fmla="*/ 330993 w 1266825"/>
              <a:gd name="connsiteY68" fmla="*/ 1497806 h 1533525"/>
              <a:gd name="connsiteX69" fmla="*/ 271462 w 1266825"/>
              <a:gd name="connsiteY69" fmla="*/ 1471613 h 1533525"/>
              <a:gd name="connsiteX70" fmla="*/ 219075 w 1266825"/>
              <a:gd name="connsiteY70" fmla="*/ 1443038 h 1533525"/>
              <a:gd name="connsiteX71" fmla="*/ 138112 w 1266825"/>
              <a:gd name="connsiteY71" fmla="*/ 1402556 h 1533525"/>
              <a:gd name="connsiteX72" fmla="*/ 95250 w 1266825"/>
              <a:gd name="connsiteY72" fmla="*/ 1316831 h 1533525"/>
              <a:gd name="connsiteX73" fmla="*/ 80962 w 1266825"/>
              <a:gd name="connsiteY73" fmla="*/ 1288256 h 1533525"/>
              <a:gd name="connsiteX74" fmla="*/ 104775 w 1266825"/>
              <a:gd name="connsiteY74" fmla="*/ 1266825 h 1533525"/>
              <a:gd name="connsiteX75" fmla="*/ 76200 w 1266825"/>
              <a:gd name="connsiteY75" fmla="*/ 1212056 h 1533525"/>
              <a:gd name="connsiteX76" fmla="*/ 109537 w 1266825"/>
              <a:gd name="connsiteY76" fmla="*/ 1193006 h 1533525"/>
              <a:gd name="connsiteX77" fmla="*/ 140493 w 1266825"/>
              <a:gd name="connsiteY77" fmla="*/ 1143000 h 1533525"/>
              <a:gd name="connsiteX78" fmla="*/ 123825 w 1266825"/>
              <a:gd name="connsiteY78" fmla="*/ 1107281 h 1533525"/>
              <a:gd name="connsiteX79" fmla="*/ 178593 w 1266825"/>
              <a:gd name="connsiteY79" fmla="*/ 1107281 h 1533525"/>
              <a:gd name="connsiteX80" fmla="*/ 192881 w 1266825"/>
              <a:gd name="connsiteY80" fmla="*/ 1109663 h 1533525"/>
              <a:gd name="connsiteX81" fmla="*/ 159543 w 1266825"/>
              <a:gd name="connsiteY81" fmla="*/ 1064419 h 1533525"/>
              <a:gd name="connsiteX82" fmla="*/ 169068 w 1266825"/>
              <a:gd name="connsiteY82" fmla="*/ 1014413 h 1533525"/>
              <a:gd name="connsiteX83" fmla="*/ 123825 w 1266825"/>
              <a:gd name="connsiteY83" fmla="*/ 997744 h 1533525"/>
              <a:gd name="connsiteX84" fmla="*/ 61912 w 1266825"/>
              <a:gd name="connsiteY84" fmla="*/ 954881 h 1533525"/>
              <a:gd name="connsiteX85" fmla="*/ 45243 w 1266825"/>
              <a:gd name="connsiteY85" fmla="*/ 938213 h 1533525"/>
              <a:gd name="connsiteX86" fmla="*/ 64293 w 1266825"/>
              <a:gd name="connsiteY86" fmla="*/ 909638 h 1533525"/>
              <a:gd name="connsiteX87" fmla="*/ 47625 w 1266825"/>
              <a:gd name="connsiteY87" fmla="*/ 897731 h 1533525"/>
              <a:gd name="connsiteX88" fmla="*/ 47625 w 1266825"/>
              <a:gd name="connsiteY88" fmla="*/ 881063 h 1533525"/>
              <a:gd name="connsiteX89" fmla="*/ 26193 w 1266825"/>
              <a:gd name="connsiteY89" fmla="*/ 881063 h 1533525"/>
              <a:gd name="connsiteX90" fmla="*/ 7143 w 1266825"/>
              <a:gd name="connsiteY90" fmla="*/ 847725 h 1533525"/>
              <a:gd name="connsiteX91" fmla="*/ 0 w 1266825"/>
              <a:gd name="connsiteY91" fmla="*/ 816769 h 1533525"/>
              <a:gd name="connsiteX92" fmla="*/ 54768 w 1266825"/>
              <a:gd name="connsiteY92" fmla="*/ 800100 h 1533525"/>
              <a:gd name="connsiteX93" fmla="*/ 76200 w 1266825"/>
              <a:gd name="connsiteY93" fmla="*/ 788194 h 1533525"/>
              <a:gd name="connsiteX94" fmla="*/ 128587 w 1266825"/>
              <a:gd name="connsiteY94" fmla="*/ 821531 h 1533525"/>
              <a:gd name="connsiteX95" fmla="*/ 126206 w 1266825"/>
              <a:gd name="connsiteY95" fmla="*/ 800100 h 1533525"/>
              <a:gd name="connsiteX96" fmla="*/ 164306 w 1266825"/>
              <a:gd name="connsiteY96" fmla="*/ 795338 h 1533525"/>
              <a:gd name="connsiteX97" fmla="*/ 173831 w 1266825"/>
              <a:gd name="connsiteY97" fmla="*/ 759619 h 1533525"/>
              <a:gd name="connsiteX98" fmla="*/ 235743 w 1266825"/>
              <a:gd name="connsiteY98" fmla="*/ 764381 h 1533525"/>
              <a:gd name="connsiteX99" fmla="*/ 235743 w 1266825"/>
              <a:gd name="connsiteY99" fmla="*/ 764381 h 1533525"/>
              <a:gd name="connsiteX100" fmla="*/ 245268 w 1266825"/>
              <a:gd name="connsiteY100" fmla="*/ 704850 h 1533525"/>
              <a:gd name="connsiteX101" fmla="*/ 276225 w 1266825"/>
              <a:gd name="connsiteY101" fmla="*/ 666750 h 1533525"/>
              <a:gd name="connsiteX102" fmla="*/ 292893 w 1266825"/>
              <a:gd name="connsiteY102" fmla="*/ 638175 h 1533525"/>
              <a:gd name="connsiteX103" fmla="*/ 245268 w 1266825"/>
              <a:gd name="connsiteY103" fmla="*/ 602456 h 1533525"/>
              <a:gd name="connsiteX104" fmla="*/ 264318 w 1266825"/>
              <a:gd name="connsiteY104" fmla="*/ 585788 h 1533525"/>
              <a:gd name="connsiteX105" fmla="*/ 311943 w 1266825"/>
              <a:gd name="connsiteY105" fmla="*/ 602456 h 1533525"/>
              <a:gd name="connsiteX106" fmla="*/ 369093 w 1266825"/>
              <a:gd name="connsiteY106" fmla="*/ 573881 h 1533525"/>
              <a:gd name="connsiteX107" fmla="*/ 457200 w 1266825"/>
              <a:gd name="connsiteY107" fmla="*/ 545306 h 1533525"/>
              <a:gd name="connsiteX108" fmla="*/ 538162 w 1266825"/>
              <a:gd name="connsiteY108" fmla="*/ 578644 h 1533525"/>
              <a:gd name="connsiteX109" fmla="*/ 614362 w 1266825"/>
              <a:gd name="connsiteY109" fmla="*/ 550069 h 1533525"/>
              <a:gd name="connsiteX110" fmla="*/ 650081 w 1266825"/>
              <a:gd name="connsiteY110" fmla="*/ 552450 h 1533525"/>
              <a:gd name="connsiteX111" fmla="*/ 654843 w 1266825"/>
              <a:gd name="connsiteY111" fmla="*/ 523875 h 1533525"/>
              <a:gd name="connsiteX112" fmla="*/ 654843 w 1266825"/>
              <a:gd name="connsiteY112" fmla="*/ 490538 h 1533525"/>
              <a:gd name="connsiteX113" fmla="*/ 669131 w 1266825"/>
              <a:gd name="connsiteY113" fmla="*/ 469106 h 1533525"/>
              <a:gd name="connsiteX114" fmla="*/ 652462 w 1266825"/>
              <a:gd name="connsiteY114" fmla="*/ 450056 h 1533525"/>
              <a:gd name="connsiteX115" fmla="*/ 642937 w 1266825"/>
              <a:gd name="connsiteY115" fmla="*/ 411956 h 1533525"/>
              <a:gd name="connsiteX116" fmla="*/ 642937 w 1266825"/>
              <a:gd name="connsiteY116" fmla="*/ 330994 h 1533525"/>
              <a:gd name="connsiteX117" fmla="*/ 633412 w 1266825"/>
              <a:gd name="connsiteY117" fmla="*/ 319088 h 1533525"/>
              <a:gd name="connsiteX118" fmla="*/ 664368 w 1266825"/>
              <a:gd name="connsiteY118" fmla="*/ 285750 h 1533525"/>
              <a:gd name="connsiteX119" fmla="*/ 721518 w 1266825"/>
              <a:gd name="connsiteY119" fmla="*/ 292894 h 1533525"/>
              <a:gd name="connsiteX120" fmla="*/ 733425 w 1266825"/>
              <a:gd name="connsiteY120" fmla="*/ 264319 h 1533525"/>
              <a:gd name="connsiteX121" fmla="*/ 731043 w 1266825"/>
              <a:gd name="connsiteY121" fmla="*/ 228600 h 1533525"/>
              <a:gd name="connsiteX122" fmla="*/ 790575 w 1266825"/>
              <a:gd name="connsiteY122" fmla="*/ 192881 h 1533525"/>
              <a:gd name="connsiteX123" fmla="*/ 804862 w 1266825"/>
              <a:gd name="connsiteY123" fmla="*/ 166688 h 1533525"/>
              <a:gd name="connsiteX124" fmla="*/ 778668 w 1266825"/>
              <a:gd name="connsiteY124" fmla="*/ 128588 h 1533525"/>
              <a:gd name="connsiteX125" fmla="*/ 771525 w 1266825"/>
              <a:gd name="connsiteY125" fmla="*/ 104775 h 1533525"/>
              <a:gd name="connsiteX126" fmla="*/ 823912 w 1266825"/>
              <a:gd name="connsiteY126" fmla="*/ 97631 h 1533525"/>
              <a:gd name="connsiteX127" fmla="*/ 869156 w 1266825"/>
              <a:gd name="connsiteY127" fmla="*/ 52388 h 1533525"/>
              <a:gd name="connsiteX128" fmla="*/ 890587 w 1266825"/>
              <a:gd name="connsiteY128" fmla="*/ 23813 h 1533525"/>
              <a:gd name="connsiteX129" fmla="*/ 923925 w 1266825"/>
              <a:gd name="connsiteY129" fmla="*/ 9525 h 1533525"/>
              <a:gd name="connsiteX130" fmla="*/ 971550 w 1266825"/>
              <a:gd name="connsiteY130" fmla="*/ 0 h 1533525"/>
              <a:gd name="connsiteX131" fmla="*/ 971550 w 1266825"/>
              <a:gd name="connsiteY131" fmla="*/ 40481 h 1533525"/>
              <a:gd name="connsiteX132" fmla="*/ 950118 w 1266825"/>
              <a:gd name="connsiteY132" fmla="*/ 80963 h 1533525"/>
              <a:gd name="connsiteX133" fmla="*/ 950118 w 1266825"/>
              <a:gd name="connsiteY133" fmla="*/ 140494 h 1533525"/>
              <a:gd name="connsiteX134" fmla="*/ 969168 w 1266825"/>
              <a:gd name="connsiteY134" fmla="*/ 161925 h 1533525"/>
              <a:gd name="connsiteX135" fmla="*/ 1007268 w 1266825"/>
              <a:gd name="connsiteY135" fmla="*/ 188119 h 1533525"/>
              <a:gd name="connsiteX136" fmla="*/ 1019175 w 1266825"/>
              <a:gd name="connsiteY136" fmla="*/ 216694 h 1533525"/>
              <a:gd name="connsiteX137" fmla="*/ 1004887 w 1266825"/>
              <a:gd name="connsiteY137" fmla="*/ 226219 h 1533525"/>
              <a:gd name="connsiteX138" fmla="*/ 1057275 w 1266825"/>
              <a:gd name="connsiteY138" fmla="*/ 250031 h 1533525"/>
              <a:gd name="connsiteX139" fmla="*/ 1073943 w 1266825"/>
              <a:gd name="connsiteY139" fmla="*/ 228600 h 1533525"/>
              <a:gd name="connsiteX140" fmla="*/ 1083468 w 1266825"/>
              <a:gd name="connsiteY140" fmla="*/ 252413 h 1533525"/>
              <a:gd name="connsiteX141" fmla="*/ 1116806 w 1266825"/>
              <a:gd name="connsiteY141" fmla="*/ 252413 h 1533525"/>
              <a:gd name="connsiteX142" fmla="*/ 1123950 w 1266825"/>
              <a:gd name="connsiteY142" fmla="*/ 257175 h 1533525"/>
              <a:gd name="connsiteX143" fmla="*/ 1116806 w 1266825"/>
              <a:gd name="connsiteY143" fmla="*/ 276225 h 1533525"/>
              <a:gd name="connsiteX144" fmla="*/ 1088231 w 1266825"/>
              <a:gd name="connsiteY144" fmla="*/ 309563 h 1533525"/>
              <a:gd name="connsiteX145" fmla="*/ 1123950 w 1266825"/>
              <a:gd name="connsiteY145" fmla="*/ 333375 h 1533525"/>
              <a:gd name="connsiteX146" fmla="*/ 1135856 w 1266825"/>
              <a:gd name="connsiteY146" fmla="*/ 347663 h 1533525"/>
              <a:gd name="connsiteX147" fmla="*/ 1135856 w 1266825"/>
              <a:gd name="connsiteY147" fmla="*/ 376238 h 1533525"/>
              <a:gd name="connsiteX148" fmla="*/ 1119187 w 1266825"/>
              <a:gd name="connsiteY148" fmla="*/ 411956 h 1533525"/>
              <a:gd name="connsiteX149" fmla="*/ 1162050 w 1266825"/>
              <a:gd name="connsiteY149" fmla="*/ 423863 h 1533525"/>
              <a:gd name="connsiteX150" fmla="*/ 1233487 w 1266825"/>
              <a:gd name="connsiteY150" fmla="*/ 416719 h 1533525"/>
              <a:gd name="connsiteX151" fmla="*/ 1223962 w 1266825"/>
              <a:gd name="connsiteY151" fmla="*/ 385763 h 1533525"/>
              <a:gd name="connsiteX0" fmla="*/ 1057275 w 1266825"/>
              <a:gd name="connsiteY0" fmla="*/ 264319 h 1533525"/>
              <a:gd name="connsiteX1" fmla="*/ 1062037 w 1266825"/>
              <a:gd name="connsiteY1" fmla="*/ 304800 h 1533525"/>
              <a:gd name="connsiteX2" fmla="*/ 995362 w 1266825"/>
              <a:gd name="connsiteY2" fmla="*/ 352425 h 1533525"/>
              <a:gd name="connsiteX3" fmla="*/ 973931 w 1266825"/>
              <a:gd name="connsiteY3" fmla="*/ 383381 h 1533525"/>
              <a:gd name="connsiteX4" fmla="*/ 1000125 w 1266825"/>
              <a:gd name="connsiteY4" fmla="*/ 428625 h 1533525"/>
              <a:gd name="connsiteX5" fmla="*/ 983456 w 1266825"/>
              <a:gd name="connsiteY5" fmla="*/ 466725 h 1533525"/>
              <a:gd name="connsiteX6" fmla="*/ 1000125 w 1266825"/>
              <a:gd name="connsiteY6" fmla="*/ 519113 h 1533525"/>
              <a:gd name="connsiteX7" fmla="*/ 1033462 w 1266825"/>
              <a:gd name="connsiteY7" fmla="*/ 519113 h 1533525"/>
              <a:gd name="connsiteX8" fmla="*/ 1019175 w 1266825"/>
              <a:gd name="connsiteY8" fmla="*/ 552450 h 1533525"/>
              <a:gd name="connsiteX9" fmla="*/ 1035843 w 1266825"/>
              <a:gd name="connsiteY9" fmla="*/ 590550 h 1533525"/>
              <a:gd name="connsiteX10" fmla="*/ 1035843 w 1266825"/>
              <a:gd name="connsiteY10" fmla="*/ 607219 h 1533525"/>
              <a:gd name="connsiteX11" fmla="*/ 1045368 w 1266825"/>
              <a:gd name="connsiteY11" fmla="*/ 645319 h 1533525"/>
              <a:gd name="connsiteX12" fmla="*/ 1064418 w 1266825"/>
              <a:gd name="connsiteY12" fmla="*/ 645319 h 1533525"/>
              <a:gd name="connsiteX13" fmla="*/ 1078706 w 1266825"/>
              <a:gd name="connsiteY13" fmla="*/ 666750 h 1533525"/>
              <a:gd name="connsiteX14" fmla="*/ 1085850 w 1266825"/>
              <a:gd name="connsiteY14" fmla="*/ 688181 h 1533525"/>
              <a:gd name="connsiteX15" fmla="*/ 1076325 w 1266825"/>
              <a:gd name="connsiteY15" fmla="*/ 719138 h 1533525"/>
              <a:gd name="connsiteX16" fmla="*/ 1021556 w 1266825"/>
              <a:gd name="connsiteY16" fmla="*/ 714375 h 1533525"/>
              <a:gd name="connsiteX17" fmla="*/ 1002506 w 1266825"/>
              <a:gd name="connsiteY17" fmla="*/ 721519 h 1533525"/>
              <a:gd name="connsiteX18" fmla="*/ 995362 w 1266825"/>
              <a:gd name="connsiteY18" fmla="*/ 726281 h 1533525"/>
              <a:gd name="connsiteX19" fmla="*/ 995362 w 1266825"/>
              <a:gd name="connsiteY19" fmla="*/ 726281 h 1533525"/>
              <a:gd name="connsiteX20" fmla="*/ 923925 w 1266825"/>
              <a:gd name="connsiteY20" fmla="*/ 721519 h 1533525"/>
              <a:gd name="connsiteX21" fmla="*/ 940593 w 1266825"/>
              <a:gd name="connsiteY21" fmla="*/ 778669 h 1533525"/>
              <a:gd name="connsiteX22" fmla="*/ 938212 w 1266825"/>
              <a:gd name="connsiteY22" fmla="*/ 847725 h 1533525"/>
              <a:gd name="connsiteX23" fmla="*/ 954881 w 1266825"/>
              <a:gd name="connsiteY23" fmla="*/ 871538 h 1533525"/>
              <a:gd name="connsiteX24" fmla="*/ 997743 w 1266825"/>
              <a:gd name="connsiteY24" fmla="*/ 919163 h 1533525"/>
              <a:gd name="connsiteX25" fmla="*/ 1012031 w 1266825"/>
              <a:gd name="connsiteY25" fmla="*/ 954881 h 1533525"/>
              <a:gd name="connsiteX26" fmla="*/ 1031081 w 1266825"/>
              <a:gd name="connsiteY26" fmla="*/ 954881 h 1533525"/>
              <a:gd name="connsiteX27" fmla="*/ 1071562 w 1266825"/>
              <a:gd name="connsiteY27" fmla="*/ 940594 h 1533525"/>
              <a:gd name="connsiteX28" fmla="*/ 1102518 w 1266825"/>
              <a:gd name="connsiteY28" fmla="*/ 933450 h 1533525"/>
              <a:gd name="connsiteX29" fmla="*/ 1159668 w 1266825"/>
              <a:gd name="connsiteY29" fmla="*/ 997744 h 1533525"/>
              <a:gd name="connsiteX30" fmla="*/ 1178718 w 1266825"/>
              <a:gd name="connsiteY30" fmla="*/ 1052513 h 1533525"/>
              <a:gd name="connsiteX31" fmla="*/ 1190625 w 1266825"/>
              <a:gd name="connsiteY31" fmla="*/ 1081088 h 1533525"/>
              <a:gd name="connsiteX32" fmla="*/ 1212056 w 1266825"/>
              <a:gd name="connsiteY32" fmla="*/ 1109663 h 1533525"/>
              <a:gd name="connsiteX33" fmla="*/ 1231106 w 1266825"/>
              <a:gd name="connsiteY33" fmla="*/ 1102519 h 1533525"/>
              <a:gd name="connsiteX34" fmla="*/ 1231106 w 1266825"/>
              <a:gd name="connsiteY34" fmla="*/ 1131094 h 1533525"/>
              <a:gd name="connsiteX35" fmla="*/ 1233487 w 1266825"/>
              <a:gd name="connsiteY35" fmla="*/ 1145381 h 1533525"/>
              <a:gd name="connsiteX36" fmla="*/ 1266825 w 1266825"/>
              <a:gd name="connsiteY36" fmla="*/ 1181100 h 1533525"/>
              <a:gd name="connsiteX37" fmla="*/ 1233487 w 1266825"/>
              <a:gd name="connsiteY37" fmla="*/ 1181100 h 1533525"/>
              <a:gd name="connsiteX38" fmla="*/ 1228725 w 1266825"/>
              <a:gd name="connsiteY38" fmla="*/ 1223963 h 1533525"/>
              <a:gd name="connsiteX39" fmla="*/ 1226343 w 1266825"/>
              <a:gd name="connsiteY39" fmla="*/ 1243013 h 1533525"/>
              <a:gd name="connsiteX40" fmla="*/ 1216818 w 1266825"/>
              <a:gd name="connsiteY40" fmla="*/ 1264444 h 1533525"/>
              <a:gd name="connsiteX41" fmla="*/ 1190625 w 1266825"/>
              <a:gd name="connsiteY41" fmla="*/ 1238250 h 1533525"/>
              <a:gd name="connsiteX42" fmla="*/ 1157287 w 1266825"/>
              <a:gd name="connsiteY42" fmla="*/ 1209675 h 1533525"/>
              <a:gd name="connsiteX43" fmla="*/ 1131093 w 1266825"/>
              <a:gd name="connsiteY43" fmla="*/ 1185863 h 1533525"/>
              <a:gd name="connsiteX44" fmla="*/ 1107281 w 1266825"/>
              <a:gd name="connsiteY44" fmla="*/ 1219200 h 1533525"/>
              <a:gd name="connsiteX45" fmla="*/ 1104900 w 1266825"/>
              <a:gd name="connsiteY45" fmla="*/ 1264444 h 1533525"/>
              <a:gd name="connsiteX46" fmla="*/ 1062037 w 1266825"/>
              <a:gd name="connsiteY46" fmla="*/ 1259681 h 1533525"/>
              <a:gd name="connsiteX47" fmla="*/ 1026318 w 1266825"/>
              <a:gd name="connsiteY47" fmla="*/ 1288256 h 1533525"/>
              <a:gd name="connsiteX48" fmla="*/ 1007268 w 1266825"/>
              <a:gd name="connsiteY48" fmla="*/ 1240631 h 1533525"/>
              <a:gd name="connsiteX49" fmla="*/ 947737 w 1266825"/>
              <a:gd name="connsiteY49" fmla="*/ 1231106 h 1533525"/>
              <a:gd name="connsiteX50" fmla="*/ 921543 w 1266825"/>
              <a:gd name="connsiteY50" fmla="*/ 1297781 h 1533525"/>
              <a:gd name="connsiteX51" fmla="*/ 885825 w 1266825"/>
              <a:gd name="connsiteY51" fmla="*/ 1278731 h 1533525"/>
              <a:gd name="connsiteX52" fmla="*/ 816768 w 1266825"/>
              <a:gd name="connsiteY52" fmla="*/ 1295400 h 1533525"/>
              <a:gd name="connsiteX53" fmla="*/ 757237 w 1266825"/>
              <a:gd name="connsiteY53" fmla="*/ 1259681 h 1533525"/>
              <a:gd name="connsiteX54" fmla="*/ 742950 w 1266825"/>
              <a:gd name="connsiteY54" fmla="*/ 1312069 h 1533525"/>
              <a:gd name="connsiteX55" fmla="*/ 704850 w 1266825"/>
              <a:gd name="connsiteY55" fmla="*/ 1345406 h 1533525"/>
              <a:gd name="connsiteX56" fmla="*/ 692943 w 1266825"/>
              <a:gd name="connsiteY56" fmla="*/ 1366838 h 1533525"/>
              <a:gd name="connsiteX57" fmla="*/ 671512 w 1266825"/>
              <a:gd name="connsiteY57" fmla="*/ 1509713 h 1533525"/>
              <a:gd name="connsiteX58" fmla="*/ 633412 w 1266825"/>
              <a:gd name="connsiteY58" fmla="*/ 1490663 h 1533525"/>
              <a:gd name="connsiteX59" fmla="*/ 614362 w 1266825"/>
              <a:gd name="connsiteY59" fmla="*/ 1504950 h 1533525"/>
              <a:gd name="connsiteX60" fmla="*/ 581025 w 1266825"/>
              <a:gd name="connsiteY60" fmla="*/ 1531144 h 1533525"/>
              <a:gd name="connsiteX61" fmla="*/ 523875 w 1266825"/>
              <a:gd name="connsiteY61" fmla="*/ 1502569 h 1533525"/>
              <a:gd name="connsiteX62" fmla="*/ 514350 w 1266825"/>
              <a:gd name="connsiteY62" fmla="*/ 1490663 h 1533525"/>
              <a:gd name="connsiteX63" fmla="*/ 483393 w 1266825"/>
              <a:gd name="connsiteY63" fmla="*/ 1533525 h 1533525"/>
              <a:gd name="connsiteX64" fmla="*/ 459581 w 1266825"/>
              <a:gd name="connsiteY64" fmla="*/ 1481138 h 1533525"/>
              <a:gd name="connsiteX65" fmla="*/ 438150 w 1266825"/>
              <a:gd name="connsiteY65" fmla="*/ 1471613 h 1533525"/>
              <a:gd name="connsiteX66" fmla="*/ 400050 w 1266825"/>
              <a:gd name="connsiteY66" fmla="*/ 1485900 h 1533525"/>
              <a:gd name="connsiteX67" fmla="*/ 338137 w 1266825"/>
              <a:gd name="connsiteY67" fmla="*/ 1490663 h 1533525"/>
              <a:gd name="connsiteX68" fmla="*/ 330993 w 1266825"/>
              <a:gd name="connsiteY68" fmla="*/ 1497806 h 1533525"/>
              <a:gd name="connsiteX69" fmla="*/ 271462 w 1266825"/>
              <a:gd name="connsiteY69" fmla="*/ 1471613 h 1533525"/>
              <a:gd name="connsiteX70" fmla="*/ 219075 w 1266825"/>
              <a:gd name="connsiteY70" fmla="*/ 1443038 h 1533525"/>
              <a:gd name="connsiteX71" fmla="*/ 138112 w 1266825"/>
              <a:gd name="connsiteY71" fmla="*/ 1402556 h 1533525"/>
              <a:gd name="connsiteX72" fmla="*/ 95250 w 1266825"/>
              <a:gd name="connsiteY72" fmla="*/ 1316831 h 1533525"/>
              <a:gd name="connsiteX73" fmla="*/ 80962 w 1266825"/>
              <a:gd name="connsiteY73" fmla="*/ 1288256 h 1533525"/>
              <a:gd name="connsiteX74" fmla="*/ 104775 w 1266825"/>
              <a:gd name="connsiteY74" fmla="*/ 1266825 h 1533525"/>
              <a:gd name="connsiteX75" fmla="*/ 76200 w 1266825"/>
              <a:gd name="connsiteY75" fmla="*/ 1212056 h 1533525"/>
              <a:gd name="connsiteX76" fmla="*/ 109537 w 1266825"/>
              <a:gd name="connsiteY76" fmla="*/ 1193006 h 1533525"/>
              <a:gd name="connsiteX77" fmla="*/ 140493 w 1266825"/>
              <a:gd name="connsiteY77" fmla="*/ 1143000 h 1533525"/>
              <a:gd name="connsiteX78" fmla="*/ 123825 w 1266825"/>
              <a:gd name="connsiteY78" fmla="*/ 1107281 h 1533525"/>
              <a:gd name="connsiteX79" fmla="*/ 178593 w 1266825"/>
              <a:gd name="connsiteY79" fmla="*/ 1107281 h 1533525"/>
              <a:gd name="connsiteX80" fmla="*/ 192881 w 1266825"/>
              <a:gd name="connsiteY80" fmla="*/ 1109663 h 1533525"/>
              <a:gd name="connsiteX81" fmla="*/ 159543 w 1266825"/>
              <a:gd name="connsiteY81" fmla="*/ 1064419 h 1533525"/>
              <a:gd name="connsiteX82" fmla="*/ 169068 w 1266825"/>
              <a:gd name="connsiteY82" fmla="*/ 1014413 h 1533525"/>
              <a:gd name="connsiteX83" fmla="*/ 123825 w 1266825"/>
              <a:gd name="connsiteY83" fmla="*/ 997744 h 1533525"/>
              <a:gd name="connsiteX84" fmla="*/ 61912 w 1266825"/>
              <a:gd name="connsiteY84" fmla="*/ 954881 h 1533525"/>
              <a:gd name="connsiteX85" fmla="*/ 45243 w 1266825"/>
              <a:gd name="connsiteY85" fmla="*/ 938213 h 1533525"/>
              <a:gd name="connsiteX86" fmla="*/ 64293 w 1266825"/>
              <a:gd name="connsiteY86" fmla="*/ 909638 h 1533525"/>
              <a:gd name="connsiteX87" fmla="*/ 47625 w 1266825"/>
              <a:gd name="connsiteY87" fmla="*/ 897731 h 1533525"/>
              <a:gd name="connsiteX88" fmla="*/ 47625 w 1266825"/>
              <a:gd name="connsiteY88" fmla="*/ 881063 h 1533525"/>
              <a:gd name="connsiteX89" fmla="*/ 26193 w 1266825"/>
              <a:gd name="connsiteY89" fmla="*/ 881063 h 1533525"/>
              <a:gd name="connsiteX90" fmla="*/ 7143 w 1266825"/>
              <a:gd name="connsiteY90" fmla="*/ 847725 h 1533525"/>
              <a:gd name="connsiteX91" fmla="*/ 0 w 1266825"/>
              <a:gd name="connsiteY91" fmla="*/ 816769 h 1533525"/>
              <a:gd name="connsiteX92" fmla="*/ 54768 w 1266825"/>
              <a:gd name="connsiteY92" fmla="*/ 800100 h 1533525"/>
              <a:gd name="connsiteX93" fmla="*/ 76200 w 1266825"/>
              <a:gd name="connsiteY93" fmla="*/ 788194 h 1533525"/>
              <a:gd name="connsiteX94" fmla="*/ 128587 w 1266825"/>
              <a:gd name="connsiteY94" fmla="*/ 821531 h 1533525"/>
              <a:gd name="connsiteX95" fmla="*/ 126206 w 1266825"/>
              <a:gd name="connsiteY95" fmla="*/ 800100 h 1533525"/>
              <a:gd name="connsiteX96" fmla="*/ 164306 w 1266825"/>
              <a:gd name="connsiteY96" fmla="*/ 795338 h 1533525"/>
              <a:gd name="connsiteX97" fmla="*/ 173831 w 1266825"/>
              <a:gd name="connsiteY97" fmla="*/ 759619 h 1533525"/>
              <a:gd name="connsiteX98" fmla="*/ 235743 w 1266825"/>
              <a:gd name="connsiteY98" fmla="*/ 764381 h 1533525"/>
              <a:gd name="connsiteX99" fmla="*/ 235743 w 1266825"/>
              <a:gd name="connsiteY99" fmla="*/ 764381 h 1533525"/>
              <a:gd name="connsiteX100" fmla="*/ 245268 w 1266825"/>
              <a:gd name="connsiteY100" fmla="*/ 704850 h 1533525"/>
              <a:gd name="connsiteX101" fmla="*/ 276225 w 1266825"/>
              <a:gd name="connsiteY101" fmla="*/ 666750 h 1533525"/>
              <a:gd name="connsiteX102" fmla="*/ 292893 w 1266825"/>
              <a:gd name="connsiteY102" fmla="*/ 638175 h 1533525"/>
              <a:gd name="connsiteX103" fmla="*/ 245268 w 1266825"/>
              <a:gd name="connsiteY103" fmla="*/ 602456 h 1533525"/>
              <a:gd name="connsiteX104" fmla="*/ 264318 w 1266825"/>
              <a:gd name="connsiteY104" fmla="*/ 585788 h 1533525"/>
              <a:gd name="connsiteX105" fmla="*/ 311943 w 1266825"/>
              <a:gd name="connsiteY105" fmla="*/ 602456 h 1533525"/>
              <a:gd name="connsiteX106" fmla="*/ 369093 w 1266825"/>
              <a:gd name="connsiteY106" fmla="*/ 573881 h 1533525"/>
              <a:gd name="connsiteX107" fmla="*/ 457200 w 1266825"/>
              <a:gd name="connsiteY107" fmla="*/ 545306 h 1533525"/>
              <a:gd name="connsiteX108" fmla="*/ 538162 w 1266825"/>
              <a:gd name="connsiteY108" fmla="*/ 578644 h 1533525"/>
              <a:gd name="connsiteX109" fmla="*/ 614362 w 1266825"/>
              <a:gd name="connsiteY109" fmla="*/ 550069 h 1533525"/>
              <a:gd name="connsiteX110" fmla="*/ 650081 w 1266825"/>
              <a:gd name="connsiteY110" fmla="*/ 552450 h 1533525"/>
              <a:gd name="connsiteX111" fmla="*/ 654843 w 1266825"/>
              <a:gd name="connsiteY111" fmla="*/ 523875 h 1533525"/>
              <a:gd name="connsiteX112" fmla="*/ 654843 w 1266825"/>
              <a:gd name="connsiteY112" fmla="*/ 490538 h 1533525"/>
              <a:gd name="connsiteX113" fmla="*/ 669131 w 1266825"/>
              <a:gd name="connsiteY113" fmla="*/ 469106 h 1533525"/>
              <a:gd name="connsiteX114" fmla="*/ 652462 w 1266825"/>
              <a:gd name="connsiteY114" fmla="*/ 450056 h 1533525"/>
              <a:gd name="connsiteX115" fmla="*/ 642937 w 1266825"/>
              <a:gd name="connsiteY115" fmla="*/ 411956 h 1533525"/>
              <a:gd name="connsiteX116" fmla="*/ 642937 w 1266825"/>
              <a:gd name="connsiteY116" fmla="*/ 330994 h 1533525"/>
              <a:gd name="connsiteX117" fmla="*/ 633412 w 1266825"/>
              <a:gd name="connsiteY117" fmla="*/ 319088 h 1533525"/>
              <a:gd name="connsiteX118" fmla="*/ 664368 w 1266825"/>
              <a:gd name="connsiteY118" fmla="*/ 285750 h 1533525"/>
              <a:gd name="connsiteX119" fmla="*/ 721518 w 1266825"/>
              <a:gd name="connsiteY119" fmla="*/ 292894 h 1533525"/>
              <a:gd name="connsiteX120" fmla="*/ 733425 w 1266825"/>
              <a:gd name="connsiteY120" fmla="*/ 264319 h 1533525"/>
              <a:gd name="connsiteX121" fmla="*/ 731043 w 1266825"/>
              <a:gd name="connsiteY121" fmla="*/ 228600 h 1533525"/>
              <a:gd name="connsiteX122" fmla="*/ 790575 w 1266825"/>
              <a:gd name="connsiteY122" fmla="*/ 192881 h 1533525"/>
              <a:gd name="connsiteX123" fmla="*/ 804862 w 1266825"/>
              <a:gd name="connsiteY123" fmla="*/ 166688 h 1533525"/>
              <a:gd name="connsiteX124" fmla="*/ 778668 w 1266825"/>
              <a:gd name="connsiteY124" fmla="*/ 128588 h 1533525"/>
              <a:gd name="connsiteX125" fmla="*/ 771525 w 1266825"/>
              <a:gd name="connsiteY125" fmla="*/ 104775 h 1533525"/>
              <a:gd name="connsiteX126" fmla="*/ 823912 w 1266825"/>
              <a:gd name="connsiteY126" fmla="*/ 97631 h 1533525"/>
              <a:gd name="connsiteX127" fmla="*/ 869156 w 1266825"/>
              <a:gd name="connsiteY127" fmla="*/ 52388 h 1533525"/>
              <a:gd name="connsiteX128" fmla="*/ 890587 w 1266825"/>
              <a:gd name="connsiteY128" fmla="*/ 23813 h 1533525"/>
              <a:gd name="connsiteX129" fmla="*/ 923925 w 1266825"/>
              <a:gd name="connsiteY129" fmla="*/ 9525 h 1533525"/>
              <a:gd name="connsiteX130" fmla="*/ 971550 w 1266825"/>
              <a:gd name="connsiteY130" fmla="*/ 0 h 1533525"/>
              <a:gd name="connsiteX131" fmla="*/ 971550 w 1266825"/>
              <a:gd name="connsiteY131" fmla="*/ 40481 h 1533525"/>
              <a:gd name="connsiteX132" fmla="*/ 950118 w 1266825"/>
              <a:gd name="connsiteY132" fmla="*/ 80963 h 1533525"/>
              <a:gd name="connsiteX133" fmla="*/ 950118 w 1266825"/>
              <a:gd name="connsiteY133" fmla="*/ 140494 h 1533525"/>
              <a:gd name="connsiteX134" fmla="*/ 969168 w 1266825"/>
              <a:gd name="connsiteY134" fmla="*/ 161925 h 1533525"/>
              <a:gd name="connsiteX135" fmla="*/ 1007268 w 1266825"/>
              <a:gd name="connsiteY135" fmla="*/ 188119 h 1533525"/>
              <a:gd name="connsiteX136" fmla="*/ 1019175 w 1266825"/>
              <a:gd name="connsiteY136" fmla="*/ 216694 h 1533525"/>
              <a:gd name="connsiteX137" fmla="*/ 1004887 w 1266825"/>
              <a:gd name="connsiteY137" fmla="*/ 226219 h 1533525"/>
              <a:gd name="connsiteX138" fmla="*/ 1057275 w 1266825"/>
              <a:gd name="connsiteY138" fmla="*/ 250031 h 1533525"/>
              <a:gd name="connsiteX139" fmla="*/ 1073943 w 1266825"/>
              <a:gd name="connsiteY139" fmla="*/ 228600 h 1533525"/>
              <a:gd name="connsiteX140" fmla="*/ 1083468 w 1266825"/>
              <a:gd name="connsiteY140" fmla="*/ 252413 h 1533525"/>
              <a:gd name="connsiteX141" fmla="*/ 1116806 w 1266825"/>
              <a:gd name="connsiteY141" fmla="*/ 252413 h 1533525"/>
              <a:gd name="connsiteX142" fmla="*/ 1123950 w 1266825"/>
              <a:gd name="connsiteY142" fmla="*/ 257175 h 1533525"/>
              <a:gd name="connsiteX143" fmla="*/ 1116806 w 1266825"/>
              <a:gd name="connsiteY143" fmla="*/ 276225 h 1533525"/>
              <a:gd name="connsiteX144" fmla="*/ 1088231 w 1266825"/>
              <a:gd name="connsiteY144" fmla="*/ 309563 h 1533525"/>
              <a:gd name="connsiteX145" fmla="*/ 1123950 w 1266825"/>
              <a:gd name="connsiteY145" fmla="*/ 333375 h 1533525"/>
              <a:gd name="connsiteX146" fmla="*/ 1135856 w 1266825"/>
              <a:gd name="connsiteY146" fmla="*/ 347663 h 1533525"/>
              <a:gd name="connsiteX147" fmla="*/ 1135856 w 1266825"/>
              <a:gd name="connsiteY147" fmla="*/ 376238 h 1533525"/>
              <a:gd name="connsiteX148" fmla="*/ 1119187 w 1266825"/>
              <a:gd name="connsiteY148" fmla="*/ 411956 h 1533525"/>
              <a:gd name="connsiteX149" fmla="*/ 1162050 w 1266825"/>
              <a:gd name="connsiteY149" fmla="*/ 423863 h 1533525"/>
              <a:gd name="connsiteX150" fmla="*/ 1233487 w 1266825"/>
              <a:gd name="connsiteY150" fmla="*/ 416719 h 1533525"/>
              <a:gd name="connsiteX0" fmla="*/ 1057275 w 1266825"/>
              <a:gd name="connsiteY0" fmla="*/ 264319 h 1533525"/>
              <a:gd name="connsiteX1" fmla="*/ 1062037 w 1266825"/>
              <a:gd name="connsiteY1" fmla="*/ 304800 h 1533525"/>
              <a:gd name="connsiteX2" fmla="*/ 995362 w 1266825"/>
              <a:gd name="connsiteY2" fmla="*/ 352425 h 1533525"/>
              <a:gd name="connsiteX3" fmla="*/ 973931 w 1266825"/>
              <a:gd name="connsiteY3" fmla="*/ 383381 h 1533525"/>
              <a:gd name="connsiteX4" fmla="*/ 1000125 w 1266825"/>
              <a:gd name="connsiteY4" fmla="*/ 428625 h 1533525"/>
              <a:gd name="connsiteX5" fmla="*/ 983456 w 1266825"/>
              <a:gd name="connsiteY5" fmla="*/ 466725 h 1533525"/>
              <a:gd name="connsiteX6" fmla="*/ 1000125 w 1266825"/>
              <a:gd name="connsiteY6" fmla="*/ 519113 h 1533525"/>
              <a:gd name="connsiteX7" fmla="*/ 1033462 w 1266825"/>
              <a:gd name="connsiteY7" fmla="*/ 519113 h 1533525"/>
              <a:gd name="connsiteX8" fmla="*/ 1019175 w 1266825"/>
              <a:gd name="connsiteY8" fmla="*/ 552450 h 1533525"/>
              <a:gd name="connsiteX9" fmla="*/ 1035843 w 1266825"/>
              <a:gd name="connsiteY9" fmla="*/ 590550 h 1533525"/>
              <a:gd name="connsiteX10" fmla="*/ 1035843 w 1266825"/>
              <a:gd name="connsiteY10" fmla="*/ 607219 h 1533525"/>
              <a:gd name="connsiteX11" fmla="*/ 1045368 w 1266825"/>
              <a:gd name="connsiteY11" fmla="*/ 645319 h 1533525"/>
              <a:gd name="connsiteX12" fmla="*/ 1064418 w 1266825"/>
              <a:gd name="connsiteY12" fmla="*/ 645319 h 1533525"/>
              <a:gd name="connsiteX13" fmla="*/ 1078706 w 1266825"/>
              <a:gd name="connsiteY13" fmla="*/ 666750 h 1533525"/>
              <a:gd name="connsiteX14" fmla="*/ 1085850 w 1266825"/>
              <a:gd name="connsiteY14" fmla="*/ 688181 h 1533525"/>
              <a:gd name="connsiteX15" fmla="*/ 1076325 w 1266825"/>
              <a:gd name="connsiteY15" fmla="*/ 719138 h 1533525"/>
              <a:gd name="connsiteX16" fmla="*/ 1021556 w 1266825"/>
              <a:gd name="connsiteY16" fmla="*/ 714375 h 1533525"/>
              <a:gd name="connsiteX17" fmla="*/ 1002506 w 1266825"/>
              <a:gd name="connsiteY17" fmla="*/ 721519 h 1533525"/>
              <a:gd name="connsiteX18" fmla="*/ 995362 w 1266825"/>
              <a:gd name="connsiteY18" fmla="*/ 726281 h 1533525"/>
              <a:gd name="connsiteX19" fmla="*/ 995362 w 1266825"/>
              <a:gd name="connsiteY19" fmla="*/ 726281 h 1533525"/>
              <a:gd name="connsiteX20" fmla="*/ 923925 w 1266825"/>
              <a:gd name="connsiteY20" fmla="*/ 721519 h 1533525"/>
              <a:gd name="connsiteX21" fmla="*/ 940593 w 1266825"/>
              <a:gd name="connsiteY21" fmla="*/ 778669 h 1533525"/>
              <a:gd name="connsiteX22" fmla="*/ 938212 w 1266825"/>
              <a:gd name="connsiteY22" fmla="*/ 847725 h 1533525"/>
              <a:gd name="connsiteX23" fmla="*/ 954881 w 1266825"/>
              <a:gd name="connsiteY23" fmla="*/ 871538 h 1533525"/>
              <a:gd name="connsiteX24" fmla="*/ 997743 w 1266825"/>
              <a:gd name="connsiteY24" fmla="*/ 919163 h 1533525"/>
              <a:gd name="connsiteX25" fmla="*/ 1012031 w 1266825"/>
              <a:gd name="connsiteY25" fmla="*/ 954881 h 1533525"/>
              <a:gd name="connsiteX26" fmla="*/ 1031081 w 1266825"/>
              <a:gd name="connsiteY26" fmla="*/ 954881 h 1533525"/>
              <a:gd name="connsiteX27" fmla="*/ 1071562 w 1266825"/>
              <a:gd name="connsiteY27" fmla="*/ 940594 h 1533525"/>
              <a:gd name="connsiteX28" fmla="*/ 1102518 w 1266825"/>
              <a:gd name="connsiteY28" fmla="*/ 933450 h 1533525"/>
              <a:gd name="connsiteX29" fmla="*/ 1159668 w 1266825"/>
              <a:gd name="connsiteY29" fmla="*/ 997744 h 1533525"/>
              <a:gd name="connsiteX30" fmla="*/ 1178718 w 1266825"/>
              <a:gd name="connsiteY30" fmla="*/ 1052513 h 1533525"/>
              <a:gd name="connsiteX31" fmla="*/ 1190625 w 1266825"/>
              <a:gd name="connsiteY31" fmla="*/ 1081088 h 1533525"/>
              <a:gd name="connsiteX32" fmla="*/ 1212056 w 1266825"/>
              <a:gd name="connsiteY32" fmla="*/ 1109663 h 1533525"/>
              <a:gd name="connsiteX33" fmla="*/ 1231106 w 1266825"/>
              <a:gd name="connsiteY33" fmla="*/ 1102519 h 1533525"/>
              <a:gd name="connsiteX34" fmla="*/ 1231106 w 1266825"/>
              <a:gd name="connsiteY34" fmla="*/ 1131094 h 1533525"/>
              <a:gd name="connsiteX35" fmla="*/ 1233487 w 1266825"/>
              <a:gd name="connsiteY35" fmla="*/ 1145381 h 1533525"/>
              <a:gd name="connsiteX36" fmla="*/ 1266825 w 1266825"/>
              <a:gd name="connsiteY36" fmla="*/ 1181100 h 1533525"/>
              <a:gd name="connsiteX37" fmla="*/ 1233487 w 1266825"/>
              <a:gd name="connsiteY37" fmla="*/ 1181100 h 1533525"/>
              <a:gd name="connsiteX38" fmla="*/ 1228725 w 1266825"/>
              <a:gd name="connsiteY38" fmla="*/ 1223963 h 1533525"/>
              <a:gd name="connsiteX39" fmla="*/ 1226343 w 1266825"/>
              <a:gd name="connsiteY39" fmla="*/ 1243013 h 1533525"/>
              <a:gd name="connsiteX40" fmla="*/ 1216818 w 1266825"/>
              <a:gd name="connsiteY40" fmla="*/ 1264444 h 1533525"/>
              <a:gd name="connsiteX41" fmla="*/ 1190625 w 1266825"/>
              <a:gd name="connsiteY41" fmla="*/ 1238250 h 1533525"/>
              <a:gd name="connsiteX42" fmla="*/ 1157287 w 1266825"/>
              <a:gd name="connsiteY42" fmla="*/ 1209675 h 1533525"/>
              <a:gd name="connsiteX43" fmla="*/ 1131093 w 1266825"/>
              <a:gd name="connsiteY43" fmla="*/ 1185863 h 1533525"/>
              <a:gd name="connsiteX44" fmla="*/ 1107281 w 1266825"/>
              <a:gd name="connsiteY44" fmla="*/ 1219200 h 1533525"/>
              <a:gd name="connsiteX45" fmla="*/ 1104900 w 1266825"/>
              <a:gd name="connsiteY45" fmla="*/ 1264444 h 1533525"/>
              <a:gd name="connsiteX46" fmla="*/ 1062037 w 1266825"/>
              <a:gd name="connsiteY46" fmla="*/ 1259681 h 1533525"/>
              <a:gd name="connsiteX47" fmla="*/ 1026318 w 1266825"/>
              <a:gd name="connsiteY47" fmla="*/ 1288256 h 1533525"/>
              <a:gd name="connsiteX48" fmla="*/ 1007268 w 1266825"/>
              <a:gd name="connsiteY48" fmla="*/ 1240631 h 1533525"/>
              <a:gd name="connsiteX49" fmla="*/ 947737 w 1266825"/>
              <a:gd name="connsiteY49" fmla="*/ 1231106 h 1533525"/>
              <a:gd name="connsiteX50" fmla="*/ 921543 w 1266825"/>
              <a:gd name="connsiteY50" fmla="*/ 1297781 h 1533525"/>
              <a:gd name="connsiteX51" fmla="*/ 885825 w 1266825"/>
              <a:gd name="connsiteY51" fmla="*/ 1278731 h 1533525"/>
              <a:gd name="connsiteX52" fmla="*/ 816768 w 1266825"/>
              <a:gd name="connsiteY52" fmla="*/ 1295400 h 1533525"/>
              <a:gd name="connsiteX53" fmla="*/ 757237 w 1266825"/>
              <a:gd name="connsiteY53" fmla="*/ 1259681 h 1533525"/>
              <a:gd name="connsiteX54" fmla="*/ 742950 w 1266825"/>
              <a:gd name="connsiteY54" fmla="*/ 1312069 h 1533525"/>
              <a:gd name="connsiteX55" fmla="*/ 704850 w 1266825"/>
              <a:gd name="connsiteY55" fmla="*/ 1345406 h 1533525"/>
              <a:gd name="connsiteX56" fmla="*/ 692943 w 1266825"/>
              <a:gd name="connsiteY56" fmla="*/ 1366838 h 1533525"/>
              <a:gd name="connsiteX57" fmla="*/ 671512 w 1266825"/>
              <a:gd name="connsiteY57" fmla="*/ 1509713 h 1533525"/>
              <a:gd name="connsiteX58" fmla="*/ 633412 w 1266825"/>
              <a:gd name="connsiteY58" fmla="*/ 1490663 h 1533525"/>
              <a:gd name="connsiteX59" fmla="*/ 614362 w 1266825"/>
              <a:gd name="connsiteY59" fmla="*/ 1504950 h 1533525"/>
              <a:gd name="connsiteX60" fmla="*/ 581025 w 1266825"/>
              <a:gd name="connsiteY60" fmla="*/ 1531144 h 1533525"/>
              <a:gd name="connsiteX61" fmla="*/ 523875 w 1266825"/>
              <a:gd name="connsiteY61" fmla="*/ 1502569 h 1533525"/>
              <a:gd name="connsiteX62" fmla="*/ 514350 w 1266825"/>
              <a:gd name="connsiteY62" fmla="*/ 1490663 h 1533525"/>
              <a:gd name="connsiteX63" fmla="*/ 483393 w 1266825"/>
              <a:gd name="connsiteY63" fmla="*/ 1533525 h 1533525"/>
              <a:gd name="connsiteX64" fmla="*/ 459581 w 1266825"/>
              <a:gd name="connsiteY64" fmla="*/ 1481138 h 1533525"/>
              <a:gd name="connsiteX65" fmla="*/ 438150 w 1266825"/>
              <a:gd name="connsiteY65" fmla="*/ 1471613 h 1533525"/>
              <a:gd name="connsiteX66" fmla="*/ 400050 w 1266825"/>
              <a:gd name="connsiteY66" fmla="*/ 1485900 h 1533525"/>
              <a:gd name="connsiteX67" fmla="*/ 338137 w 1266825"/>
              <a:gd name="connsiteY67" fmla="*/ 1490663 h 1533525"/>
              <a:gd name="connsiteX68" fmla="*/ 330993 w 1266825"/>
              <a:gd name="connsiteY68" fmla="*/ 1497806 h 1533525"/>
              <a:gd name="connsiteX69" fmla="*/ 271462 w 1266825"/>
              <a:gd name="connsiteY69" fmla="*/ 1471613 h 1533525"/>
              <a:gd name="connsiteX70" fmla="*/ 219075 w 1266825"/>
              <a:gd name="connsiteY70" fmla="*/ 1443038 h 1533525"/>
              <a:gd name="connsiteX71" fmla="*/ 138112 w 1266825"/>
              <a:gd name="connsiteY71" fmla="*/ 1402556 h 1533525"/>
              <a:gd name="connsiteX72" fmla="*/ 95250 w 1266825"/>
              <a:gd name="connsiteY72" fmla="*/ 1316831 h 1533525"/>
              <a:gd name="connsiteX73" fmla="*/ 80962 w 1266825"/>
              <a:gd name="connsiteY73" fmla="*/ 1288256 h 1533525"/>
              <a:gd name="connsiteX74" fmla="*/ 104775 w 1266825"/>
              <a:gd name="connsiteY74" fmla="*/ 1266825 h 1533525"/>
              <a:gd name="connsiteX75" fmla="*/ 76200 w 1266825"/>
              <a:gd name="connsiteY75" fmla="*/ 1212056 h 1533525"/>
              <a:gd name="connsiteX76" fmla="*/ 109537 w 1266825"/>
              <a:gd name="connsiteY76" fmla="*/ 1193006 h 1533525"/>
              <a:gd name="connsiteX77" fmla="*/ 140493 w 1266825"/>
              <a:gd name="connsiteY77" fmla="*/ 1143000 h 1533525"/>
              <a:gd name="connsiteX78" fmla="*/ 123825 w 1266825"/>
              <a:gd name="connsiteY78" fmla="*/ 1107281 h 1533525"/>
              <a:gd name="connsiteX79" fmla="*/ 178593 w 1266825"/>
              <a:gd name="connsiteY79" fmla="*/ 1107281 h 1533525"/>
              <a:gd name="connsiteX80" fmla="*/ 192881 w 1266825"/>
              <a:gd name="connsiteY80" fmla="*/ 1109663 h 1533525"/>
              <a:gd name="connsiteX81" fmla="*/ 159543 w 1266825"/>
              <a:gd name="connsiteY81" fmla="*/ 1064419 h 1533525"/>
              <a:gd name="connsiteX82" fmla="*/ 169068 w 1266825"/>
              <a:gd name="connsiteY82" fmla="*/ 1014413 h 1533525"/>
              <a:gd name="connsiteX83" fmla="*/ 123825 w 1266825"/>
              <a:gd name="connsiteY83" fmla="*/ 997744 h 1533525"/>
              <a:gd name="connsiteX84" fmla="*/ 61912 w 1266825"/>
              <a:gd name="connsiteY84" fmla="*/ 954881 h 1533525"/>
              <a:gd name="connsiteX85" fmla="*/ 45243 w 1266825"/>
              <a:gd name="connsiteY85" fmla="*/ 938213 h 1533525"/>
              <a:gd name="connsiteX86" fmla="*/ 64293 w 1266825"/>
              <a:gd name="connsiteY86" fmla="*/ 909638 h 1533525"/>
              <a:gd name="connsiteX87" fmla="*/ 47625 w 1266825"/>
              <a:gd name="connsiteY87" fmla="*/ 897731 h 1533525"/>
              <a:gd name="connsiteX88" fmla="*/ 47625 w 1266825"/>
              <a:gd name="connsiteY88" fmla="*/ 881063 h 1533525"/>
              <a:gd name="connsiteX89" fmla="*/ 26193 w 1266825"/>
              <a:gd name="connsiteY89" fmla="*/ 881063 h 1533525"/>
              <a:gd name="connsiteX90" fmla="*/ 7143 w 1266825"/>
              <a:gd name="connsiteY90" fmla="*/ 847725 h 1533525"/>
              <a:gd name="connsiteX91" fmla="*/ 0 w 1266825"/>
              <a:gd name="connsiteY91" fmla="*/ 816769 h 1533525"/>
              <a:gd name="connsiteX92" fmla="*/ 54768 w 1266825"/>
              <a:gd name="connsiteY92" fmla="*/ 800100 h 1533525"/>
              <a:gd name="connsiteX93" fmla="*/ 76200 w 1266825"/>
              <a:gd name="connsiteY93" fmla="*/ 788194 h 1533525"/>
              <a:gd name="connsiteX94" fmla="*/ 128587 w 1266825"/>
              <a:gd name="connsiteY94" fmla="*/ 821531 h 1533525"/>
              <a:gd name="connsiteX95" fmla="*/ 126206 w 1266825"/>
              <a:gd name="connsiteY95" fmla="*/ 800100 h 1533525"/>
              <a:gd name="connsiteX96" fmla="*/ 164306 w 1266825"/>
              <a:gd name="connsiteY96" fmla="*/ 795338 h 1533525"/>
              <a:gd name="connsiteX97" fmla="*/ 173831 w 1266825"/>
              <a:gd name="connsiteY97" fmla="*/ 759619 h 1533525"/>
              <a:gd name="connsiteX98" fmla="*/ 235743 w 1266825"/>
              <a:gd name="connsiteY98" fmla="*/ 764381 h 1533525"/>
              <a:gd name="connsiteX99" fmla="*/ 235743 w 1266825"/>
              <a:gd name="connsiteY99" fmla="*/ 764381 h 1533525"/>
              <a:gd name="connsiteX100" fmla="*/ 245268 w 1266825"/>
              <a:gd name="connsiteY100" fmla="*/ 704850 h 1533525"/>
              <a:gd name="connsiteX101" fmla="*/ 276225 w 1266825"/>
              <a:gd name="connsiteY101" fmla="*/ 666750 h 1533525"/>
              <a:gd name="connsiteX102" fmla="*/ 292893 w 1266825"/>
              <a:gd name="connsiteY102" fmla="*/ 638175 h 1533525"/>
              <a:gd name="connsiteX103" fmla="*/ 245268 w 1266825"/>
              <a:gd name="connsiteY103" fmla="*/ 602456 h 1533525"/>
              <a:gd name="connsiteX104" fmla="*/ 264318 w 1266825"/>
              <a:gd name="connsiteY104" fmla="*/ 585788 h 1533525"/>
              <a:gd name="connsiteX105" fmla="*/ 311943 w 1266825"/>
              <a:gd name="connsiteY105" fmla="*/ 602456 h 1533525"/>
              <a:gd name="connsiteX106" fmla="*/ 369093 w 1266825"/>
              <a:gd name="connsiteY106" fmla="*/ 573881 h 1533525"/>
              <a:gd name="connsiteX107" fmla="*/ 457200 w 1266825"/>
              <a:gd name="connsiteY107" fmla="*/ 545306 h 1533525"/>
              <a:gd name="connsiteX108" fmla="*/ 538162 w 1266825"/>
              <a:gd name="connsiteY108" fmla="*/ 578644 h 1533525"/>
              <a:gd name="connsiteX109" fmla="*/ 614362 w 1266825"/>
              <a:gd name="connsiteY109" fmla="*/ 550069 h 1533525"/>
              <a:gd name="connsiteX110" fmla="*/ 650081 w 1266825"/>
              <a:gd name="connsiteY110" fmla="*/ 552450 h 1533525"/>
              <a:gd name="connsiteX111" fmla="*/ 654843 w 1266825"/>
              <a:gd name="connsiteY111" fmla="*/ 523875 h 1533525"/>
              <a:gd name="connsiteX112" fmla="*/ 654843 w 1266825"/>
              <a:gd name="connsiteY112" fmla="*/ 490538 h 1533525"/>
              <a:gd name="connsiteX113" fmla="*/ 669131 w 1266825"/>
              <a:gd name="connsiteY113" fmla="*/ 469106 h 1533525"/>
              <a:gd name="connsiteX114" fmla="*/ 652462 w 1266825"/>
              <a:gd name="connsiteY114" fmla="*/ 450056 h 1533525"/>
              <a:gd name="connsiteX115" fmla="*/ 642937 w 1266825"/>
              <a:gd name="connsiteY115" fmla="*/ 411956 h 1533525"/>
              <a:gd name="connsiteX116" fmla="*/ 642937 w 1266825"/>
              <a:gd name="connsiteY116" fmla="*/ 330994 h 1533525"/>
              <a:gd name="connsiteX117" fmla="*/ 633412 w 1266825"/>
              <a:gd name="connsiteY117" fmla="*/ 319088 h 1533525"/>
              <a:gd name="connsiteX118" fmla="*/ 664368 w 1266825"/>
              <a:gd name="connsiteY118" fmla="*/ 285750 h 1533525"/>
              <a:gd name="connsiteX119" fmla="*/ 721518 w 1266825"/>
              <a:gd name="connsiteY119" fmla="*/ 292894 h 1533525"/>
              <a:gd name="connsiteX120" fmla="*/ 733425 w 1266825"/>
              <a:gd name="connsiteY120" fmla="*/ 264319 h 1533525"/>
              <a:gd name="connsiteX121" fmla="*/ 731043 w 1266825"/>
              <a:gd name="connsiteY121" fmla="*/ 228600 h 1533525"/>
              <a:gd name="connsiteX122" fmla="*/ 790575 w 1266825"/>
              <a:gd name="connsiteY122" fmla="*/ 192881 h 1533525"/>
              <a:gd name="connsiteX123" fmla="*/ 804862 w 1266825"/>
              <a:gd name="connsiteY123" fmla="*/ 166688 h 1533525"/>
              <a:gd name="connsiteX124" fmla="*/ 778668 w 1266825"/>
              <a:gd name="connsiteY124" fmla="*/ 128588 h 1533525"/>
              <a:gd name="connsiteX125" fmla="*/ 771525 w 1266825"/>
              <a:gd name="connsiteY125" fmla="*/ 104775 h 1533525"/>
              <a:gd name="connsiteX126" fmla="*/ 823912 w 1266825"/>
              <a:gd name="connsiteY126" fmla="*/ 97631 h 1533525"/>
              <a:gd name="connsiteX127" fmla="*/ 869156 w 1266825"/>
              <a:gd name="connsiteY127" fmla="*/ 52388 h 1533525"/>
              <a:gd name="connsiteX128" fmla="*/ 890587 w 1266825"/>
              <a:gd name="connsiteY128" fmla="*/ 23813 h 1533525"/>
              <a:gd name="connsiteX129" fmla="*/ 923925 w 1266825"/>
              <a:gd name="connsiteY129" fmla="*/ 9525 h 1533525"/>
              <a:gd name="connsiteX130" fmla="*/ 971550 w 1266825"/>
              <a:gd name="connsiteY130" fmla="*/ 0 h 1533525"/>
              <a:gd name="connsiteX131" fmla="*/ 971550 w 1266825"/>
              <a:gd name="connsiteY131" fmla="*/ 40481 h 1533525"/>
              <a:gd name="connsiteX132" fmla="*/ 950118 w 1266825"/>
              <a:gd name="connsiteY132" fmla="*/ 80963 h 1533525"/>
              <a:gd name="connsiteX133" fmla="*/ 950118 w 1266825"/>
              <a:gd name="connsiteY133" fmla="*/ 140494 h 1533525"/>
              <a:gd name="connsiteX134" fmla="*/ 969168 w 1266825"/>
              <a:gd name="connsiteY134" fmla="*/ 161925 h 1533525"/>
              <a:gd name="connsiteX135" fmla="*/ 1007268 w 1266825"/>
              <a:gd name="connsiteY135" fmla="*/ 188119 h 1533525"/>
              <a:gd name="connsiteX136" fmla="*/ 1019175 w 1266825"/>
              <a:gd name="connsiteY136" fmla="*/ 216694 h 1533525"/>
              <a:gd name="connsiteX137" fmla="*/ 1004887 w 1266825"/>
              <a:gd name="connsiteY137" fmla="*/ 226219 h 1533525"/>
              <a:gd name="connsiteX138" fmla="*/ 1057275 w 1266825"/>
              <a:gd name="connsiteY138" fmla="*/ 250031 h 1533525"/>
              <a:gd name="connsiteX139" fmla="*/ 1073943 w 1266825"/>
              <a:gd name="connsiteY139" fmla="*/ 228600 h 1533525"/>
              <a:gd name="connsiteX140" fmla="*/ 1083468 w 1266825"/>
              <a:gd name="connsiteY140" fmla="*/ 252413 h 1533525"/>
              <a:gd name="connsiteX141" fmla="*/ 1116806 w 1266825"/>
              <a:gd name="connsiteY141" fmla="*/ 252413 h 1533525"/>
              <a:gd name="connsiteX142" fmla="*/ 1123950 w 1266825"/>
              <a:gd name="connsiteY142" fmla="*/ 257175 h 1533525"/>
              <a:gd name="connsiteX143" fmla="*/ 1116806 w 1266825"/>
              <a:gd name="connsiteY143" fmla="*/ 276225 h 1533525"/>
              <a:gd name="connsiteX144" fmla="*/ 1088231 w 1266825"/>
              <a:gd name="connsiteY144" fmla="*/ 309563 h 1533525"/>
              <a:gd name="connsiteX145" fmla="*/ 1123950 w 1266825"/>
              <a:gd name="connsiteY145" fmla="*/ 333375 h 1533525"/>
              <a:gd name="connsiteX146" fmla="*/ 1135856 w 1266825"/>
              <a:gd name="connsiteY146" fmla="*/ 347663 h 1533525"/>
              <a:gd name="connsiteX147" fmla="*/ 1135856 w 1266825"/>
              <a:gd name="connsiteY147" fmla="*/ 376238 h 1533525"/>
              <a:gd name="connsiteX148" fmla="*/ 1119187 w 1266825"/>
              <a:gd name="connsiteY148" fmla="*/ 411956 h 1533525"/>
              <a:gd name="connsiteX149" fmla="*/ 1162050 w 1266825"/>
              <a:gd name="connsiteY149" fmla="*/ 423863 h 1533525"/>
              <a:gd name="connsiteX0" fmla="*/ 1057275 w 1266825"/>
              <a:gd name="connsiteY0" fmla="*/ 264319 h 1533525"/>
              <a:gd name="connsiteX1" fmla="*/ 1062037 w 1266825"/>
              <a:gd name="connsiteY1" fmla="*/ 304800 h 1533525"/>
              <a:gd name="connsiteX2" fmla="*/ 995362 w 1266825"/>
              <a:gd name="connsiteY2" fmla="*/ 352425 h 1533525"/>
              <a:gd name="connsiteX3" fmla="*/ 973931 w 1266825"/>
              <a:gd name="connsiteY3" fmla="*/ 383381 h 1533525"/>
              <a:gd name="connsiteX4" fmla="*/ 1000125 w 1266825"/>
              <a:gd name="connsiteY4" fmla="*/ 428625 h 1533525"/>
              <a:gd name="connsiteX5" fmla="*/ 983456 w 1266825"/>
              <a:gd name="connsiteY5" fmla="*/ 466725 h 1533525"/>
              <a:gd name="connsiteX6" fmla="*/ 1000125 w 1266825"/>
              <a:gd name="connsiteY6" fmla="*/ 519113 h 1533525"/>
              <a:gd name="connsiteX7" fmla="*/ 1033462 w 1266825"/>
              <a:gd name="connsiteY7" fmla="*/ 519113 h 1533525"/>
              <a:gd name="connsiteX8" fmla="*/ 1019175 w 1266825"/>
              <a:gd name="connsiteY8" fmla="*/ 552450 h 1533525"/>
              <a:gd name="connsiteX9" fmla="*/ 1035843 w 1266825"/>
              <a:gd name="connsiteY9" fmla="*/ 590550 h 1533525"/>
              <a:gd name="connsiteX10" fmla="*/ 1035843 w 1266825"/>
              <a:gd name="connsiteY10" fmla="*/ 607219 h 1533525"/>
              <a:gd name="connsiteX11" fmla="*/ 1045368 w 1266825"/>
              <a:gd name="connsiteY11" fmla="*/ 645319 h 1533525"/>
              <a:gd name="connsiteX12" fmla="*/ 1064418 w 1266825"/>
              <a:gd name="connsiteY12" fmla="*/ 645319 h 1533525"/>
              <a:gd name="connsiteX13" fmla="*/ 1078706 w 1266825"/>
              <a:gd name="connsiteY13" fmla="*/ 666750 h 1533525"/>
              <a:gd name="connsiteX14" fmla="*/ 1085850 w 1266825"/>
              <a:gd name="connsiteY14" fmla="*/ 688181 h 1533525"/>
              <a:gd name="connsiteX15" fmla="*/ 1076325 w 1266825"/>
              <a:gd name="connsiteY15" fmla="*/ 719138 h 1533525"/>
              <a:gd name="connsiteX16" fmla="*/ 1021556 w 1266825"/>
              <a:gd name="connsiteY16" fmla="*/ 714375 h 1533525"/>
              <a:gd name="connsiteX17" fmla="*/ 1002506 w 1266825"/>
              <a:gd name="connsiteY17" fmla="*/ 721519 h 1533525"/>
              <a:gd name="connsiteX18" fmla="*/ 995362 w 1266825"/>
              <a:gd name="connsiteY18" fmla="*/ 726281 h 1533525"/>
              <a:gd name="connsiteX19" fmla="*/ 995362 w 1266825"/>
              <a:gd name="connsiteY19" fmla="*/ 726281 h 1533525"/>
              <a:gd name="connsiteX20" fmla="*/ 923925 w 1266825"/>
              <a:gd name="connsiteY20" fmla="*/ 721519 h 1533525"/>
              <a:gd name="connsiteX21" fmla="*/ 940593 w 1266825"/>
              <a:gd name="connsiteY21" fmla="*/ 778669 h 1533525"/>
              <a:gd name="connsiteX22" fmla="*/ 938212 w 1266825"/>
              <a:gd name="connsiteY22" fmla="*/ 847725 h 1533525"/>
              <a:gd name="connsiteX23" fmla="*/ 954881 w 1266825"/>
              <a:gd name="connsiteY23" fmla="*/ 871538 h 1533525"/>
              <a:gd name="connsiteX24" fmla="*/ 997743 w 1266825"/>
              <a:gd name="connsiteY24" fmla="*/ 919163 h 1533525"/>
              <a:gd name="connsiteX25" fmla="*/ 1012031 w 1266825"/>
              <a:gd name="connsiteY25" fmla="*/ 954881 h 1533525"/>
              <a:gd name="connsiteX26" fmla="*/ 1031081 w 1266825"/>
              <a:gd name="connsiteY26" fmla="*/ 954881 h 1533525"/>
              <a:gd name="connsiteX27" fmla="*/ 1071562 w 1266825"/>
              <a:gd name="connsiteY27" fmla="*/ 940594 h 1533525"/>
              <a:gd name="connsiteX28" fmla="*/ 1102518 w 1266825"/>
              <a:gd name="connsiteY28" fmla="*/ 933450 h 1533525"/>
              <a:gd name="connsiteX29" fmla="*/ 1159668 w 1266825"/>
              <a:gd name="connsiteY29" fmla="*/ 997744 h 1533525"/>
              <a:gd name="connsiteX30" fmla="*/ 1178718 w 1266825"/>
              <a:gd name="connsiteY30" fmla="*/ 1052513 h 1533525"/>
              <a:gd name="connsiteX31" fmla="*/ 1190625 w 1266825"/>
              <a:gd name="connsiteY31" fmla="*/ 1081088 h 1533525"/>
              <a:gd name="connsiteX32" fmla="*/ 1212056 w 1266825"/>
              <a:gd name="connsiteY32" fmla="*/ 1109663 h 1533525"/>
              <a:gd name="connsiteX33" fmla="*/ 1231106 w 1266825"/>
              <a:gd name="connsiteY33" fmla="*/ 1102519 h 1533525"/>
              <a:gd name="connsiteX34" fmla="*/ 1231106 w 1266825"/>
              <a:gd name="connsiteY34" fmla="*/ 1131094 h 1533525"/>
              <a:gd name="connsiteX35" fmla="*/ 1233487 w 1266825"/>
              <a:gd name="connsiteY35" fmla="*/ 1145381 h 1533525"/>
              <a:gd name="connsiteX36" fmla="*/ 1266825 w 1266825"/>
              <a:gd name="connsiteY36" fmla="*/ 1181100 h 1533525"/>
              <a:gd name="connsiteX37" fmla="*/ 1233487 w 1266825"/>
              <a:gd name="connsiteY37" fmla="*/ 1181100 h 1533525"/>
              <a:gd name="connsiteX38" fmla="*/ 1228725 w 1266825"/>
              <a:gd name="connsiteY38" fmla="*/ 1223963 h 1533525"/>
              <a:gd name="connsiteX39" fmla="*/ 1226343 w 1266825"/>
              <a:gd name="connsiteY39" fmla="*/ 1243013 h 1533525"/>
              <a:gd name="connsiteX40" fmla="*/ 1216818 w 1266825"/>
              <a:gd name="connsiteY40" fmla="*/ 1264444 h 1533525"/>
              <a:gd name="connsiteX41" fmla="*/ 1190625 w 1266825"/>
              <a:gd name="connsiteY41" fmla="*/ 1238250 h 1533525"/>
              <a:gd name="connsiteX42" fmla="*/ 1157287 w 1266825"/>
              <a:gd name="connsiteY42" fmla="*/ 1209675 h 1533525"/>
              <a:gd name="connsiteX43" fmla="*/ 1131093 w 1266825"/>
              <a:gd name="connsiteY43" fmla="*/ 1185863 h 1533525"/>
              <a:gd name="connsiteX44" fmla="*/ 1107281 w 1266825"/>
              <a:gd name="connsiteY44" fmla="*/ 1219200 h 1533525"/>
              <a:gd name="connsiteX45" fmla="*/ 1104900 w 1266825"/>
              <a:gd name="connsiteY45" fmla="*/ 1264444 h 1533525"/>
              <a:gd name="connsiteX46" fmla="*/ 1062037 w 1266825"/>
              <a:gd name="connsiteY46" fmla="*/ 1259681 h 1533525"/>
              <a:gd name="connsiteX47" fmla="*/ 1026318 w 1266825"/>
              <a:gd name="connsiteY47" fmla="*/ 1288256 h 1533525"/>
              <a:gd name="connsiteX48" fmla="*/ 1007268 w 1266825"/>
              <a:gd name="connsiteY48" fmla="*/ 1240631 h 1533525"/>
              <a:gd name="connsiteX49" fmla="*/ 947737 w 1266825"/>
              <a:gd name="connsiteY49" fmla="*/ 1231106 h 1533525"/>
              <a:gd name="connsiteX50" fmla="*/ 921543 w 1266825"/>
              <a:gd name="connsiteY50" fmla="*/ 1297781 h 1533525"/>
              <a:gd name="connsiteX51" fmla="*/ 885825 w 1266825"/>
              <a:gd name="connsiteY51" fmla="*/ 1278731 h 1533525"/>
              <a:gd name="connsiteX52" fmla="*/ 816768 w 1266825"/>
              <a:gd name="connsiteY52" fmla="*/ 1295400 h 1533525"/>
              <a:gd name="connsiteX53" fmla="*/ 757237 w 1266825"/>
              <a:gd name="connsiteY53" fmla="*/ 1259681 h 1533525"/>
              <a:gd name="connsiteX54" fmla="*/ 742950 w 1266825"/>
              <a:gd name="connsiteY54" fmla="*/ 1312069 h 1533525"/>
              <a:gd name="connsiteX55" fmla="*/ 704850 w 1266825"/>
              <a:gd name="connsiteY55" fmla="*/ 1345406 h 1533525"/>
              <a:gd name="connsiteX56" fmla="*/ 692943 w 1266825"/>
              <a:gd name="connsiteY56" fmla="*/ 1366838 h 1533525"/>
              <a:gd name="connsiteX57" fmla="*/ 671512 w 1266825"/>
              <a:gd name="connsiteY57" fmla="*/ 1509713 h 1533525"/>
              <a:gd name="connsiteX58" fmla="*/ 633412 w 1266825"/>
              <a:gd name="connsiteY58" fmla="*/ 1490663 h 1533525"/>
              <a:gd name="connsiteX59" fmla="*/ 614362 w 1266825"/>
              <a:gd name="connsiteY59" fmla="*/ 1504950 h 1533525"/>
              <a:gd name="connsiteX60" fmla="*/ 581025 w 1266825"/>
              <a:gd name="connsiteY60" fmla="*/ 1531144 h 1533525"/>
              <a:gd name="connsiteX61" fmla="*/ 523875 w 1266825"/>
              <a:gd name="connsiteY61" fmla="*/ 1502569 h 1533525"/>
              <a:gd name="connsiteX62" fmla="*/ 514350 w 1266825"/>
              <a:gd name="connsiteY62" fmla="*/ 1490663 h 1533525"/>
              <a:gd name="connsiteX63" fmla="*/ 483393 w 1266825"/>
              <a:gd name="connsiteY63" fmla="*/ 1533525 h 1533525"/>
              <a:gd name="connsiteX64" fmla="*/ 459581 w 1266825"/>
              <a:gd name="connsiteY64" fmla="*/ 1481138 h 1533525"/>
              <a:gd name="connsiteX65" fmla="*/ 438150 w 1266825"/>
              <a:gd name="connsiteY65" fmla="*/ 1471613 h 1533525"/>
              <a:gd name="connsiteX66" fmla="*/ 400050 w 1266825"/>
              <a:gd name="connsiteY66" fmla="*/ 1485900 h 1533525"/>
              <a:gd name="connsiteX67" fmla="*/ 338137 w 1266825"/>
              <a:gd name="connsiteY67" fmla="*/ 1490663 h 1533525"/>
              <a:gd name="connsiteX68" fmla="*/ 330993 w 1266825"/>
              <a:gd name="connsiteY68" fmla="*/ 1497806 h 1533525"/>
              <a:gd name="connsiteX69" fmla="*/ 271462 w 1266825"/>
              <a:gd name="connsiteY69" fmla="*/ 1471613 h 1533525"/>
              <a:gd name="connsiteX70" fmla="*/ 219075 w 1266825"/>
              <a:gd name="connsiteY70" fmla="*/ 1443038 h 1533525"/>
              <a:gd name="connsiteX71" fmla="*/ 138112 w 1266825"/>
              <a:gd name="connsiteY71" fmla="*/ 1402556 h 1533525"/>
              <a:gd name="connsiteX72" fmla="*/ 95250 w 1266825"/>
              <a:gd name="connsiteY72" fmla="*/ 1316831 h 1533525"/>
              <a:gd name="connsiteX73" fmla="*/ 80962 w 1266825"/>
              <a:gd name="connsiteY73" fmla="*/ 1288256 h 1533525"/>
              <a:gd name="connsiteX74" fmla="*/ 104775 w 1266825"/>
              <a:gd name="connsiteY74" fmla="*/ 1266825 h 1533525"/>
              <a:gd name="connsiteX75" fmla="*/ 76200 w 1266825"/>
              <a:gd name="connsiteY75" fmla="*/ 1212056 h 1533525"/>
              <a:gd name="connsiteX76" fmla="*/ 109537 w 1266825"/>
              <a:gd name="connsiteY76" fmla="*/ 1193006 h 1533525"/>
              <a:gd name="connsiteX77" fmla="*/ 140493 w 1266825"/>
              <a:gd name="connsiteY77" fmla="*/ 1143000 h 1533525"/>
              <a:gd name="connsiteX78" fmla="*/ 123825 w 1266825"/>
              <a:gd name="connsiteY78" fmla="*/ 1107281 h 1533525"/>
              <a:gd name="connsiteX79" fmla="*/ 178593 w 1266825"/>
              <a:gd name="connsiteY79" fmla="*/ 1107281 h 1533525"/>
              <a:gd name="connsiteX80" fmla="*/ 192881 w 1266825"/>
              <a:gd name="connsiteY80" fmla="*/ 1109663 h 1533525"/>
              <a:gd name="connsiteX81" fmla="*/ 159543 w 1266825"/>
              <a:gd name="connsiteY81" fmla="*/ 1064419 h 1533525"/>
              <a:gd name="connsiteX82" fmla="*/ 169068 w 1266825"/>
              <a:gd name="connsiteY82" fmla="*/ 1014413 h 1533525"/>
              <a:gd name="connsiteX83" fmla="*/ 123825 w 1266825"/>
              <a:gd name="connsiteY83" fmla="*/ 997744 h 1533525"/>
              <a:gd name="connsiteX84" fmla="*/ 61912 w 1266825"/>
              <a:gd name="connsiteY84" fmla="*/ 954881 h 1533525"/>
              <a:gd name="connsiteX85" fmla="*/ 45243 w 1266825"/>
              <a:gd name="connsiteY85" fmla="*/ 938213 h 1533525"/>
              <a:gd name="connsiteX86" fmla="*/ 64293 w 1266825"/>
              <a:gd name="connsiteY86" fmla="*/ 909638 h 1533525"/>
              <a:gd name="connsiteX87" fmla="*/ 47625 w 1266825"/>
              <a:gd name="connsiteY87" fmla="*/ 897731 h 1533525"/>
              <a:gd name="connsiteX88" fmla="*/ 47625 w 1266825"/>
              <a:gd name="connsiteY88" fmla="*/ 881063 h 1533525"/>
              <a:gd name="connsiteX89" fmla="*/ 26193 w 1266825"/>
              <a:gd name="connsiteY89" fmla="*/ 881063 h 1533525"/>
              <a:gd name="connsiteX90" fmla="*/ 7143 w 1266825"/>
              <a:gd name="connsiteY90" fmla="*/ 847725 h 1533525"/>
              <a:gd name="connsiteX91" fmla="*/ 0 w 1266825"/>
              <a:gd name="connsiteY91" fmla="*/ 816769 h 1533525"/>
              <a:gd name="connsiteX92" fmla="*/ 54768 w 1266825"/>
              <a:gd name="connsiteY92" fmla="*/ 800100 h 1533525"/>
              <a:gd name="connsiteX93" fmla="*/ 76200 w 1266825"/>
              <a:gd name="connsiteY93" fmla="*/ 788194 h 1533525"/>
              <a:gd name="connsiteX94" fmla="*/ 128587 w 1266825"/>
              <a:gd name="connsiteY94" fmla="*/ 821531 h 1533525"/>
              <a:gd name="connsiteX95" fmla="*/ 126206 w 1266825"/>
              <a:gd name="connsiteY95" fmla="*/ 800100 h 1533525"/>
              <a:gd name="connsiteX96" fmla="*/ 164306 w 1266825"/>
              <a:gd name="connsiteY96" fmla="*/ 795338 h 1533525"/>
              <a:gd name="connsiteX97" fmla="*/ 173831 w 1266825"/>
              <a:gd name="connsiteY97" fmla="*/ 759619 h 1533525"/>
              <a:gd name="connsiteX98" fmla="*/ 235743 w 1266825"/>
              <a:gd name="connsiteY98" fmla="*/ 764381 h 1533525"/>
              <a:gd name="connsiteX99" fmla="*/ 235743 w 1266825"/>
              <a:gd name="connsiteY99" fmla="*/ 764381 h 1533525"/>
              <a:gd name="connsiteX100" fmla="*/ 245268 w 1266825"/>
              <a:gd name="connsiteY100" fmla="*/ 704850 h 1533525"/>
              <a:gd name="connsiteX101" fmla="*/ 276225 w 1266825"/>
              <a:gd name="connsiteY101" fmla="*/ 666750 h 1533525"/>
              <a:gd name="connsiteX102" fmla="*/ 292893 w 1266825"/>
              <a:gd name="connsiteY102" fmla="*/ 638175 h 1533525"/>
              <a:gd name="connsiteX103" fmla="*/ 245268 w 1266825"/>
              <a:gd name="connsiteY103" fmla="*/ 602456 h 1533525"/>
              <a:gd name="connsiteX104" fmla="*/ 264318 w 1266825"/>
              <a:gd name="connsiteY104" fmla="*/ 585788 h 1533525"/>
              <a:gd name="connsiteX105" fmla="*/ 311943 w 1266825"/>
              <a:gd name="connsiteY105" fmla="*/ 602456 h 1533525"/>
              <a:gd name="connsiteX106" fmla="*/ 369093 w 1266825"/>
              <a:gd name="connsiteY106" fmla="*/ 573881 h 1533525"/>
              <a:gd name="connsiteX107" fmla="*/ 457200 w 1266825"/>
              <a:gd name="connsiteY107" fmla="*/ 545306 h 1533525"/>
              <a:gd name="connsiteX108" fmla="*/ 538162 w 1266825"/>
              <a:gd name="connsiteY108" fmla="*/ 578644 h 1533525"/>
              <a:gd name="connsiteX109" fmla="*/ 614362 w 1266825"/>
              <a:gd name="connsiteY109" fmla="*/ 550069 h 1533525"/>
              <a:gd name="connsiteX110" fmla="*/ 650081 w 1266825"/>
              <a:gd name="connsiteY110" fmla="*/ 552450 h 1533525"/>
              <a:gd name="connsiteX111" fmla="*/ 654843 w 1266825"/>
              <a:gd name="connsiteY111" fmla="*/ 523875 h 1533525"/>
              <a:gd name="connsiteX112" fmla="*/ 654843 w 1266825"/>
              <a:gd name="connsiteY112" fmla="*/ 490538 h 1533525"/>
              <a:gd name="connsiteX113" fmla="*/ 669131 w 1266825"/>
              <a:gd name="connsiteY113" fmla="*/ 469106 h 1533525"/>
              <a:gd name="connsiteX114" fmla="*/ 652462 w 1266825"/>
              <a:gd name="connsiteY114" fmla="*/ 450056 h 1533525"/>
              <a:gd name="connsiteX115" fmla="*/ 642937 w 1266825"/>
              <a:gd name="connsiteY115" fmla="*/ 411956 h 1533525"/>
              <a:gd name="connsiteX116" fmla="*/ 642937 w 1266825"/>
              <a:gd name="connsiteY116" fmla="*/ 330994 h 1533525"/>
              <a:gd name="connsiteX117" fmla="*/ 633412 w 1266825"/>
              <a:gd name="connsiteY117" fmla="*/ 319088 h 1533525"/>
              <a:gd name="connsiteX118" fmla="*/ 664368 w 1266825"/>
              <a:gd name="connsiteY118" fmla="*/ 285750 h 1533525"/>
              <a:gd name="connsiteX119" fmla="*/ 721518 w 1266825"/>
              <a:gd name="connsiteY119" fmla="*/ 292894 h 1533525"/>
              <a:gd name="connsiteX120" fmla="*/ 733425 w 1266825"/>
              <a:gd name="connsiteY120" fmla="*/ 264319 h 1533525"/>
              <a:gd name="connsiteX121" fmla="*/ 731043 w 1266825"/>
              <a:gd name="connsiteY121" fmla="*/ 228600 h 1533525"/>
              <a:gd name="connsiteX122" fmla="*/ 790575 w 1266825"/>
              <a:gd name="connsiteY122" fmla="*/ 192881 h 1533525"/>
              <a:gd name="connsiteX123" fmla="*/ 804862 w 1266825"/>
              <a:gd name="connsiteY123" fmla="*/ 166688 h 1533525"/>
              <a:gd name="connsiteX124" fmla="*/ 778668 w 1266825"/>
              <a:gd name="connsiteY124" fmla="*/ 128588 h 1533525"/>
              <a:gd name="connsiteX125" fmla="*/ 771525 w 1266825"/>
              <a:gd name="connsiteY125" fmla="*/ 104775 h 1533525"/>
              <a:gd name="connsiteX126" fmla="*/ 823912 w 1266825"/>
              <a:gd name="connsiteY126" fmla="*/ 97631 h 1533525"/>
              <a:gd name="connsiteX127" fmla="*/ 869156 w 1266825"/>
              <a:gd name="connsiteY127" fmla="*/ 52388 h 1533525"/>
              <a:gd name="connsiteX128" fmla="*/ 890587 w 1266825"/>
              <a:gd name="connsiteY128" fmla="*/ 23813 h 1533525"/>
              <a:gd name="connsiteX129" fmla="*/ 923925 w 1266825"/>
              <a:gd name="connsiteY129" fmla="*/ 9525 h 1533525"/>
              <a:gd name="connsiteX130" fmla="*/ 971550 w 1266825"/>
              <a:gd name="connsiteY130" fmla="*/ 0 h 1533525"/>
              <a:gd name="connsiteX131" fmla="*/ 971550 w 1266825"/>
              <a:gd name="connsiteY131" fmla="*/ 40481 h 1533525"/>
              <a:gd name="connsiteX132" fmla="*/ 950118 w 1266825"/>
              <a:gd name="connsiteY132" fmla="*/ 80963 h 1533525"/>
              <a:gd name="connsiteX133" fmla="*/ 950118 w 1266825"/>
              <a:gd name="connsiteY133" fmla="*/ 140494 h 1533525"/>
              <a:gd name="connsiteX134" fmla="*/ 969168 w 1266825"/>
              <a:gd name="connsiteY134" fmla="*/ 161925 h 1533525"/>
              <a:gd name="connsiteX135" fmla="*/ 1007268 w 1266825"/>
              <a:gd name="connsiteY135" fmla="*/ 188119 h 1533525"/>
              <a:gd name="connsiteX136" fmla="*/ 1019175 w 1266825"/>
              <a:gd name="connsiteY136" fmla="*/ 216694 h 1533525"/>
              <a:gd name="connsiteX137" fmla="*/ 1004887 w 1266825"/>
              <a:gd name="connsiteY137" fmla="*/ 226219 h 1533525"/>
              <a:gd name="connsiteX138" fmla="*/ 1057275 w 1266825"/>
              <a:gd name="connsiteY138" fmla="*/ 250031 h 1533525"/>
              <a:gd name="connsiteX139" fmla="*/ 1073943 w 1266825"/>
              <a:gd name="connsiteY139" fmla="*/ 228600 h 1533525"/>
              <a:gd name="connsiteX140" fmla="*/ 1083468 w 1266825"/>
              <a:gd name="connsiteY140" fmla="*/ 252413 h 1533525"/>
              <a:gd name="connsiteX141" fmla="*/ 1116806 w 1266825"/>
              <a:gd name="connsiteY141" fmla="*/ 252413 h 1533525"/>
              <a:gd name="connsiteX142" fmla="*/ 1123950 w 1266825"/>
              <a:gd name="connsiteY142" fmla="*/ 257175 h 1533525"/>
              <a:gd name="connsiteX143" fmla="*/ 1116806 w 1266825"/>
              <a:gd name="connsiteY143" fmla="*/ 276225 h 1533525"/>
              <a:gd name="connsiteX144" fmla="*/ 1088231 w 1266825"/>
              <a:gd name="connsiteY144" fmla="*/ 309563 h 1533525"/>
              <a:gd name="connsiteX145" fmla="*/ 1123950 w 1266825"/>
              <a:gd name="connsiteY145" fmla="*/ 333375 h 1533525"/>
              <a:gd name="connsiteX146" fmla="*/ 1135856 w 1266825"/>
              <a:gd name="connsiteY146" fmla="*/ 347663 h 1533525"/>
              <a:gd name="connsiteX147" fmla="*/ 1135856 w 1266825"/>
              <a:gd name="connsiteY147" fmla="*/ 376238 h 1533525"/>
              <a:gd name="connsiteX148" fmla="*/ 1119187 w 1266825"/>
              <a:gd name="connsiteY148" fmla="*/ 411956 h 1533525"/>
              <a:gd name="connsiteX0" fmla="*/ 1057275 w 1266825"/>
              <a:gd name="connsiteY0" fmla="*/ 264319 h 1533525"/>
              <a:gd name="connsiteX1" fmla="*/ 1062037 w 1266825"/>
              <a:gd name="connsiteY1" fmla="*/ 304800 h 1533525"/>
              <a:gd name="connsiteX2" fmla="*/ 995362 w 1266825"/>
              <a:gd name="connsiteY2" fmla="*/ 352425 h 1533525"/>
              <a:gd name="connsiteX3" fmla="*/ 973931 w 1266825"/>
              <a:gd name="connsiteY3" fmla="*/ 383381 h 1533525"/>
              <a:gd name="connsiteX4" fmla="*/ 1000125 w 1266825"/>
              <a:gd name="connsiteY4" fmla="*/ 428625 h 1533525"/>
              <a:gd name="connsiteX5" fmla="*/ 983456 w 1266825"/>
              <a:gd name="connsiteY5" fmla="*/ 466725 h 1533525"/>
              <a:gd name="connsiteX6" fmla="*/ 1000125 w 1266825"/>
              <a:gd name="connsiteY6" fmla="*/ 519113 h 1533525"/>
              <a:gd name="connsiteX7" fmla="*/ 1033462 w 1266825"/>
              <a:gd name="connsiteY7" fmla="*/ 519113 h 1533525"/>
              <a:gd name="connsiteX8" fmla="*/ 1019175 w 1266825"/>
              <a:gd name="connsiteY8" fmla="*/ 552450 h 1533525"/>
              <a:gd name="connsiteX9" fmla="*/ 1035843 w 1266825"/>
              <a:gd name="connsiteY9" fmla="*/ 590550 h 1533525"/>
              <a:gd name="connsiteX10" fmla="*/ 1035843 w 1266825"/>
              <a:gd name="connsiteY10" fmla="*/ 607219 h 1533525"/>
              <a:gd name="connsiteX11" fmla="*/ 1045368 w 1266825"/>
              <a:gd name="connsiteY11" fmla="*/ 645319 h 1533525"/>
              <a:gd name="connsiteX12" fmla="*/ 1064418 w 1266825"/>
              <a:gd name="connsiteY12" fmla="*/ 645319 h 1533525"/>
              <a:gd name="connsiteX13" fmla="*/ 1078706 w 1266825"/>
              <a:gd name="connsiteY13" fmla="*/ 666750 h 1533525"/>
              <a:gd name="connsiteX14" fmla="*/ 1085850 w 1266825"/>
              <a:gd name="connsiteY14" fmla="*/ 688181 h 1533525"/>
              <a:gd name="connsiteX15" fmla="*/ 1076325 w 1266825"/>
              <a:gd name="connsiteY15" fmla="*/ 719138 h 1533525"/>
              <a:gd name="connsiteX16" fmla="*/ 1021556 w 1266825"/>
              <a:gd name="connsiteY16" fmla="*/ 714375 h 1533525"/>
              <a:gd name="connsiteX17" fmla="*/ 1002506 w 1266825"/>
              <a:gd name="connsiteY17" fmla="*/ 721519 h 1533525"/>
              <a:gd name="connsiteX18" fmla="*/ 995362 w 1266825"/>
              <a:gd name="connsiteY18" fmla="*/ 726281 h 1533525"/>
              <a:gd name="connsiteX19" fmla="*/ 995362 w 1266825"/>
              <a:gd name="connsiteY19" fmla="*/ 726281 h 1533525"/>
              <a:gd name="connsiteX20" fmla="*/ 923925 w 1266825"/>
              <a:gd name="connsiteY20" fmla="*/ 721519 h 1533525"/>
              <a:gd name="connsiteX21" fmla="*/ 940593 w 1266825"/>
              <a:gd name="connsiteY21" fmla="*/ 778669 h 1533525"/>
              <a:gd name="connsiteX22" fmla="*/ 938212 w 1266825"/>
              <a:gd name="connsiteY22" fmla="*/ 847725 h 1533525"/>
              <a:gd name="connsiteX23" fmla="*/ 954881 w 1266825"/>
              <a:gd name="connsiteY23" fmla="*/ 871538 h 1533525"/>
              <a:gd name="connsiteX24" fmla="*/ 997743 w 1266825"/>
              <a:gd name="connsiteY24" fmla="*/ 919163 h 1533525"/>
              <a:gd name="connsiteX25" fmla="*/ 1012031 w 1266825"/>
              <a:gd name="connsiteY25" fmla="*/ 954881 h 1533525"/>
              <a:gd name="connsiteX26" fmla="*/ 1031081 w 1266825"/>
              <a:gd name="connsiteY26" fmla="*/ 954881 h 1533525"/>
              <a:gd name="connsiteX27" fmla="*/ 1071562 w 1266825"/>
              <a:gd name="connsiteY27" fmla="*/ 940594 h 1533525"/>
              <a:gd name="connsiteX28" fmla="*/ 1102518 w 1266825"/>
              <a:gd name="connsiteY28" fmla="*/ 933450 h 1533525"/>
              <a:gd name="connsiteX29" fmla="*/ 1159668 w 1266825"/>
              <a:gd name="connsiteY29" fmla="*/ 997744 h 1533525"/>
              <a:gd name="connsiteX30" fmla="*/ 1178718 w 1266825"/>
              <a:gd name="connsiteY30" fmla="*/ 1052513 h 1533525"/>
              <a:gd name="connsiteX31" fmla="*/ 1190625 w 1266825"/>
              <a:gd name="connsiteY31" fmla="*/ 1081088 h 1533525"/>
              <a:gd name="connsiteX32" fmla="*/ 1212056 w 1266825"/>
              <a:gd name="connsiteY32" fmla="*/ 1109663 h 1533525"/>
              <a:gd name="connsiteX33" fmla="*/ 1231106 w 1266825"/>
              <a:gd name="connsiteY33" fmla="*/ 1102519 h 1533525"/>
              <a:gd name="connsiteX34" fmla="*/ 1231106 w 1266825"/>
              <a:gd name="connsiteY34" fmla="*/ 1131094 h 1533525"/>
              <a:gd name="connsiteX35" fmla="*/ 1233487 w 1266825"/>
              <a:gd name="connsiteY35" fmla="*/ 1145381 h 1533525"/>
              <a:gd name="connsiteX36" fmla="*/ 1266825 w 1266825"/>
              <a:gd name="connsiteY36" fmla="*/ 1181100 h 1533525"/>
              <a:gd name="connsiteX37" fmla="*/ 1233487 w 1266825"/>
              <a:gd name="connsiteY37" fmla="*/ 1181100 h 1533525"/>
              <a:gd name="connsiteX38" fmla="*/ 1228725 w 1266825"/>
              <a:gd name="connsiteY38" fmla="*/ 1223963 h 1533525"/>
              <a:gd name="connsiteX39" fmla="*/ 1226343 w 1266825"/>
              <a:gd name="connsiteY39" fmla="*/ 1243013 h 1533525"/>
              <a:gd name="connsiteX40" fmla="*/ 1216818 w 1266825"/>
              <a:gd name="connsiteY40" fmla="*/ 1264444 h 1533525"/>
              <a:gd name="connsiteX41" fmla="*/ 1190625 w 1266825"/>
              <a:gd name="connsiteY41" fmla="*/ 1238250 h 1533525"/>
              <a:gd name="connsiteX42" fmla="*/ 1157287 w 1266825"/>
              <a:gd name="connsiteY42" fmla="*/ 1209675 h 1533525"/>
              <a:gd name="connsiteX43" fmla="*/ 1131093 w 1266825"/>
              <a:gd name="connsiteY43" fmla="*/ 1185863 h 1533525"/>
              <a:gd name="connsiteX44" fmla="*/ 1107281 w 1266825"/>
              <a:gd name="connsiteY44" fmla="*/ 1219200 h 1533525"/>
              <a:gd name="connsiteX45" fmla="*/ 1104900 w 1266825"/>
              <a:gd name="connsiteY45" fmla="*/ 1264444 h 1533525"/>
              <a:gd name="connsiteX46" fmla="*/ 1062037 w 1266825"/>
              <a:gd name="connsiteY46" fmla="*/ 1259681 h 1533525"/>
              <a:gd name="connsiteX47" fmla="*/ 1026318 w 1266825"/>
              <a:gd name="connsiteY47" fmla="*/ 1288256 h 1533525"/>
              <a:gd name="connsiteX48" fmla="*/ 1007268 w 1266825"/>
              <a:gd name="connsiteY48" fmla="*/ 1240631 h 1533525"/>
              <a:gd name="connsiteX49" fmla="*/ 947737 w 1266825"/>
              <a:gd name="connsiteY49" fmla="*/ 1231106 h 1533525"/>
              <a:gd name="connsiteX50" fmla="*/ 921543 w 1266825"/>
              <a:gd name="connsiteY50" fmla="*/ 1297781 h 1533525"/>
              <a:gd name="connsiteX51" fmla="*/ 885825 w 1266825"/>
              <a:gd name="connsiteY51" fmla="*/ 1278731 h 1533525"/>
              <a:gd name="connsiteX52" fmla="*/ 816768 w 1266825"/>
              <a:gd name="connsiteY52" fmla="*/ 1295400 h 1533525"/>
              <a:gd name="connsiteX53" fmla="*/ 757237 w 1266825"/>
              <a:gd name="connsiteY53" fmla="*/ 1259681 h 1533525"/>
              <a:gd name="connsiteX54" fmla="*/ 742950 w 1266825"/>
              <a:gd name="connsiteY54" fmla="*/ 1312069 h 1533525"/>
              <a:gd name="connsiteX55" fmla="*/ 704850 w 1266825"/>
              <a:gd name="connsiteY55" fmla="*/ 1345406 h 1533525"/>
              <a:gd name="connsiteX56" fmla="*/ 692943 w 1266825"/>
              <a:gd name="connsiteY56" fmla="*/ 1366838 h 1533525"/>
              <a:gd name="connsiteX57" fmla="*/ 671512 w 1266825"/>
              <a:gd name="connsiteY57" fmla="*/ 1509713 h 1533525"/>
              <a:gd name="connsiteX58" fmla="*/ 633412 w 1266825"/>
              <a:gd name="connsiteY58" fmla="*/ 1490663 h 1533525"/>
              <a:gd name="connsiteX59" fmla="*/ 614362 w 1266825"/>
              <a:gd name="connsiteY59" fmla="*/ 1504950 h 1533525"/>
              <a:gd name="connsiteX60" fmla="*/ 581025 w 1266825"/>
              <a:gd name="connsiteY60" fmla="*/ 1531144 h 1533525"/>
              <a:gd name="connsiteX61" fmla="*/ 523875 w 1266825"/>
              <a:gd name="connsiteY61" fmla="*/ 1502569 h 1533525"/>
              <a:gd name="connsiteX62" fmla="*/ 514350 w 1266825"/>
              <a:gd name="connsiteY62" fmla="*/ 1490663 h 1533525"/>
              <a:gd name="connsiteX63" fmla="*/ 483393 w 1266825"/>
              <a:gd name="connsiteY63" fmla="*/ 1533525 h 1533525"/>
              <a:gd name="connsiteX64" fmla="*/ 459581 w 1266825"/>
              <a:gd name="connsiteY64" fmla="*/ 1481138 h 1533525"/>
              <a:gd name="connsiteX65" fmla="*/ 438150 w 1266825"/>
              <a:gd name="connsiteY65" fmla="*/ 1471613 h 1533525"/>
              <a:gd name="connsiteX66" fmla="*/ 400050 w 1266825"/>
              <a:gd name="connsiteY66" fmla="*/ 1485900 h 1533525"/>
              <a:gd name="connsiteX67" fmla="*/ 338137 w 1266825"/>
              <a:gd name="connsiteY67" fmla="*/ 1490663 h 1533525"/>
              <a:gd name="connsiteX68" fmla="*/ 330993 w 1266825"/>
              <a:gd name="connsiteY68" fmla="*/ 1497806 h 1533525"/>
              <a:gd name="connsiteX69" fmla="*/ 271462 w 1266825"/>
              <a:gd name="connsiteY69" fmla="*/ 1471613 h 1533525"/>
              <a:gd name="connsiteX70" fmla="*/ 219075 w 1266825"/>
              <a:gd name="connsiteY70" fmla="*/ 1443038 h 1533525"/>
              <a:gd name="connsiteX71" fmla="*/ 138112 w 1266825"/>
              <a:gd name="connsiteY71" fmla="*/ 1402556 h 1533525"/>
              <a:gd name="connsiteX72" fmla="*/ 95250 w 1266825"/>
              <a:gd name="connsiteY72" fmla="*/ 1316831 h 1533525"/>
              <a:gd name="connsiteX73" fmla="*/ 80962 w 1266825"/>
              <a:gd name="connsiteY73" fmla="*/ 1288256 h 1533525"/>
              <a:gd name="connsiteX74" fmla="*/ 104775 w 1266825"/>
              <a:gd name="connsiteY74" fmla="*/ 1266825 h 1533525"/>
              <a:gd name="connsiteX75" fmla="*/ 76200 w 1266825"/>
              <a:gd name="connsiteY75" fmla="*/ 1212056 h 1533525"/>
              <a:gd name="connsiteX76" fmla="*/ 109537 w 1266825"/>
              <a:gd name="connsiteY76" fmla="*/ 1193006 h 1533525"/>
              <a:gd name="connsiteX77" fmla="*/ 140493 w 1266825"/>
              <a:gd name="connsiteY77" fmla="*/ 1143000 h 1533525"/>
              <a:gd name="connsiteX78" fmla="*/ 123825 w 1266825"/>
              <a:gd name="connsiteY78" fmla="*/ 1107281 h 1533525"/>
              <a:gd name="connsiteX79" fmla="*/ 178593 w 1266825"/>
              <a:gd name="connsiteY79" fmla="*/ 1107281 h 1533525"/>
              <a:gd name="connsiteX80" fmla="*/ 192881 w 1266825"/>
              <a:gd name="connsiteY80" fmla="*/ 1109663 h 1533525"/>
              <a:gd name="connsiteX81" fmla="*/ 159543 w 1266825"/>
              <a:gd name="connsiteY81" fmla="*/ 1064419 h 1533525"/>
              <a:gd name="connsiteX82" fmla="*/ 169068 w 1266825"/>
              <a:gd name="connsiteY82" fmla="*/ 1014413 h 1533525"/>
              <a:gd name="connsiteX83" fmla="*/ 123825 w 1266825"/>
              <a:gd name="connsiteY83" fmla="*/ 997744 h 1533525"/>
              <a:gd name="connsiteX84" fmla="*/ 61912 w 1266825"/>
              <a:gd name="connsiteY84" fmla="*/ 954881 h 1533525"/>
              <a:gd name="connsiteX85" fmla="*/ 45243 w 1266825"/>
              <a:gd name="connsiteY85" fmla="*/ 938213 h 1533525"/>
              <a:gd name="connsiteX86" fmla="*/ 64293 w 1266825"/>
              <a:gd name="connsiteY86" fmla="*/ 909638 h 1533525"/>
              <a:gd name="connsiteX87" fmla="*/ 47625 w 1266825"/>
              <a:gd name="connsiteY87" fmla="*/ 897731 h 1533525"/>
              <a:gd name="connsiteX88" fmla="*/ 47625 w 1266825"/>
              <a:gd name="connsiteY88" fmla="*/ 881063 h 1533525"/>
              <a:gd name="connsiteX89" fmla="*/ 26193 w 1266825"/>
              <a:gd name="connsiteY89" fmla="*/ 881063 h 1533525"/>
              <a:gd name="connsiteX90" fmla="*/ 7143 w 1266825"/>
              <a:gd name="connsiteY90" fmla="*/ 847725 h 1533525"/>
              <a:gd name="connsiteX91" fmla="*/ 0 w 1266825"/>
              <a:gd name="connsiteY91" fmla="*/ 816769 h 1533525"/>
              <a:gd name="connsiteX92" fmla="*/ 54768 w 1266825"/>
              <a:gd name="connsiteY92" fmla="*/ 800100 h 1533525"/>
              <a:gd name="connsiteX93" fmla="*/ 76200 w 1266825"/>
              <a:gd name="connsiteY93" fmla="*/ 788194 h 1533525"/>
              <a:gd name="connsiteX94" fmla="*/ 128587 w 1266825"/>
              <a:gd name="connsiteY94" fmla="*/ 821531 h 1533525"/>
              <a:gd name="connsiteX95" fmla="*/ 126206 w 1266825"/>
              <a:gd name="connsiteY95" fmla="*/ 800100 h 1533525"/>
              <a:gd name="connsiteX96" fmla="*/ 164306 w 1266825"/>
              <a:gd name="connsiteY96" fmla="*/ 795338 h 1533525"/>
              <a:gd name="connsiteX97" fmla="*/ 173831 w 1266825"/>
              <a:gd name="connsiteY97" fmla="*/ 759619 h 1533525"/>
              <a:gd name="connsiteX98" fmla="*/ 235743 w 1266825"/>
              <a:gd name="connsiteY98" fmla="*/ 764381 h 1533525"/>
              <a:gd name="connsiteX99" fmla="*/ 235743 w 1266825"/>
              <a:gd name="connsiteY99" fmla="*/ 764381 h 1533525"/>
              <a:gd name="connsiteX100" fmla="*/ 245268 w 1266825"/>
              <a:gd name="connsiteY100" fmla="*/ 704850 h 1533525"/>
              <a:gd name="connsiteX101" fmla="*/ 276225 w 1266825"/>
              <a:gd name="connsiteY101" fmla="*/ 666750 h 1533525"/>
              <a:gd name="connsiteX102" fmla="*/ 292893 w 1266825"/>
              <a:gd name="connsiteY102" fmla="*/ 638175 h 1533525"/>
              <a:gd name="connsiteX103" fmla="*/ 245268 w 1266825"/>
              <a:gd name="connsiteY103" fmla="*/ 602456 h 1533525"/>
              <a:gd name="connsiteX104" fmla="*/ 264318 w 1266825"/>
              <a:gd name="connsiteY104" fmla="*/ 585788 h 1533525"/>
              <a:gd name="connsiteX105" fmla="*/ 311943 w 1266825"/>
              <a:gd name="connsiteY105" fmla="*/ 602456 h 1533525"/>
              <a:gd name="connsiteX106" fmla="*/ 369093 w 1266825"/>
              <a:gd name="connsiteY106" fmla="*/ 573881 h 1533525"/>
              <a:gd name="connsiteX107" fmla="*/ 457200 w 1266825"/>
              <a:gd name="connsiteY107" fmla="*/ 545306 h 1533525"/>
              <a:gd name="connsiteX108" fmla="*/ 538162 w 1266825"/>
              <a:gd name="connsiteY108" fmla="*/ 578644 h 1533525"/>
              <a:gd name="connsiteX109" fmla="*/ 614362 w 1266825"/>
              <a:gd name="connsiteY109" fmla="*/ 550069 h 1533525"/>
              <a:gd name="connsiteX110" fmla="*/ 650081 w 1266825"/>
              <a:gd name="connsiteY110" fmla="*/ 552450 h 1533525"/>
              <a:gd name="connsiteX111" fmla="*/ 654843 w 1266825"/>
              <a:gd name="connsiteY111" fmla="*/ 523875 h 1533525"/>
              <a:gd name="connsiteX112" fmla="*/ 654843 w 1266825"/>
              <a:gd name="connsiteY112" fmla="*/ 490538 h 1533525"/>
              <a:gd name="connsiteX113" fmla="*/ 669131 w 1266825"/>
              <a:gd name="connsiteY113" fmla="*/ 469106 h 1533525"/>
              <a:gd name="connsiteX114" fmla="*/ 652462 w 1266825"/>
              <a:gd name="connsiteY114" fmla="*/ 450056 h 1533525"/>
              <a:gd name="connsiteX115" fmla="*/ 642937 w 1266825"/>
              <a:gd name="connsiteY115" fmla="*/ 411956 h 1533525"/>
              <a:gd name="connsiteX116" fmla="*/ 642937 w 1266825"/>
              <a:gd name="connsiteY116" fmla="*/ 330994 h 1533525"/>
              <a:gd name="connsiteX117" fmla="*/ 633412 w 1266825"/>
              <a:gd name="connsiteY117" fmla="*/ 319088 h 1533525"/>
              <a:gd name="connsiteX118" fmla="*/ 664368 w 1266825"/>
              <a:gd name="connsiteY118" fmla="*/ 285750 h 1533525"/>
              <a:gd name="connsiteX119" fmla="*/ 721518 w 1266825"/>
              <a:gd name="connsiteY119" fmla="*/ 292894 h 1533525"/>
              <a:gd name="connsiteX120" fmla="*/ 733425 w 1266825"/>
              <a:gd name="connsiteY120" fmla="*/ 264319 h 1533525"/>
              <a:gd name="connsiteX121" fmla="*/ 731043 w 1266825"/>
              <a:gd name="connsiteY121" fmla="*/ 228600 h 1533525"/>
              <a:gd name="connsiteX122" fmla="*/ 790575 w 1266825"/>
              <a:gd name="connsiteY122" fmla="*/ 192881 h 1533525"/>
              <a:gd name="connsiteX123" fmla="*/ 804862 w 1266825"/>
              <a:gd name="connsiteY123" fmla="*/ 166688 h 1533525"/>
              <a:gd name="connsiteX124" fmla="*/ 778668 w 1266825"/>
              <a:gd name="connsiteY124" fmla="*/ 128588 h 1533525"/>
              <a:gd name="connsiteX125" fmla="*/ 771525 w 1266825"/>
              <a:gd name="connsiteY125" fmla="*/ 104775 h 1533525"/>
              <a:gd name="connsiteX126" fmla="*/ 823912 w 1266825"/>
              <a:gd name="connsiteY126" fmla="*/ 97631 h 1533525"/>
              <a:gd name="connsiteX127" fmla="*/ 869156 w 1266825"/>
              <a:gd name="connsiteY127" fmla="*/ 52388 h 1533525"/>
              <a:gd name="connsiteX128" fmla="*/ 890587 w 1266825"/>
              <a:gd name="connsiteY128" fmla="*/ 23813 h 1533525"/>
              <a:gd name="connsiteX129" fmla="*/ 923925 w 1266825"/>
              <a:gd name="connsiteY129" fmla="*/ 9525 h 1533525"/>
              <a:gd name="connsiteX130" fmla="*/ 971550 w 1266825"/>
              <a:gd name="connsiteY130" fmla="*/ 0 h 1533525"/>
              <a:gd name="connsiteX131" fmla="*/ 971550 w 1266825"/>
              <a:gd name="connsiteY131" fmla="*/ 40481 h 1533525"/>
              <a:gd name="connsiteX132" fmla="*/ 950118 w 1266825"/>
              <a:gd name="connsiteY132" fmla="*/ 80963 h 1533525"/>
              <a:gd name="connsiteX133" fmla="*/ 950118 w 1266825"/>
              <a:gd name="connsiteY133" fmla="*/ 140494 h 1533525"/>
              <a:gd name="connsiteX134" fmla="*/ 969168 w 1266825"/>
              <a:gd name="connsiteY134" fmla="*/ 161925 h 1533525"/>
              <a:gd name="connsiteX135" fmla="*/ 1007268 w 1266825"/>
              <a:gd name="connsiteY135" fmla="*/ 188119 h 1533525"/>
              <a:gd name="connsiteX136" fmla="*/ 1019175 w 1266825"/>
              <a:gd name="connsiteY136" fmla="*/ 216694 h 1533525"/>
              <a:gd name="connsiteX137" fmla="*/ 1004887 w 1266825"/>
              <a:gd name="connsiteY137" fmla="*/ 226219 h 1533525"/>
              <a:gd name="connsiteX138" fmla="*/ 1057275 w 1266825"/>
              <a:gd name="connsiteY138" fmla="*/ 250031 h 1533525"/>
              <a:gd name="connsiteX139" fmla="*/ 1073943 w 1266825"/>
              <a:gd name="connsiteY139" fmla="*/ 228600 h 1533525"/>
              <a:gd name="connsiteX140" fmla="*/ 1083468 w 1266825"/>
              <a:gd name="connsiteY140" fmla="*/ 252413 h 1533525"/>
              <a:gd name="connsiteX141" fmla="*/ 1116806 w 1266825"/>
              <a:gd name="connsiteY141" fmla="*/ 252413 h 1533525"/>
              <a:gd name="connsiteX142" fmla="*/ 1123950 w 1266825"/>
              <a:gd name="connsiteY142" fmla="*/ 257175 h 1533525"/>
              <a:gd name="connsiteX143" fmla="*/ 1116806 w 1266825"/>
              <a:gd name="connsiteY143" fmla="*/ 276225 h 1533525"/>
              <a:gd name="connsiteX144" fmla="*/ 1088231 w 1266825"/>
              <a:gd name="connsiteY144" fmla="*/ 309563 h 1533525"/>
              <a:gd name="connsiteX145" fmla="*/ 1123950 w 1266825"/>
              <a:gd name="connsiteY145" fmla="*/ 333375 h 1533525"/>
              <a:gd name="connsiteX146" fmla="*/ 1135856 w 1266825"/>
              <a:gd name="connsiteY146" fmla="*/ 347663 h 1533525"/>
              <a:gd name="connsiteX147" fmla="*/ 1135856 w 1266825"/>
              <a:gd name="connsiteY147" fmla="*/ 376238 h 1533525"/>
              <a:gd name="connsiteX0" fmla="*/ 1057275 w 1266825"/>
              <a:gd name="connsiteY0" fmla="*/ 264319 h 1533525"/>
              <a:gd name="connsiteX1" fmla="*/ 1062037 w 1266825"/>
              <a:gd name="connsiteY1" fmla="*/ 304800 h 1533525"/>
              <a:gd name="connsiteX2" fmla="*/ 995362 w 1266825"/>
              <a:gd name="connsiteY2" fmla="*/ 352425 h 1533525"/>
              <a:gd name="connsiteX3" fmla="*/ 973931 w 1266825"/>
              <a:gd name="connsiteY3" fmla="*/ 383381 h 1533525"/>
              <a:gd name="connsiteX4" fmla="*/ 1000125 w 1266825"/>
              <a:gd name="connsiteY4" fmla="*/ 428625 h 1533525"/>
              <a:gd name="connsiteX5" fmla="*/ 983456 w 1266825"/>
              <a:gd name="connsiteY5" fmla="*/ 466725 h 1533525"/>
              <a:gd name="connsiteX6" fmla="*/ 1000125 w 1266825"/>
              <a:gd name="connsiteY6" fmla="*/ 519113 h 1533525"/>
              <a:gd name="connsiteX7" fmla="*/ 1033462 w 1266825"/>
              <a:gd name="connsiteY7" fmla="*/ 519113 h 1533525"/>
              <a:gd name="connsiteX8" fmla="*/ 1019175 w 1266825"/>
              <a:gd name="connsiteY8" fmla="*/ 552450 h 1533525"/>
              <a:gd name="connsiteX9" fmla="*/ 1035843 w 1266825"/>
              <a:gd name="connsiteY9" fmla="*/ 590550 h 1533525"/>
              <a:gd name="connsiteX10" fmla="*/ 1035843 w 1266825"/>
              <a:gd name="connsiteY10" fmla="*/ 607219 h 1533525"/>
              <a:gd name="connsiteX11" fmla="*/ 1045368 w 1266825"/>
              <a:gd name="connsiteY11" fmla="*/ 645319 h 1533525"/>
              <a:gd name="connsiteX12" fmla="*/ 1064418 w 1266825"/>
              <a:gd name="connsiteY12" fmla="*/ 645319 h 1533525"/>
              <a:gd name="connsiteX13" fmla="*/ 1078706 w 1266825"/>
              <a:gd name="connsiteY13" fmla="*/ 666750 h 1533525"/>
              <a:gd name="connsiteX14" fmla="*/ 1085850 w 1266825"/>
              <a:gd name="connsiteY14" fmla="*/ 688181 h 1533525"/>
              <a:gd name="connsiteX15" fmla="*/ 1076325 w 1266825"/>
              <a:gd name="connsiteY15" fmla="*/ 719138 h 1533525"/>
              <a:gd name="connsiteX16" fmla="*/ 1021556 w 1266825"/>
              <a:gd name="connsiteY16" fmla="*/ 714375 h 1533525"/>
              <a:gd name="connsiteX17" fmla="*/ 1002506 w 1266825"/>
              <a:gd name="connsiteY17" fmla="*/ 721519 h 1533525"/>
              <a:gd name="connsiteX18" fmla="*/ 995362 w 1266825"/>
              <a:gd name="connsiteY18" fmla="*/ 726281 h 1533525"/>
              <a:gd name="connsiteX19" fmla="*/ 995362 w 1266825"/>
              <a:gd name="connsiteY19" fmla="*/ 726281 h 1533525"/>
              <a:gd name="connsiteX20" fmla="*/ 923925 w 1266825"/>
              <a:gd name="connsiteY20" fmla="*/ 721519 h 1533525"/>
              <a:gd name="connsiteX21" fmla="*/ 940593 w 1266825"/>
              <a:gd name="connsiteY21" fmla="*/ 778669 h 1533525"/>
              <a:gd name="connsiteX22" fmla="*/ 938212 w 1266825"/>
              <a:gd name="connsiteY22" fmla="*/ 847725 h 1533525"/>
              <a:gd name="connsiteX23" fmla="*/ 954881 w 1266825"/>
              <a:gd name="connsiteY23" fmla="*/ 871538 h 1533525"/>
              <a:gd name="connsiteX24" fmla="*/ 997743 w 1266825"/>
              <a:gd name="connsiteY24" fmla="*/ 919163 h 1533525"/>
              <a:gd name="connsiteX25" fmla="*/ 1012031 w 1266825"/>
              <a:gd name="connsiteY25" fmla="*/ 954881 h 1533525"/>
              <a:gd name="connsiteX26" fmla="*/ 1031081 w 1266825"/>
              <a:gd name="connsiteY26" fmla="*/ 954881 h 1533525"/>
              <a:gd name="connsiteX27" fmla="*/ 1071562 w 1266825"/>
              <a:gd name="connsiteY27" fmla="*/ 940594 h 1533525"/>
              <a:gd name="connsiteX28" fmla="*/ 1102518 w 1266825"/>
              <a:gd name="connsiteY28" fmla="*/ 933450 h 1533525"/>
              <a:gd name="connsiteX29" fmla="*/ 1159668 w 1266825"/>
              <a:gd name="connsiteY29" fmla="*/ 997744 h 1533525"/>
              <a:gd name="connsiteX30" fmla="*/ 1178718 w 1266825"/>
              <a:gd name="connsiteY30" fmla="*/ 1052513 h 1533525"/>
              <a:gd name="connsiteX31" fmla="*/ 1190625 w 1266825"/>
              <a:gd name="connsiteY31" fmla="*/ 1081088 h 1533525"/>
              <a:gd name="connsiteX32" fmla="*/ 1212056 w 1266825"/>
              <a:gd name="connsiteY32" fmla="*/ 1109663 h 1533525"/>
              <a:gd name="connsiteX33" fmla="*/ 1231106 w 1266825"/>
              <a:gd name="connsiteY33" fmla="*/ 1102519 h 1533525"/>
              <a:gd name="connsiteX34" fmla="*/ 1231106 w 1266825"/>
              <a:gd name="connsiteY34" fmla="*/ 1131094 h 1533525"/>
              <a:gd name="connsiteX35" fmla="*/ 1233487 w 1266825"/>
              <a:gd name="connsiteY35" fmla="*/ 1145381 h 1533525"/>
              <a:gd name="connsiteX36" fmla="*/ 1266825 w 1266825"/>
              <a:gd name="connsiteY36" fmla="*/ 1181100 h 1533525"/>
              <a:gd name="connsiteX37" fmla="*/ 1233487 w 1266825"/>
              <a:gd name="connsiteY37" fmla="*/ 1181100 h 1533525"/>
              <a:gd name="connsiteX38" fmla="*/ 1228725 w 1266825"/>
              <a:gd name="connsiteY38" fmla="*/ 1223963 h 1533525"/>
              <a:gd name="connsiteX39" fmla="*/ 1226343 w 1266825"/>
              <a:gd name="connsiteY39" fmla="*/ 1243013 h 1533525"/>
              <a:gd name="connsiteX40" fmla="*/ 1216818 w 1266825"/>
              <a:gd name="connsiteY40" fmla="*/ 1264444 h 1533525"/>
              <a:gd name="connsiteX41" fmla="*/ 1190625 w 1266825"/>
              <a:gd name="connsiteY41" fmla="*/ 1238250 h 1533525"/>
              <a:gd name="connsiteX42" fmla="*/ 1157287 w 1266825"/>
              <a:gd name="connsiteY42" fmla="*/ 1209675 h 1533525"/>
              <a:gd name="connsiteX43" fmla="*/ 1131093 w 1266825"/>
              <a:gd name="connsiteY43" fmla="*/ 1185863 h 1533525"/>
              <a:gd name="connsiteX44" fmla="*/ 1107281 w 1266825"/>
              <a:gd name="connsiteY44" fmla="*/ 1219200 h 1533525"/>
              <a:gd name="connsiteX45" fmla="*/ 1104900 w 1266825"/>
              <a:gd name="connsiteY45" fmla="*/ 1264444 h 1533525"/>
              <a:gd name="connsiteX46" fmla="*/ 1062037 w 1266825"/>
              <a:gd name="connsiteY46" fmla="*/ 1259681 h 1533525"/>
              <a:gd name="connsiteX47" fmla="*/ 1026318 w 1266825"/>
              <a:gd name="connsiteY47" fmla="*/ 1288256 h 1533525"/>
              <a:gd name="connsiteX48" fmla="*/ 1007268 w 1266825"/>
              <a:gd name="connsiteY48" fmla="*/ 1240631 h 1533525"/>
              <a:gd name="connsiteX49" fmla="*/ 947737 w 1266825"/>
              <a:gd name="connsiteY49" fmla="*/ 1231106 h 1533525"/>
              <a:gd name="connsiteX50" fmla="*/ 921543 w 1266825"/>
              <a:gd name="connsiteY50" fmla="*/ 1297781 h 1533525"/>
              <a:gd name="connsiteX51" fmla="*/ 885825 w 1266825"/>
              <a:gd name="connsiteY51" fmla="*/ 1278731 h 1533525"/>
              <a:gd name="connsiteX52" fmla="*/ 816768 w 1266825"/>
              <a:gd name="connsiteY52" fmla="*/ 1295400 h 1533525"/>
              <a:gd name="connsiteX53" fmla="*/ 757237 w 1266825"/>
              <a:gd name="connsiteY53" fmla="*/ 1259681 h 1533525"/>
              <a:gd name="connsiteX54" fmla="*/ 742950 w 1266825"/>
              <a:gd name="connsiteY54" fmla="*/ 1312069 h 1533525"/>
              <a:gd name="connsiteX55" fmla="*/ 704850 w 1266825"/>
              <a:gd name="connsiteY55" fmla="*/ 1345406 h 1533525"/>
              <a:gd name="connsiteX56" fmla="*/ 692943 w 1266825"/>
              <a:gd name="connsiteY56" fmla="*/ 1366838 h 1533525"/>
              <a:gd name="connsiteX57" fmla="*/ 671512 w 1266825"/>
              <a:gd name="connsiteY57" fmla="*/ 1509713 h 1533525"/>
              <a:gd name="connsiteX58" fmla="*/ 633412 w 1266825"/>
              <a:gd name="connsiteY58" fmla="*/ 1490663 h 1533525"/>
              <a:gd name="connsiteX59" fmla="*/ 614362 w 1266825"/>
              <a:gd name="connsiteY59" fmla="*/ 1504950 h 1533525"/>
              <a:gd name="connsiteX60" fmla="*/ 581025 w 1266825"/>
              <a:gd name="connsiteY60" fmla="*/ 1531144 h 1533525"/>
              <a:gd name="connsiteX61" fmla="*/ 523875 w 1266825"/>
              <a:gd name="connsiteY61" fmla="*/ 1502569 h 1533525"/>
              <a:gd name="connsiteX62" fmla="*/ 514350 w 1266825"/>
              <a:gd name="connsiteY62" fmla="*/ 1490663 h 1533525"/>
              <a:gd name="connsiteX63" fmla="*/ 483393 w 1266825"/>
              <a:gd name="connsiteY63" fmla="*/ 1533525 h 1533525"/>
              <a:gd name="connsiteX64" fmla="*/ 459581 w 1266825"/>
              <a:gd name="connsiteY64" fmla="*/ 1481138 h 1533525"/>
              <a:gd name="connsiteX65" fmla="*/ 438150 w 1266825"/>
              <a:gd name="connsiteY65" fmla="*/ 1471613 h 1533525"/>
              <a:gd name="connsiteX66" fmla="*/ 400050 w 1266825"/>
              <a:gd name="connsiteY66" fmla="*/ 1485900 h 1533525"/>
              <a:gd name="connsiteX67" fmla="*/ 338137 w 1266825"/>
              <a:gd name="connsiteY67" fmla="*/ 1490663 h 1533525"/>
              <a:gd name="connsiteX68" fmla="*/ 330993 w 1266825"/>
              <a:gd name="connsiteY68" fmla="*/ 1497806 h 1533525"/>
              <a:gd name="connsiteX69" fmla="*/ 271462 w 1266825"/>
              <a:gd name="connsiteY69" fmla="*/ 1471613 h 1533525"/>
              <a:gd name="connsiteX70" fmla="*/ 219075 w 1266825"/>
              <a:gd name="connsiteY70" fmla="*/ 1443038 h 1533525"/>
              <a:gd name="connsiteX71" fmla="*/ 138112 w 1266825"/>
              <a:gd name="connsiteY71" fmla="*/ 1402556 h 1533525"/>
              <a:gd name="connsiteX72" fmla="*/ 95250 w 1266825"/>
              <a:gd name="connsiteY72" fmla="*/ 1316831 h 1533525"/>
              <a:gd name="connsiteX73" fmla="*/ 80962 w 1266825"/>
              <a:gd name="connsiteY73" fmla="*/ 1288256 h 1533525"/>
              <a:gd name="connsiteX74" fmla="*/ 104775 w 1266825"/>
              <a:gd name="connsiteY74" fmla="*/ 1266825 h 1533525"/>
              <a:gd name="connsiteX75" fmla="*/ 76200 w 1266825"/>
              <a:gd name="connsiteY75" fmla="*/ 1212056 h 1533525"/>
              <a:gd name="connsiteX76" fmla="*/ 109537 w 1266825"/>
              <a:gd name="connsiteY76" fmla="*/ 1193006 h 1533525"/>
              <a:gd name="connsiteX77" fmla="*/ 140493 w 1266825"/>
              <a:gd name="connsiteY77" fmla="*/ 1143000 h 1533525"/>
              <a:gd name="connsiteX78" fmla="*/ 123825 w 1266825"/>
              <a:gd name="connsiteY78" fmla="*/ 1107281 h 1533525"/>
              <a:gd name="connsiteX79" fmla="*/ 178593 w 1266825"/>
              <a:gd name="connsiteY79" fmla="*/ 1107281 h 1533525"/>
              <a:gd name="connsiteX80" fmla="*/ 192881 w 1266825"/>
              <a:gd name="connsiteY80" fmla="*/ 1109663 h 1533525"/>
              <a:gd name="connsiteX81" fmla="*/ 159543 w 1266825"/>
              <a:gd name="connsiteY81" fmla="*/ 1064419 h 1533525"/>
              <a:gd name="connsiteX82" fmla="*/ 169068 w 1266825"/>
              <a:gd name="connsiteY82" fmla="*/ 1014413 h 1533525"/>
              <a:gd name="connsiteX83" fmla="*/ 123825 w 1266825"/>
              <a:gd name="connsiteY83" fmla="*/ 997744 h 1533525"/>
              <a:gd name="connsiteX84" fmla="*/ 61912 w 1266825"/>
              <a:gd name="connsiteY84" fmla="*/ 954881 h 1533525"/>
              <a:gd name="connsiteX85" fmla="*/ 45243 w 1266825"/>
              <a:gd name="connsiteY85" fmla="*/ 938213 h 1533525"/>
              <a:gd name="connsiteX86" fmla="*/ 64293 w 1266825"/>
              <a:gd name="connsiteY86" fmla="*/ 909638 h 1533525"/>
              <a:gd name="connsiteX87" fmla="*/ 47625 w 1266825"/>
              <a:gd name="connsiteY87" fmla="*/ 897731 h 1533525"/>
              <a:gd name="connsiteX88" fmla="*/ 47625 w 1266825"/>
              <a:gd name="connsiteY88" fmla="*/ 881063 h 1533525"/>
              <a:gd name="connsiteX89" fmla="*/ 26193 w 1266825"/>
              <a:gd name="connsiteY89" fmla="*/ 881063 h 1533525"/>
              <a:gd name="connsiteX90" fmla="*/ 7143 w 1266825"/>
              <a:gd name="connsiteY90" fmla="*/ 847725 h 1533525"/>
              <a:gd name="connsiteX91" fmla="*/ 0 w 1266825"/>
              <a:gd name="connsiteY91" fmla="*/ 816769 h 1533525"/>
              <a:gd name="connsiteX92" fmla="*/ 54768 w 1266825"/>
              <a:gd name="connsiteY92" fmla="*/ 800100 h 1533525"/>
              <a:gd name="connsiteX93" fmla="*/ 76200 w 1266825"/>
              <a:gd name="connsiteY93" fmla="*/ 788194 h 1533525"/>
              <a:gd name="connsiteX94" fmla="*/ 128587 w 1266825"/>
              <a:gd name="connsiteY94" fmla="*/ 821531 h 1533525"/>
              <a:gd name="connsiteX95" fmla="*/ 126206 w 1266825"/>
              <a:gd name="connsiteY95" fmla="*/ 800100 h 1533525"/>
              <a:gd name="connsiteX96" fmla="*/ 164306 w 1266825"/>
              <a:gd name="connsiteY96" fmla="*/ 795338 h 1533525"/>
              <a:gd name="connsiteX97" fmla="*/ 173831 w 1266825"/>
              <a:gd name="connsiteY97" fmla="*/ 759619 h 1533525"/>
              <a:gd name="connsiteX98" fmla="*/ 235743 w 1266825"/>
              <a:gd name="connsiteY98" fmla="*/ 764381 h 1533525"/>
              <a:gd name="connsiteX99" fmla="*/ 235743 w 1266825"/>
              <a:gd name="connsiteY99" fmla="*/ 764381 h 1533525"/>
              <a:gd name="connsiteX100" fmla="*/ 245268 w 1266825"/>
              <a:gd name="connsiteY100" fmla="*/ 704850 h 1533525"/>
              <a:gd name="connsiteX101" fmla="*/ 276225 w 1266825"/>
              <a:gd name="connsiteY101" fmla="*/ 666750 h 1533525"/>
              <a:gd name="connsiteX102" fmla="*/ 292893 w 1266825"/>
              <a:gd name="connsiteY102" fmla="*/ 638175 h 1533525"/>
              <a:gd name="connsiteX103" fmla="*/ 245268 w 1266825"/>
              <a:gd name="connsiteY103" fmla="*/ 602456 h 1533525"/>
              <a:gd name="connsiteX104" fmla="*/ 264318 w 1266825"/>
              <a:gd name="connsiteY104" fmla="*/ 585788 h 1533525"/>
              <a:gd name="connsiteX105" fmla="*/ 311943 w 1266825"/>
              <a:gd name="connsiteY105" fmla="*/ 602456 h 1533525"/>
              <a:gd name="connsiteX106" fmla="*/ 369093 w 1266825"/>
              <a:gd name="connsiteY106" fmla="*/ 573881 h 1533525"/>
              <a:gd name="connsiteX107" fmla="*/ 457200 w 1266825"/>
              <a:gd name="connsiteY107" fmla="*/ 545306 h 1533525"/>
              <a:gd name="connsiteX108" fmla="*/ 538162 w 1266825"/>
              <a:gd name="connsiteY108" fmla="*/ 578644 h 1533525"/>
              <a:gd name="connsiteX109" fmla="*/ 614362 w 1266825"/>
              <a:gd name="connsiteY109" fmla="*/ 550069 h 1533525"/>
              <a:gd name="connsiteX110" fmla="*/ 650081 w 1266825"/>
              <a:gd name="connsiteY110" fmla="*/ 552450 h 1533525"/>
              <a:gd name="connsiteX111" fmla="*/ 654843 w 1266825"/>
              <a:gd name="connsiteY111" fmla="*/ 523875 h 1533525"/>
              <a:gd name="connsiteX112" fmla="*/ 654843 w 1266825"/>
              <a:gd name="connsiteY112" fmla="*/ 490538 h 1533525"/>
              <a:gd name="connsiteX113" fmla="*/ 669131 w 1266825"/>
              <a:gd name="connsiteY113" fmla="*/ 469106 h 1533525"/>
              <a:gd name="connsiteX114" fmla="*/ 652462 w 1266825"/>
              <a:gd name="connsiteY114" fmla="*/ 450056 h 1533525"/>
              <a:gd name="connsiteX115" fmla="*/ 642937 w 1266825"/>
              <a:gd name="connsiteY115" fmla="*/ 411956 h 1533525"/>
              <a:gd name="connsiteX116" fmla="*/ 642937 w 1266825"/>
              <a:gd name="connsiteY116" fmla="*/ 330994 h 1533525"/>
              <a:gd name="connsiteX117" fmla="*/ 633412 w 1266825"/>
              <a:gd name="connsiteY117" fmla="*/ 319088 h 1533525"/>
              <a:gd name="connsiteX118" fmla="*/ 664368 w 1266825"/>
              <a:gd name="connsiteY118" fmla="*/ 285750 h 1533525"/>
              <a:gd name="connsiteX119" fmla="*/ 721518 w 1266825"/>
              <a:gd name="connsiteY119" fmla="*/ 292894 h 1533525"/>
              <a:gd name="connsiteX120" fmla="*/ 733425 w 1266825"/>
              <a:gd name="connsiteY120" fmla="*/ 264319 h 1533525"/>
              <a:gd name="connsiteX121" fmla="*/ 731043 w 1266825"/>
              <a:gd name="connsiteY121" fmla="*/ 228600 h 1533525"/>
              <a:gd name="connsiteX122" fmla="*/ 790575 w 1266825"/>
              <a:gd name="connsiteY122" fmla="*/ 192881 h 1533525"/>
              <a:gd name="connsiteX123" fmla="*/ 804862 w 1266825"/>
              <a:gd name="connsiteY123" fmla="*/ 166688 h 1533525"/>
              <a:gd name="connsiteX124" fmla="*/ 778668 w 1266825"/>
              <a:gd name="connsiteY124" fmla="*/ 128588 h 1533525"/>
              <a:gd name="connsiteX125" fmla="*/ 771525 w 1266825"/>
              <a:gd name="connsiteY125" fmla="*/ 104775 h 1533525"/>
              <a:gd name="connsiteX126" fmla="*/ 823912 w 1266825"/>
              <a:gd name="connsiteY126" fmla="*/ 97631 h 1533525"/>
              <a:gd name="connsiteX127" fmla="*/ 869156 w 1266825"/>
              <a:gd name="connsiteY127" fmla="*/ 52388 h 1533525"/>
              <a:gd name="connsiteX128" fmla="*/ 890587 w 1266825"/>
              <a:gd name="connsiteY128" fmla="*/ 23813 h 1533525"/>
              <a:gd name="connsiteX129" fmla="*/ 923925 w 1266825"/>
              <a:gd name="connsiteY129" fmla="*/ 9525 h 1533525"/>
              <a:gd name="connsiteX130" fmla="*/ 971550 w 1266825"/>
              <a:gd name="connsiteY130" fmla="*/ 0 h 1533525"/>
              <a:gd name="connsiteX131" fmla="*/ 971550 w 1266825"/>
              <a:gd name="connsiteY131" fmla="*/ 40481 h 1533525"/>
              <a:gd name="connsiteX132" fmla="*/ 950118 w 1266825"/>
              <a:gd name="connsiteY132" fmla="*/ 80963 h 1533525"/>
              <a:gd name="connsiteX133" fmla="*/ 950118 w 1266825"/>
              <a:gd name="connsiteY133" fmla="*/ 140494 h 1533525"/>
              <a:gd name="connsiteX134" fmla="*/ 969168 w 1266825"/>
              <a:gd name="connsiteY134" fmla="*/ 161925 h 1533525"/>
              <a:gd name="connsiteX135" fmla="*/ 1007268 w 1266825"/>
              <a:gd name="connsiteY135" fmla="*/ 188119 h 1533525"/>
              <a:gd name="connsiteX136" fmla="*/ 1019175 w 1266825"/>
              <a:gd name="connsiteY136" fmla="*/ 216694 h 1533525"/>
              <a:gd name="connsiteX137" fmla="*/ 1004887 w 1266825"/>
              <a:gd name="connsiteY137" fmla="*/ 226219 h 1533525"/>
              <a:gd name="connsiteX138" fmla="*/ 1057275 w 1266825"/>
              <a:gd name="connsiteY138" fmla="*/ 250031 h 1533525"/>
              <a:gd name="connsiteX139" fmla="*/ 1073943 w 1266825"/>
              <a:gd name="connsiteY139" fmla="*/ 228600 h 1533525"/>
              <a:gd name="connsiteX140" fmla="*/ 1083468 w 1266825"/>
              <a:gd name="connsiteY140" fmla="*/ 252413 h 1533525"/>
              <a:gd name="connsiteX141" fmla="*/ 1116806 w 1266825"/>
              <a:gd name="connsiteY141" fmla="*/ 252413 h 1533525"/>
              <a:gd name="connsiteX142" fmla="*/ 1123950 w 1266825"/>
              <a:gd name="connsiteY142" fmla="*/ 257175 h 1533525"/>
              <a:gd name="connsiteX143" fmla="*/ 1116806 w 1266825"/>
              <a:gd name="connsiteY143" fmla="*/ 276225 h 1533525"/>
              <a:gd name="connsiteX144" fmla="*/ 1088231 w 1266825"/>
              <a:gd name="connsiteY144" fmla="*/ 309563 h 1533525"/>
              <a:gd name="connsiteX145" fmla="*/ 1123950 w 1266825"/>
              <a:gd name="connsiteY145" fmla="*/ 333375 h 1533525"/>
              <a:gd name="connsiteX146" fmla="*/ 1135856 w 1266825"/>
              <a:gd name="connsiteY146" fmla="*/ 347663 h 1533525"/>
              <a:gd name="connsiteX0" fmla="*/ 1057275 w 1266825"/>
              <a:gd name="connsiteY0" fmla="*/ 264319 h 1533525"/>
              <a:gd name="connsiteX1" fmla="*/ 1062037 w 1266825"/>
              <a:gd name="connsiteY1" fmla="*/ 304800 h 1533525"/>
              <a:gd name="connsiteX2" fmla="*/ 995362 w 1266825"/>
              <a:gd name="connsiteY2" fmla="*/ 352425 h 1533525"/>
              <a:gd name="connsiteX3" fmla="*/ 973931 w 1266825"/>
              <a:gd name="connsiteY3" fmla="*/ 383381 h 1533525"/>
              <a:gd name="connsiteX4" fmla="*/ 1000125 w 1266825"/>
              <a:gd name="connsiteY4" fmla="*/ 428625 h 1533525"/>
              <a:gd name="connsiteX5" fmla="*/ 983456 w 1266825"/>
              <a:gd name="connsiteY5" fmla="*/ 466725 h 1533525"/>
              <a:gd name="connsiteX6" fmla="*/ 1000125 w 1266825"/>
              <a:gd name="connsiteY6" fmla="*/ 519113 h 1533525"/>
              <a:gd name="connsiteX7" fmla="*/ 1033462 w 1266825"/>
              <a:gd name="connsiteY7" fmla="*/ 519113 h 1533525"/>
              <a:gd name="connsiteX8" fmla="*/ 1019175 w 1266825"/>
              <a:gd name="connsiteY8" fmla="*/ 552450 h 1533525"/>
              <a:gd name="connsiteX9" fmla="*/ 1035843 w 1266825"/>
              <a:gd name="connsiteY9" fmla="*/ 590550 h 1533525"/>
              <a:gd name="connsiteX10" fmla="*/ 1035843 w 1266825"/>
              <a:gd name="connsiteY10" fmla="*/ 607219 h 1533525"/>
              <a:gd name="connsiteX11" fmla="*/ 1045368 w 1266825"/>
              <a:gd name="connsiteY11" fmla="*/ 645319 h 1533525"/>
              <a:gd name="connsiteX12" fmla="*/ 1064418 w 1266825"/>
              <a:gd name="connsiteY12" fmla="*/ 645319 h 1533525"/>
              <a:gd name="connsiteX13" fmla="*/ 1078706 w 1266825"/>
              <a:gd name="connsiteY13" fmla="*/ 666750 h 1533525"/>
              <a:gd name="connsiteX14" fmla="*/ 1085850 w 1266825"/>
              <a:gd name="connsiteY14" fmla="*/ 688181 h 1533525"/>
              <a:gd name="connsiteX15" fmla="*/ 1076325 w 1266825"/>
              <a:gd name="connsiteY15" fmla="*/ 719138 h 1533525"/>
              <a:gd name="connsiteX16" fmla="*/ 1021556 w 1266825"/>
              <a:gd name="connsiteY16" fmla="*/ 714375 h 1533525"/>
              <a:gd name="connsiteX17" fmla="*/ 1002506 w 1266825"/>
              <a:gd name="connsiteY17" fmla="*/ 721519 h 1533525"/>
              <a:gd name="connsiteX18" fmla="*/ 995362 w 1266825"/>
              <a:gd name="connsiteY18" fmla="*/ 726281 h 1533525"/>
              <a:gd name="connsiteX19" fmla="*/ 995362 w 1266825"/>
              <a:gd name="connsiteY19" fmla="*/ 726281 h 1533525"/>
              <a:gd name="connsiteX20" fmla="*/ 923925 w 1266825"/>
              <a:gd name="connsiteY20" fmla="*/ 721519 h 1533525"/>
              <a:gd name="connsiteX21" fmla="*/ 940593 w 1266825"/>
              <a:gd name="connsiteY21" fmla="*/ 778669 h 1533525"/>
              <a:gd name="connsiteX22" fmla="*/ 938212 w 1266825"/>
              <a:gd name="connsiteY22" fmla="*/ 847725 h 1533525"/>
              <a:gd name="connsiteX23" fmla="*/ 954881 w 1266825"/>
              <a:gd name="connsiteY23" fmla="*/ 871538 h 1533525"/>
              <a:gd name="connsiteX24" fmla="*/ 997743 w 1266825"/>
              <a:gd name="connsiteY24" fmla="*/ 919163 h 1533525"/>
              <a:gd name="connsiteX25" fmla="*/ 1012031 w 1266825"/>
              <a:gd name="connsiteY25" fmla="*/ 954881 h 1533525"/>
              <a:gd name="connsiteX26" fmla="*/ 1031081 w 1266825"/>
              <a:gd name="connsiteY26" fmla="*/ 954881 h 1533525"/>
              <a:gd name="connsiteX27" fmla="*/ 1071562 w 1266825"/>
              <a:gd name="connsiteY27" fmla="*/ 940594 h 1533525"/>
              <a:gd name="connsiteX28" fmla="*/ 1102518 w 1266825"/>
              <a:gd name="connsiteY28" fmla="*/ 933450 h 1533525"/>
              <a:gd name="connsiteX29" fmla="*/ 1159668 w 1266825"/>
              <a:gd name="connsiteY29" fmla="*/ 997744 h 1533525"/>
              <a:gd name="connsiteX30" fmla="*/ 1178718 w 1266825"/>
              <a:gd name="connsiteY30" fmla="*/ 1052513 h 1533525"/>
              <a:gd name="connsiteX31" fmla="*/ 1190625 w 1266825"/>
              <a:gd name="connsiteY31" fmla="*/ 1081088 h 1533525"/>
              <a:gd name="connsiteX32" fmla="*/ 1212056 w 1266825"/>
              <a:gd name="connsiteY32" fmla="*/ 1109663 h 1533525"/>
              <a:gd name="connsiteX33" fmla="*/ 1231106 w 1266825"/>
              <a:gd name="connsiteY33" fmla="*/ 1102519 h 1533525"/>
              <a:gd name="connsiteX34" fmla="*/ 1231106 w 1266825"/>
              <a:gd name="connsiteY34" fmla="*/ 1131094 h 1533525"/>
              <a:gd name="connsiteX35" fmla="*/ 1233487 w 1266825"/>
              <a:gd name="connsiteY35" fmla="*/ 1145381 h 1533525"/>
              <a:gd name="connsiteX36" fmla="*/ 1266825 w 1266825"/>
              <a:gd name="connsiteY36" fmla="*/ 1181100 h 1533525"/>
              <a:gd name="connsiteX37" fmla="*/ 1233487 w 1266825"/>
              <a:gd name="connsiteY37" fmla="*/ 1181100 h 1533525"/>
              <a:gd name="connsiteX38" fmla="*/ 1228725 w 1266825"/>
              <a:gd name="connsiteY38" fmla="*/ 1223963 h 1533525"/>
              <a:gd name="connsiteX39" fmla="*/ 1226343 w 1266825"/>
              <a:gd name="connsiteY39" fmla="*/ 1243013 h 1533525"/>
              <a:gd name="connsiteX40" fmla="*/ 1216818 w 1266825"/>
              <a:gd name="connsiteY40" fmla="*/ 1264444 h 1533525"/>
              <a:gd name="connsiteX41" fmla="*/ 1190625 w 1266825"/>
              <a:gd name="connsiteY41" fmla="*/ 1238250 h 1533525"/>
              <a:gd name="connsiteX42" fmla="*/ 1157287 w 1266825"/>
              <a:gd name="connsiteY42" fmla="*/ 1209675 h 1533525"/>
              <a:gd name="connsiteX43" fmla="*/ 1131093 w 1266825"/>
              <a:gd name="connsiteY43" fmla="*/ 1185863 h 1533525"/>
              <a:gd name="connsiteX44" fmla="*/ 1107281 w 1266825"/>
              <a:gd name="connsiteY44" fmla="*/ 1219200 h 1533525"/>
              <a:gd name="connsiteX45" fmla="*/ 1104900 w 1266825"/>
              <a:gd name="connsiteY45" fmla="*/ 1264444 h 1533525"/>
              <a:gd name="connsiteX46" fmla="*/ 1062037 w 1266825"/>
              <a:gd name="connsiteY46" fmla="*/ 1259681 h 1533525"/>
              <a:gd name="connsiteX47" fmla="*/ 1026318 w 1266825"/>
              <a:gd name="connsiteY47" fmla="*/ 1288256 h 1533525"/>
              <a:gd name="connsiteX48" fmla="*/ 1007268 w 1266825"/>
              <a:gd name="connsiteY48" fmla="*/ 1240631 h 1533525"/>
              <a:gd name="connsiteX49" fmla="*/ 947737 w 1266825"/>
              <a:gd name="connsiteY49" fmla="*/ 1231106 h 1533525"/>
              <a:gd name="connsiteX50" fmla="*/ 921543 w 1266825"/>
              <a:gd name="connsiteY50" fmla="*/ 1297781 h 1533525"/>
              <a:gd name="connsiteX51" fmla="*/ 885825 w 1266825"/>
              <a:gd name="connsiteY51" fmla="*/ 1278731 h 1533525"/>
              <a:gd name="connsiteX52" fmla="*/ 816768 w 1266825"/>
              <a:gd name="connsiteY52" fmla="*/ 1295400 h 1533525"/>
              <a:gd name="connsiteX53" fmla="*/ 757237 w 1266825"/>
              <a:gd name="connsiteY53" fmla="*/ 1259681 h 1533525"/>
              <a:gd name="connsiteX54" fmla="*/ 742950 w 1266825"/>
              <a:gd name="connsiteY54" fmla="*/ 1312069 h 1533525"/>
              <a:gd name="connsiteX55" fmla="*/ 704850 w 1266825"/>
              <a:gd name="connsiteY55" fmla="*/ 1345406 h 1533525"/>
              <a:gd name="connsiteX56" fmla="*/ 692943 w 1266825"/>
              <a:gd name="connsiteY56" fmla="*/ 1366838 h 1533525"/>
              <a:gd name="connsiteX57" fmla="*/ 671512 w 1266825"/>
              <a:gd name="connsiteY57" fmla="*/ 1509713 h 1533525"/>
              <a:gd name="connsiteX58" fmla="*/ 633412 w 1266825"/>
              <a:gd name="connsiteY58" fmla="*/ 1490663 h 1533525"/>
              <a:gd name="connsiteX59" fmla="*/ 614362 w 1266825"/>
              <a:gd name="connsiteY59" fmla="*/ 1504950 h 1533525"/>
              <a:gd name="connsiteX60" fmla="*/ 581025 w 1266825"/>
              <a:gd name="connsiteY60" fmla="*/ 1531144 h 1533525"/>
              <a:gd name="connsiteX61" fmla="*/ 523875 w 1266825"/>
              <a:gd name="connsiteY61" fmla="*/ 1502569 h 1533525"/>
              <a:gd name="connsiteX62" fmla="*/ 514350 w 1266825"/>
              <a:gd name="connsiteY62" fmla="*/ 1490663 h 1533525"/>
              <a:gd name="connsiteX63" fmla="*/ 483393 w 1266825"/>
              <a:gd name="connsiteY63" fmla="*/ 1533525 h 1533525"/>
              <a:gd name="connsiteX64" fmla="*/ 459581 w 1266825"/>
              <a:gd name="connsiteY64" fmla="*/ 1481138 h 1533525"/>
              <a:gd name="connsiteX65" fmla="*/ 438150 w 1266825"/>
              <a:gd name="connsiteY65" fmla="*/ 1471613 h 1533525"/>
              <a:gd name="connsiteX66" fmla="*/ 400050 w 1266825"/>
              <a:gd name="connsiteY66" fmla="*/ 1485900 h 1533525"/>
              <a:gd name="connsiteX67" fmla="*/ 338137 w 1266825"/>
              <a:gd name="connsiteY67" fmla="*/ 1490663 h 1533525"/>
              <a:gd name="connsiteX68" fmla="*/ 330993 w 1266825"/>
              <a:gd name="connsiteY68" fmla="*/ 1497806 h 1533525"/>
              <a:gd name="connsiteX69" fmla="*/ 271462 w 1266825"/>
              <a:gd name="connsiteY69" fmla="*/ 1471613 h 1533525"/>
              <a:gd name="connsiteX70" fmla="*/ 219075 w 1266825"/>
              <a:gd name="connsiteY70" fmla="*/ 1443038 h 1533525"/>
              <a:gd name="connsiteX71" fmla="*/ 138112 w 1266825"/>
              <a:gd name="connsiteY71" fmla="*/ 1402556 h 1533525"/>
              <a:gd name="connsiteX72" fmla="*/ 95250 w 1266825"/>
              <a:gd name="connsiteY72" fmla="*/ 1316831 h 1533525"/>
              <a:gd name="connsiteX73" fmla="*/ 80962 w 1266825"/>
              <a:gd name="connsiteY73" fmla="*/ 1288256 h 1533525"/>
              <a:gd name="connsiteX74" fmla="*/ 104775 w 1266825"/>
              <a:gd name="connsiteY74" fmla="*/ 1266825 h 1533525"/>
              <a:gd name="connsiteX75" fmla="*/ 76200 w 1266825"/>
              <a:gd name="connsiteY75" fmla="*/ 1212056 h 1533525"/>
              <a:gd name="connsiteX76" fmla="*/ 109537 w 1266825"/>
              <a:gd name="connsiteY76" fmla="*/ 1193006 h 1533525"/>
              <a:gd name="connsiteX77" fmla="*/ 140493 w 1266825"/>
              <a:gd name="connsiteY77" fmla="*/ 1143000 h 1533525"/>
              <a:gd name="connsiteX78" fmla="*/ 123825 w 1266825"/>
              <a:gd name="connsiteY78" fmla="*/ 1107281 h 1533525"/>
              <a:gd name="connsiteX79" fmla="*/ 178593 w 1266825"/>
              <a:gd name="connsiteY79" fmla="*/ 1107281 h 1533525"/>
              <a:gd name="connsiteX80" fmla="*/ 192881 w 1266825"/>
              <a:gd name="connsiteY80" fmla="*/ 1109663 h 1533525"/>
              <a:gd name="connsiteX81" fmla="*/ 159543 w 1266825"/>
              <a:gd name="connsiteY81" fmla="*/ 1064419 h 1533525"/>
              <a:gd name="connsiteX82" fmla="*/ 169068 w 1266825"/>
              <a:gd name="connsiteY82" fmla="*/ 1014413 h 1533525"/>
              <a:gd name="connsiteX83" fmla="*/ 123825 w 1266825"/>
              <a:gd name="connsiteY83" fmla="*/ 997744 h 1533525"/>
              <a:gd name="connsiteX84" fmla="*/ 61912 w 1266825"/>
              <a:gd name="connsiteY84" fmla="*/ 954881 h 1533525"/>
              <a:gd name="connsiteX85" fmla="*/ 45243 w 1266825"/>
              <a:gd name="connsiteY85" fmla="*/ 938213 h 1533525"/>
              <a:gd name="connsiteX86" fmla="*/ 64293 w 1266825"/>
              <a:gd name="connsiteY86" fmla="*/ 909638 h 1533525"/>
              <a:gd name="connsiteX87" fmla="*/ 47625 w 1266825"/>
              <a:gd name="connsiteY87" fmla="*/ 897731 h 1533525"/>
              <a:gd name="connsiteX88" fmla="*/ 47625 w 1266825"/>
              <a:gd name="connsiteY88" fmla="*/ 881063 h 1533525"/>
              <a:gd name="connsiteX89" fmla="*/ 26193 w 1266825"/>
              <a:gd name="connsiteY89" fmla="*/ 881063 h 1533525"/>
              <a:gd name="connsiteX90" fmla="*/ 7143 w 1266825"/>
              <a:gd name="connsiteY90" fmla="*/ 847725 h 1533525"/>
              <a:gd name="connsiteX91" fmla="*/ 0 w 1266825"/>
              <a:gd name="connsiteY91" fmla="*/ 816769 h 1533525"/>
              <a:gd name="connsiteX92" fmla="*/ 54768 w 1266825"/>
              <a:gd name="connsiteY92" fmla="*/ 800100 h 1533525"/>
              <a:gd name="connsiteX93" fmla="*/ 76200 w 1266825"/>
              <a:gd name="connsiteY93" fmla="*/ 788194 h 1533525"/>
              <a:gd name="connsiteX94" fmla="*/ 128587 w 1266825"/>
              <a:gd name="connsiteY94" fmla="*/ 821531 h 1533525"/>
              <a:gd name="connsiteX95" fmla="*/ 126206 w 1266825"/>
              <a:gd name="connsiteY95" fmla="*/ 800100 h 1533525"/>
              <a:gd name="connsiteX96" fmla="*/ 164306 w 1266825"/>
              <a:gd name="connsiteY96" fmla="*/ 795338 h 1533525"/>
              <a:gd name="connsiteX97" fmla="*/ 173831 w 1266825"/>
              <a:gd name="connsiteY97" fmla="*/ 759619 h 1533525"/>
              <a:gd name="connsiteX98" fmla="*/ 235743 w 1266825"/>
              <a:gd name="connsiteY98" fmla="*/ 764381 h 1533525"/>
              <a:gd name="connsiteX99" fmla="*/ 235743 w 1266825"/>
              <a:gd name="connsiteY99" fmla="*/ 764381 h 1533525"/>
              <a:gd name="connsiteX100" fmla="*/ 245268 w 1266825"/>
              <a:gd name="connsiteY100" fmla="*/ 704850 h 1533525"/>
              <a:gd name="connsiteX101" fmla="*/ 276225 w 1266825"/>
              <a:gd name="connsiteY101" fmla="*/ 666750 h 1533525"/>
              <a:gd name="connsiteX102" fmla="*/ 292893 w 1266825"/>
              <a:gd name="connsiteY102" fmla="*/ 638175 h 1533525"/>
              <a:gd name="connsiteX103" fmla="*/ 245268 w 1266825"/>
              <a:gd name="connsiteY103" fmla="*/ 602456 h 1533525"/>
              <a:gd name="connsiteX104" fmla="*/ 264318 w 1266825"/>
              <a:gd name="connsiteY104" fmla="*/ 585788 h 1533525"/>
              <a:gd name="connsiteX105" fmla="*/ 311943 w 1266825"/>
              <a:gd name="connsiteY105" fmla="*/ 602456 h 1533525"/>
              <a:gd name="connsiteX106" fmla="*/ 369093 w 1266825"/>
              <a:gd name="connsiteY106" fmla="*/ 573881 h 1533525"/>
              <a:gd name="connsiteX107" fmla="*/ 457200 w 1266825"/>
              <a:gd name="connsiteY107" fmla="*/ 545306 h 1533525"/>
              <a:gd name="connsiteX108" fmla="*/ 538162 w 1266825"/>
              <a:gd name="connsiteY108" fmla="*/ 578644 h 1533525"/>
              <a:gd name="connsiteX109" fmla="*/ 614362 w 1266825"/>
              <a:gd name="connsiteY109" fmla="*/ 550069 h 1533525"/>
              <a:gd name="connsiteX110" fmla="*/ 650081 w 1266825"/>
              <a:gd name="connsiteY110" fmla="*/ 552450 h 1533525"/>
              <a:gd name="connsiteX111" fmla="*/ 654843 w 1266825"/>
              <a:gd name="connsiteY111" fmla="*/ 523875 h 1533525"/>
              <a:gd name="connsiteX112" fmla="*/ 654843 w 1266825"/>
              <a:gd name="connsiteY112" fmla="*/ 490538 h 1533525"/>
              <a:gd name="connsiteX113" fmla="*/ 669131 w 1266825"/>
              <a:gd name="connsiteY113" fmla="*/ 469106 h 1533525"/>
              <a:gd name="connsiteX114" fmla="*/ 652462 w 1266825"/>
              <a:gd name="connsiteY114" fmla="*/ 450056 h 1533525"/>
              <a:gd name="connsiteX115" fmla="*/ 642937 w 1266825"/>
              <a:gd name="connsiteY115" fmla="*/ 411956 h 1533525"/>
              <a:gd name="connsiteX116" fmla="*/ 642937 w 1266825"/>
              <a:gd name="connsiteY116" fmla="*/ 330994 h 1533525"/>
              <a:gd name="connsiteX117" fmla="*/ 633412 w 1266825"/>
              <a:gd name="connsiteY117" fmla="*/ 319088 h 1533525"/>
              <a:gd name="connsiteX118" fmla="*/ 664368 w 1266825"/>
              <a:gd name="connsiteY118" fmla="*/ 285750 h 1533525"/>
              <a:gd name="connsiteX119" fmla="*/ 721518 w 1266825"/>
              <a:gd name="connsiteY119" fmla="*/ 292894 h 1533525"/>
              <a:gd name="connsiteX120" fmla="*/ 733425 w 1266825"/>
              <a:gd name="connsiteY120" fmla="*/ 264319 h 1533525"/>
              <a:gd name="connsiteX121" fmla="*/ 731043 w 1266825"/>
              <a:gd name="connsiteY121" fmla="*/ 228600 h 1533525"/>
              <a:gd name="connsiteX122" fmla="*/ 790575 w 1266825"/>
              <a:gd name="connsiteY122" fmla="*/ 192881 h 1533525"/>
              <a:gd name="connsiteX123" fmla="*/ 804862 w 1266825"/>
              <a:gd name="connsiteY123" fmla="*/ 166688 h 1533525"/>
              <a:gd name="connsiteX124" fmla="*/ 778668 w 1266825"/>
              <a:gd name="connsiteY124" fmla="*/ 128588 h 1533525"/>
              <a:gd name="connsiteX125" fmla="*/ 771525 w 1266825"/>
              <a:gd name="connsiteY125" fmla="*/ 104775 h 1533525"/>
              <a:gd name="connsiteX126" fmla="*/ 823912 w 1266825"/>
              <a:gd name="connsiteY126" fmla="*/ 97631 h 1533525"/>
              <a:gd name="connsiteX127" fmla="*/ 869156 w 1266825"/>
              <a:gd name="connsiteY127" fmla="*/ 52388 h 1533525"/>
              <a:gd name="connsiteX128" fmla="*/ 890587 w 1266825"/>
              <a:gd name="connsiteY128" fmla="*/ 23813 h 1533525"/>
              <a:gd name="connsiteX129" fmla="*/ 923925 w 1266825"/>
              <a:gd name="connsiteY129" fmla="*/ 9525 h 1533525"/>
              <a:gd name="connsiteX130" fmla="*/ 971550 w 1266825"/>
              <a:gd name="connsiteY130" fmla="*/ 0 h 1533525"/>
              <a:gd name="connsiteX131" fmla="*/ 971550 w 1266825"/>
              <a:gd name="connsiteY131" fmla="*/ 40481 h 1533525"/>
              <a:gd name="connsiteX132" fmla="*/ 950118 w 1266825"/>
              <a:gd name="connsiteY132" fmla="*/ 80963 h 1533525"/>
              <a:gd name="connsiteX133" fmla="*/ 950118 w 1266825"/>
              <a:gd name="connsiteY133" fmla="*/ 140494 h 1533525"/>
              <a:gd name="connsiteX134" fmla="*/ 969168 w 1266825"/>
              <a:gd name="connsiteY134" fmla="*/ 161925 h 1533525"/>
              <a:gd name="connsiteX135" fmla="*/ 1007268 w 1266825"/>
              <a:gd name="connsiteY135" fmla="*/ 188119 h 1533525"/>
              <a:gd name="connsiteX136" fmla="*/ 1019175 w 1266825"/>
              <a:gd name="connsiteY136" fmla="*/ 216694 h 1533525"/>
              <a:gd name="connsiteX137" fmla="*/ 1004887 w 1266825"/>
              <a:gd name="connsiteY137" fmla="*/ 226219 h 1533525"/>
              <a:gd name="connsiteX138" fmla="*/ 1057275 w 1266825"/>
              <a:gd name="connsiteY138" fmla="*/ 250031 h 1533525"/>
              <a:gd name="connsiteX139" fmla="*/ 1073943 w 1266825"/>
              <a:gd name="connsiteY139" fmla="*/ 228600 h 1533525"/>
              <a:gd name="connsiteX140" fmla="*/ 1083468 w 1266825"/>
              <a:gd name="connsiteY140" fmla="*/ 252413 h 1533525"/>
              <a:gd name="connsiteX141" fmla="*/ 1116806 w 1266825"/>
              <a:gd name="connsiteY141" fmla="*/ 252413 h 1533525"/>
              <a:gd name="connsiteX142" fmla="*/ 1123950 w 1266825"/>
              <a:gd name="connsiteY142" fmla="*/ 257175 h 1533525"/>
              <a:gd name="connsiteX143" fmla="*/ 1116806 w 1266825"/>
              <a:gd name="connsiteY143" fmla="*/ 276225 h 1533525"/>
              <a:gd name="connsiteX144" fmla="*/ 1088231 w 1266825"/>
              <a:gd name="connsiteY144" fmla="*/ 309563 h 1533525"/>
              <a:gd name="connsiteX145" fmla="*/ 1123950 w 1266825"/>
              <a:gd name="connsiteY145" fmla="*/ 333375 h 1533525"/>
              <a:gd name="connsiteX0" fmla="*/ 1057275 w 1266825"/>
              <a:gd name="connsiteY0" fmla="*/ 264319 h 1533525"/>
              <a:gd name="connsiteX1" fmla="*/ 1062037 w 1266825"/>
              <a:gd name="connsiteY1" fmla="*/ 304800 h 1533525"/>
              <a:gd name="connsiteX2" fmla="*/ 995362 w 1266825"/>
              <a:gd name="connsiteY2" fmla="*/ 352425 h 1533525"/>
              <a:gd name="connsiteX3" fmla="*/ 973931 w 1266825"/>
              <a:gd name="connsiteY3" fmla="*/ 383381 h 1533525"/>
              <a:gd name="connsiteX4" fmla="*/ 1000125 w 1266825"/>
              <a:gd name="connsiteY4" fmla="*/ 428625 h 1533525"/>
              <a:gd name="connsiteX5" fmla="*/ 983456 w 1266825"/>
              <a:gd name="connsiteY5" fmla="*/ 466725 h 1533525"/>
              <a:gd name="connsiteX6" fmla="*/ 1000125 w 1266825"/>
              <a:gd name="connsiteY6" fmla="*/ 519113 h 1533525"/>
              <a:gd name="connsiteX7" fmla="*/ 1033462 w 1266825"/>
              <a:gd name="connsiteY7" fmla="*/ 519113 h 1533525"/>
              <a:gd name="connsiteX8" fmla="*/ 1019175 w 1266825"/>
              <a:gd name="connsiteY8" fmla="*/ 552450 h 1533525"/>
              <a:gd name="connsiteX9" fmla="*/ 1035843 w 1266825"/>
              <a:gd name="connsiteY9" fmla="*/ 590550 h 1533525"/>
              <a:gd name="connsiteX10" fmla="*/ 1035843 w 1266825"/>
              <a:gd name="connsiteY10" fmla="*/ 607219 h 1533525"/>
              <a:gd name="connsiteX11" fmla="*/ 1045368 w 1266825"/>
              <a:gd name="connsiteY11" fmla="*/ 645319 h 1533525"/>
              <a:gd name="connsiteX12" fmla="*/ 1064418 w 1266825"/>
              <a:gd name="connsiteY12" fmla="*/ 645319 h 1533525"/>
              <a:gd name="connsiteX13" fmla="*/ 1078706 w 1266825"/>
              <a:gd name="connsiteY13" fmla="*/ 666750 h 1533525"/>
              <a:gd name="connsiteX14" fmla="*/ 1085850 w 1266825"/>
              <a:gd name="connsiteY14" fmla="*/ 688181 h 1533525"/>
              <a:gd name="connsiteX15" fmla="*/ 1076325 w 1266825"/>
              <a:gd name="connsiteY15" fmla="*/ 719138 h 1533525"/>
              <a:gd name="connsiteX16" fmla="*/ 1021556 w 1266825"/>
              <a:gd name="connsiteY16" fmla="*/ 714375 h 1533525"/>
              <a:gd name="connsiteX17" fmla="*/ 1002506 w 1266825"/>
              <a:gd name="connsiteY17" fmla="*/ 721519 h 1533525"/>
              <a:gd name="connsiteX18" fmla="*/ 995362 w 1266825"/>
              <a:gd name="connsiteY18" fmla="*/ 726281 h 1533525"/>
              <a:gd name="connsiteX19" fmla="*/ 995362 w 1266825"/>
              <a:gd name="connsiteY19" fmla="*/ 726281 h 1533525"/>
              <a:gd name="connsiteX20" fmla="*/ 923925 w 1266825"/>
              <a:gd name="connsiteY20" fmla="*/ 721519 h 1533525"/>
              <a:gd name="connsiteX21" fmla="*/ 940593 w 1266825"/>
              <a:gd name="connsiteY21" fmla="*/ 778669 h 1533525"/>
              <a:gd name="connsiteX22" fmla="*/ 938212 w 1266825"/>
              <a:gd name="connsiteY22" fmla="*/ 847725 h 1533525"/>
              <a:gd name="connsiteX23" fmla="*/ 954881 w 1266825"/>
              <a:gd name="connsiteY23" fmla="*/ 871538 h 1533525"/>
              <a:gd name="connsiteX24" fmla="*/ 997743 w 1266825"/>
              <a:gd name="connsiteY24" fmla="*/ 919163 h 1533525"/>
              <a:gd name="connsiteX25" fmla="*/ 1012031 w 1266825"/>
              <a:gd name="connsiteY25" fmla="*/ 954881 h 1533525"/>
              <a:gd name="connsiteX26" fmla="*/ 1031081 w 1266825"/>
              <a:gd name="connsiteY26" fmla="*/ 954881 h 1533525"/>
              <a:gd name="connsiteX27" fmla="*/ 1071562 w 1266825"/>
              <a:gd name="connsiteY27" fmla="*/ 940594 h 1533525"/>
              <a:gd name="connsiteX28" fmla="*/ 1102518 w 1266825"/>
              <a:gd name="connsiteY28" fmla="*/ 933450 h 1533525"/>
              <a:gd name="connsiteX29" fmla="*/ 1159668 w 1266825"/>
              <a:gd name="connsiteY29" fmla="*/ 997744 h 1533525"/>
              <a:gd name="connsiteX30" fmla="*/ 1178718 w 1266825"/>
              <a:gd name="connsiteY30" fmla="*/ 1052513 h 1533525"/>
              <a:gd name="connsiteX31" fmla="*/ 1190625 w 1266825"/>
              <a:gd name="connsiteY31" fmla="*/ 1081088 h 1533525"/>
              <a:gd name="connsiteX32" fmla="*/ 1212056 w 1266825"/>
              <a:gd name="connsiteY32" fmla="*/ 1109663 h 1533525"/>
              <a:gd name="connsiteX33" fmla="*/ 1231106 w 1266825"/>
              <a:gd name="connsiteY33" fmla="*/ 1102519 h 1533525"/>
              <a:gd name="connsiteX34" fmla="*/ 1231106 w 1266825"/>
              <a:gd name="connsiteY34" fmla="*/ 1131094 h 1533525"/>
              <a:gd name="connsiteX35" fmla="*/ 1233487 w 1266825"/>
              <a:gd name="connsiteY35" fmla="*/ 1145381 h 1533525"/>
              <a:gd name="connsiteX36" fmla="*/ 1266825 w 1266825"/>
              <a:gd name="connsiteY36" fmla="*/ 1181100 h 1533525"/>
              <a:gd name="connsiteX37" fmla="*/ 1233487 w 1266825"/>
              <a:gd name="connsiteY37" fmla="*/ 1181100 h 1533525"/>
              <a:gd name="connsiteX38" fmla="*/ 1228725 w 1266825"/>
              <a:gd name="connsiteY38" fmla="*/ 1223963 h 1533525"/>
              <a:gd name="connsiteX39" fmla="*/ 1226343 w 1266825"/>
              <a:gd name="connsiteY39" fmla="*/ 1243013 h 1533525"/>
              <a:gd name="connsiteX40" fmla="*/ 1216818 w 1266825"/>
              <a:gd name="connsiteY40" fmla="*/ 1264444 h 1533525"/>
              <a:gd name="connsiteX41" fmla="*/ 1190625 w 1266825"/>
              <a:gd name="connsiteY41" fmla="*/ 1238250 h 1533525"/>
              <a:gd name="connsiteX42" fmla="*/ 1157287 w 1266825"/>
              <a:gd name="connsiteY42" fmla="*/ 1209675 h 1533525"/>
              <a:gd name="connsiteX43" fmla="*/ 1131093 w 1266825"/>
              <a:gd name="connsiteY43" fmla="*/ 1185863 h 1533525"/>
              <a:gd name="connsiteX44" fmla="*/ 1107281 w 1266825"/>
              <a:gd name="connsiteY44" fmla="*/ 1219200 h 1533525"/>
              <a:gd name="connsiteX45" fmla="*/ 1104900 w 1266825"/>
              <a:gd name="connsiteY45" fmla="*/ 1264444 h 1533525"/>
              <a:gd name="connsiteX46" fmla="*/ 1062037 w 1266825"/>
              <a:gd name="connsiteY46" fmla="*/ 1259681 h 1533525"/>
              <a:gd name="connsiteX47" fmla="*/ 1026318 w 1266825"/>
              <a:gd name="connsiteY47" fmla="*/ 1288256 h 1533525"/>
              <a:gd name="connsiteX48" fmla="*/ 1007268 w 1266825"/>
              <a:gd name="connsiteY48" fmla="*/ 1240631 h 1533525"/>
              <a:gd name="connsiteX49" fmla="*/ 947737 w 1266825"/>
              <a:gd name="connsiteY49" fmla="*/ 1231106 h 1533525"/>
              <a:gd name="connsiteX50" fmla="*/ 921543 w 1266825"/>
              <a:gd name="connsiteY50" fmla="*/ 1297781 h 1533525"/>
              <a:gd name="connsiteX51" fmla="*/ 885825 w 1266825"/>
              <a:gd name="connsiteY51" fmla="*/ 1278731 h 1533525"/>
              <a:gd name="connsiteX52" fmla="*/ 816768 w 1266825"/>
              <a:gd name="connsiteY52" fmla="*/ 1295400 h 1533525"/>
              <a:gd name="connsiteX53" fmla="*/ 757237 w 1266825"/>
              <a:gd name="connsiteY53" fmla="*/ 1259681 h 1533525"/>
              <a:gd name="connsiteX54" fmla="*/ 742950 w 1266825"/>
              <a:gd name="connsiteY54" fmla="*/ 1312069 h 1533525"/>
              <a:gd name="connsiteX55" fmla="*/ 704850 w 1266825"/>
              <a:gd name="connsiteY55" fmla="*/ 1345406 h 1533525"/>
              <a:gd name="connsiteX56" fmla="*/ 692943 w 1266825"/>
              <a:gd name="connsiteY56" fmla="*/ 1366838 h 1533525"/>
              <a:gd name="connsiteX57" fmla="*/ 671512 w 1266825"/>
              <a:gd name="connsiteY57" fmla="*/ 1509713 h 1533525"/>
              <a:gd name="connsiteX58" fmla="*/ 633412 w 1266825"/>
              <a:gd name="connsiteY58" fmla="*/ 1490663 h 1533525"/>
              <a:gd name="connsiteX59" fmla="*/ 614362 w 1266825"/>
              <a:gd name="connsiteY59" fmla="*/ 1504950 h 1533525"/>
              <a:gd name="connsiteX60" fmla="*/ 581025 w 1266825"/>
              <a:gd name="connsiteY60" fmla="*/ 1531144 h 1533525"/>
              <a:gd name="connsiteX61" fmla="*/ 523875 w 1266825"/>
              <a:gd name="connsiteY61" fmla="*/ 1502569 h 1533525"/>
              <a:gd name="connsiteX62" fmla="*/ 514350 w 1266825"/>
              <a:gd name="connsiteY62" fmla="*/ 1490663 h 1533525"/>
              <a:gd name="connsiteX63" fmla="*/ 483393 w 1266825"/>
              <a:gd name="connsiteY63" fmla="*/ 1533525 h 1533525"/>
              <a:gd name="connsiteX64" fmla="*/ 459581 w 1266825"/>
              <a:gd name="connsiteY64" fmla="*/ 1481138 h 1533525"/>
              <a:gd name="connsiteX65" fmla="*/ 438150 w 1266825"/>
              <a:gd name="connsiteY65" fmla="*/ 1471613 h 1533525"/>
              <a:gd name="connsiteX66" fmla="*/ 400050 w 1266825"/>
              <a:gd name="connsiteY66" fmla="*/ 1485900 h 1533525"/>
              <a:gd name="connsiteX67" fmla="*/ 338137 w 1266825"/>
              <a:gd name="connsiteY67" fmla="*/ 1490663 h 1533525"/>
              <a:gd name="connsiteX68" fmla="*/ 330993 w 1266825"/>
              <a:gd name="connsiteY68" fmla="*/ 1497806 h 1533525"/>
              <a:gd name="connsiteX69" fmla="*/ 271462 w 1266825"/>
              <a:gd name="connsiteY69" fmla="*/ 1471613 h 1533525"/>
              <a:gd name="connsiteX70" fmla="*/ 219075 w 1266825"/>
              <a:gd name="connsiteY70" fmla="*/ 1443038 h 1533525"/>
              <a:gd name="connsiteX71" fmla="*/ 138112 w 1266825"/>
              <a:gd name="connsiteY71" fmla="*/ 1402556 h 1533525"/>
              <a:gd name="connsiteX72" fmla="*/ 95250 w 1266825"/>
              <a:gd name="connsiteY72" fmla="*/ 1316831 h 1533525"/>
              <a:gd name="connsiteX73" fmla="*/ 80962 w 1266825"/>
              <a:gd name="connsiteY73" fmla="*/ 1288256 h 1533525"/>
              <a:gd name="connsiteX74" fmla="*/ 104775 w 1266825"/>
              <a:gd name="connsiteY74" fmla="*/ 1266825 h 1533525"/>
              <a:gd name="connsiteX75" fmla="*/ 76200 w 1266825"/>
              <a:gd name="connsiteY75" fmla="*/ 1212056 h 1533525"/>
              <a:gd name="connsiteX76" fmla="*/ 109537 w 1266825"/>
              <a:gd name="connsiteY76" fmla="*/ 1193006 h 1533525"/>
              <a:gd name="connsiteX77" fmla="*/ 140493 w 1266825"/>
              <a:gd name="connsiteY77" fmla="*/ 1143000 h 1533525"/>
              <a:gd name="connsiteX78" fmla="*/ 123825 w 1266825"/>
              <a:gd name="connsiteY78" fmla="*/ 1107281 h 1533525"/>
              <a:gd name="connsiteX79" fmla="*/ 178593 w 1266825"/>
              <a:gd name="connsiteY79" fmla="*/ 1107281 h 1533525"/>
              <a:gd name="connsiteX80" fmla="*/ 192881 w 1266825"/>
              <a:gd name="connsiteY80" fmla="*/ 1109663 h 1533525"/>
              <a:gd name="connsiteX81" fmla="*/ 159543 w 1266825"/>
              <a:gd name="connsiteY81" fmla="*/ 1064419 h 1533525"/>
              <a:gd name="connsiteX82" fmla="*/ 169068 w 1266825"/>
              <a:gd name="connsiteY82" fmla="*/ 1014413 h 1533525"/>
              <a:gd name="connsiteX83" fmla="*/ 123825 w 1266825"/>
              <a:gd name="connsiteY83" fmla="*/ 997744 h 1533525"/>
              <a:gd name="connsiteX84" fmla="*/ 61912 w 1266825"/>
              <a:gd name="connsiteY84" fmla="*/ 954881 h 1533525"/>
              <a:gd name="connsiteX85" fmla="*/ 45243 w 1266825"/>
              <a:gd name="connsiteY85" fmla="*/ 938213 h 1533525"/>
              <a:gd name="connsiteX86" fmla="*/ 64293 w 1266825"/>
              <a:gd name="connsiteY86" fmla="*/ 909638 h 1533525"/>
              <a:gd name="connsiteX87" fmla="*/ 47625 w 1266825"/>
              <a:gd name="connsiteY87" fmla="*/ 897731 h 1533525"/>
              <a:gd name="connsiteX88" fmla="*/ 47625 w 1266825"/>
              <a:gd name="connsiteY88" fmla="*/ 881063 h 1533525"/>
              <a:gd name="connsiteX89" fmla="*/ 26193 w 1266825"/>
              <a:gd name="connsiteY89" fmla="*/ 881063 h 1533525"/>
              <a:gd name="connsiteX90" fmla="*/ 7143 w 1266825"/>
              <a:gd name="connsiteY90" fmla="*/ 847725 h 1533525"/>
              <a:gd name="connsiteX91" fmla="*/ 0 w 1266825"/>
              <a:gd name="connsiteY91" fmla="*/ 816769 h 1533525"/>
              <a:gd name="connsiteX92" fmla="*/ 54768 w 1266825"/>
              <a:gd name="connsiteY92" fmla="*/ 800100 h 1533525"/>
              <a:gd name="connsiteX93" fmla="*/ 76200 w 1266825"/>
              <a:gd name="connsiteY93" fmla="*/ 788194 h 1533525"/>
              <a:gd name="connsiteX94" fmla="*/ 128587 w 1266825"/>
              <a:gd name="connsiteY94" fmla="*/ 821531 h 1533525"/>
              <a:gd name="connsiteX95" fmla="*/ 126206 w 1266825"/>
              <a:gd name="connsiteY95" fmla="*/ 800100 h 1533525"/>
              <a:gd name="connsiteX96" fmla="*/ 164306 w 1266825"/>
              <a:gd name="connsiteY96" fmla="*/ 795338 h 1533525"/>
              <a:gd name="connsiteX97" fmla="*/ 173831 w 1266825"/>
              <a:gd name="connsiteY97" fmla="*/ 759619 h 1533525"/>
              <a:gd name="connsiteX98" fmla="*/ 235743 w 1266825"/>
              <a:gd name="connsiteY98" fmla="*/ 764381 h 1533525"/>
              <a:gd name="connsiteX99" fmla="*/ 235743 w 1266825"/>
              <a:gd name="connsiteY99" fmla="*/ 764381 h 1533525"/>
              <a:gd name="connsiteX100" fmla="*/ 245268 w 1266825"/>
              <a:gd name="connsiteY100" fmla="*/ 704850 h 1533525"/>
              <a:gd name="connsiteX101" fmla="*/ 276225 w 1266825"/>
              <a:gd name="connsiteY101" fmla="*/ 666750 h 1533525"/>
              <a:gd name="connsiteX102" fmla="*/ 292893 w 1266825"/>
              <a:gd name="connsiteY102" fmla="*/ 638175 h 1533525"/>
              <a:gd name="connsiteX103" fmla="*/ 245268 w 1266825"/>
              <a:gd name="connsiteY103" fmla="*/ 602456 h 1533525"/>
              <a:gd name="connsiteX104" fmla="*/ 264318 w 1266825"/>
              <a:gd name="connsiteY104" fmla="*/ 585788 h 1533525"/>
              <a:gd name="connsiteX105" fmla="*/ 311943 w 1266825"/>
              <a:gd name="connsiteY105" fmla="*/ 602456 h 1533525"/>
              <a:gd name="connsiteX106" fmla="*/ 369093 w 1266825"/>
              <a:gd name="connsiteY106" fmla="*/ 573881 h 1533525"/>
              <a:gd name="connsiteX107" fmla="*/ 457200 w 1266825"/>
              <a:gd name="connsiteY107" fmla="*/ 545306 h 1533525"/>
              <a:gd name="connsiteX108" fmla="*/ 538162 w 1266825"/>
              <a:gd name="connsiteY108" fmla="*/ 578644 h 1533525"/>
              <a:gd name="connsiteX109" fmla="*/ 614362 w 1266825"/>
              <a:gd name="connsiteY109" fmla="*/ 550069 h 1533525"/>
              <a:gd name="connsiteX110" fmla="*/ 650081 w 1266825"/>
              <a:gd name="connsiteY110" fmla="*/ 552450 h 1533525"/>
              <a:gd name="connsiteX111" fmla="*/ 654843 w 1266825"/>
              <a:gd name="connsiteY111" fmla="*/ 523875 h 1533525"/>
              <a:gd name="connsiteX112" fmla="*/ 654843 w 1266825"/>
              <a:gd name="connsiteY112" fmla="*/ 490538 h 1533525"/>
              <a:gd name="connsiteX113" fmla="*/ 669131 w 1266825"/>
              <a:gd name="connsiteY113" fmla="*/ 469106 h 1533525"/>
              <a:gd name="connsiteX114" fmla="*/ 652462 w 1266825"/>
              <a:gd name="connsiteY114" fmla="*/ 450056 h 1533525"/>
              <a:gd name="connsiteX115" fmla="*/ 642937 w 1266825"/>
              <a:gd name="connsiteY115" fmla="*/ 411956 h 1533525"/>
              <a:gd name="connsiteX116" fmla="*/ 642937 w 1266825"/>
              <a:gd name="connsiteY116" fmla="*/ 330994 h 1533525"/>
              <a:gd name="connsiteX117" fmla="*/ 633412 w 1266825"/>
              <a:gd name="connsiteY117" fmla="*/ 319088 h 1533525"/>
              <a:gd name="connsiteX118" fmla="*/ 664368 w 1266825"/>
              <a:gd name="connsiteY118" fmla="*/ 285750 h 1533525"/>
              <a:gd name="connsiteX119" fmla="*/ 721518 w 1266825"/>
              <a:gd name="connsiteY119" fmla="*/ 292894 h 1533525"/>
              <a:gd name="connsiteX120" fmla="*/ 733425 w 1266825"/>
              <a:gd name="connsiteY120" fmla="*/ 264319 h 1533525"/>
              <a:gd name="connsiteX121" fmla="*/ 731043 w 1266825"/>
              <a:gd name="connsiteY121" fmla="*/ 228600 h 1533525"/>
              <a:gd name="connsiteX122" fmla="*/ 790575 w 1266825"/>
              <a:gd name="connsiteY122" fmla="*/ 192881 h 1533525"/>
              <a:gd name="connsiteX123" fmla="*/ 804862 w 1266825"/>
              <a:gd name="connsiteY123" fmla="*/ 166688 h 1533525"/>
              <a:gd name="connsiteX124" fmla="*/ 778668 w 1266825"/>
              <a:gd name="connsiteY124" fmla="*/ 128588 h 1533525"/>
              <a:gd name="connsiteX125" fmla="*/ 771525 w 1266825"/>
              <a:gd name="connsiteY125" fmla="*/ 104775 h 1533525"/>
              <a:gd name="connsiteX126" fmla="*/ 823912 w 1266825"/>
              <a:gd name="connsiteY126" fmla="*/ 97631 h 1533525"/>
              <a:gd name="connsiteX127" fmla="*/ 869156 w 1266825"/>
              <a:gd name="connsiteY127" fmla="*/ 52388 h 1533525"/>
              <a:gd name="connsiteX128" fmla="*/ 890587 w 1266825"/>
              <a:gd name="connsiteY128" fmla="*/ 23813 h 1533525"/>
              <a:gd name="connsiteX129" fmla="*/ 923925 w 1266825"/>
              <a:gd name="connsiteY129" fmla="*/ 9525 h 1533525"/>
              <a:gd name="connsiteX130" fmla="*/ 971550 w 1266825"/>
              <a:gd name="connsiteY130" fmla="*/ 0 h 1533525"/>
              <a:gd name="connsiteX131" fmla="*/ 971550 w 1266825"/>
              <a:gd name="connsiteY131" fmla="*/ 40481 h 1533525"/>
              <a:gd name="connsiteX132" fmla="*/ 950118 w 1266825"/>
              <a:gd name="connsiteY132" fmla="*/ 80963 h 1533525"/>
              <a:gd name="connsiteX133" fmla="*/ 950118 w 1266825"/>
              <a:gd name="connsiteY133" fmla="*/ 140494 h 1533525"/>
              <a:gd name="connsiteX134" fmla="*/ 969168 w 1266825"/>
              <a:gd name="connsiteY134" fmla="*/ 161925 h 1533525"/>
              <a:gd name="connsiteX135" fmla="*/ 1007268 w 1266825"/>
              <a:gd name="connsiteY135" fmla="*/ 188119 h 1533525"/>
              <a:gd name="connsiteX136" fmla="*/ 1019175 w 1266825"/>
              <a:gd name="connsiteY136" fmla="*/ 216694 h 1533525"/>
              <a:gd name="connsiteX137" fmla="*/ 1004887 w 1266825"/>
              <a:gd name="connsiteY137" fmla="*/ 226219 h 1533525"/>
              <a:gd name="connsiteX138" fmla="*/ 1057275 w 1266825"/>
              <a:gd name="connsiteY138" fmla="*/ 250031 h 1533525"/>
              <a:gd name="connsiteX139" fmla="*/ 1073943 w 1266825"/>
              <a:gd name="connsiteY139" fmla="*/ 228600 h 1533525"/>
              <a:gd name="connsiteX140" fmla="*/ 1083468 w 1266825"/>
              <a:gd name="connsiteY140" fmla="*/ 252413 h 1533525"/>
              <a:gd name="connsiteX141" fmla="*/ 1116806 w 1266825"/>
              <a:gd name="connsiteY141" fmla="*/ 252413 h 1533525"/>
              <a:gd name="connsiteX142" fmla="*/ 1123950 w 1266825"/>
              <a:gd name="connsiteY142" fmla="*/ 257175 h 1533525"/>
              <a:gd name="connsiteX143" fmla="*/ 1116806 w 1266825"/>
              <a:gd name="connsiteY143" fmla="*/ 276225 h 1533525"/>
              <a:gd name="connsiteX144" fmla="*/ 1088231 w 1266825"/>
              <a:gd name="connsiteY144" fmla="*/ 309563 h 1533525"/>
              <a:gd name="connsiteX0" fmla="*/ 1057275 w 1266825"/>
              <a:gd name="connsiteY0" fmla="*/ 264319 h 1533525"/>
              <a:gd name="connsiteX1" fmla="*/ 1062037 w 1266825"/>
              <a:gd name="connsiteY1" fmla="*/ 304800 h 1533525"/>
              <a:gd name="connsiteX2" fmla="*/ 995362 w 1266825"/>
              <a:gd name="connsiteY2" fmla="*/ 352425 h 1533525"/>
              <a:gd name="connsiteX3" fmla="*/ 973931 w 1266825"/>
              <a:gd name="connsiteY3" fmla="*/ 383381 h 1533525"/>
              <a:gd name="connsiteX4" fmla="*/ 1000125 w 1266825"/>
              <a:gd name="connsiteY4" fmla="*/ 428625 h 1533525"/>
              <a:gd name="connsiteX5" fmla="*/ 983456 w 1266825"/>
              <a:gd name="connsiteY5" fmla="*/ 466725 h 1533525"/>
              <a:gd name="connsiteX6" fmla="*/ 1000125 w 1266825"/>
              <a:gd name="connsiteY6" fmla="*/ 519113 h 1533525"/>
              <a:gd name="connsiteX7" fmla="*/ 1033462 w 1266825"/>
              <a:gd name="connsiteY7" fmla="*/ 519113 h 1533525"/>
              <a:gd name="connsiteX8" fmla="*/ 1019175 w 1266825"/>
              <a:gd name="connsiteY8" fmla="*/ 552450 h 1533525"/>
              <a:gd name="connsiteX9" fmla="*/ 1035843 w 1266825"/>
              <a:gd name="connsiteY9" fmla="*/ 590550 h 1533525"/>
              <a:gd name="connsiteX10" fmla="*/ 1035843 w 1266825"/>
              <a:gd name="connsiteY10" fmla="*/ 607219 h 1533525"/>
              <a:gd name="connsiteX11" fmla="*/ 1045368 w 1266825"/>
              <a:gd name="connsiteY11" fmla="*/ 645319 h 1533525"/>
              <a:gd name="connsiteX12" fmla="*/ 1064418 w 1266825"/>
              <a:gd name="connsiteY12" fmla="*/ 645319 h 1533525"/>
              <a:gd name="connsiteX13" fmla="*/ 1078706 w 1266825"/>
              <a:gd name="connsiteY13" fmla="*/ 666750 h 1533525"/>
              <a:gd name="connsiteX14" fmla="*/ 1085850 w 1266825"/>
              <a:gd name="connsiteY14" fmla="*/ 688181 h 1533525"/>
              <a:gd name="connsiteX15" fmla="*/ 1076325 w 1266825"/>
              <a:gd name="connsiteY15" fmla="*/ 719138 h 1533525"/>
              <a:gd name="connsiteX16" fmla="*/ 1021556 w 1266825"/>
              <a:gd name="connsiteY16" fmla="*/ 714375 h 1533525"/>
              <a:gd name="connsiteX17" fmla="*/ 1002506 w 1266825"/>
              <a:gd name="connsiteY17" fmla="*/ 721519 h 1533525"/>
              <a:gd name="connsiteX18" fmla="*/ 995362 w 1266825"/>
              <a:gd name="connsiteY18" fmla="*/ 726281 h 1533525"/>
              <a:gd name="connsiteX19" fmla="*/ 995362 w 1266825"/>
              <a:gd name="connsiteY19" fmla="*/ 726281 h 1533525"/>
              <a:gd name="connsiteX20" fmla="*/ 923925 w 1266825"/>
              <a:gd name="connsiteY20" fmla="*/ 721519 h 1533525"/>
              <a:gd name="connsiteX21" fmla="*/ 940593 w 1266825"/>
              <a:gd name="connsiteY21" fmla="*/ 778669 h 1533525"/>
              <a:gd name="connsiteX22" fmla="*/ 938212 w 1266825"/>
              <a:gd name="connsiteY22" fmla="*/ 847725 h 1533525"/>
              <a:gd name="connsiteX23" fmla="*/ 954881 w 1266825"/>
              <a:gd name="connsiteY23" fmla="*/ 871538 h 1533525"/>
              <a:gd name="connsiteX24" fmla="*/ 997743 w 1266825"/>
              <a:gd name="connsiteY24" fmla="*/ 919163 h 1533525"/>
              <a:gd name="connsiteX25" fmla="*/ 1012031 w 1266825"/>
              <a:gd name="connsiteY25" fmla="*/ 954881 h 1533525"/>
              <a:gd name="connsiteX26" fmla="*/ 1031081 w 1266825"/>
              <a:gd name="connsiteY26" fmla="*/ 954881 h 1533525"/>
              <a:gd name="connsiteX27" fmla="*/ 1071562 w 1266825"/>
              <a:gd name="connsiteY27" fmla="*/ 940594 h 1533525"/>
              <a:gd name="connsiteX28" fmla="*/ 1102518 w 1266825"/>
              <a:gd name="connsiteY28" fmla="*/ 933450 h 1533525"/>
              <a:gd name="connsiteX29" fmla="*/ 1159668 w 1266825"/>
              <a:gd name="connsiteY29" fmla="*/ 997744 h 1533525"/>
              <a:gd name="connsiteX30" fmla="*/ 1178718 w 1266825"/>
              <a:gd name="connsiteY30" fmla="*/ 1052513 h 1533525"/>
              <a:gd name="connsiteX31" fmla="*/ 1190625 w 1266825"/>
              <a:gd name="connsiteY31" fmla="*/ 1081088 h 1533525"/>
              <a:gd name="connsiteX32" fmla="*/ 1212056 w 1266825"/>
              <a:gd name="connsiteY32" fmla="*/ 1109663 h 1533525"/>
              <a:gd name="connsiteX33" fmla="*/ 1231106 w 1266825"/>
              <a:gd name="connsiteY33" fmla="*/ 1102519 h 1533525"/>
              <a:gd name="connsiteX34" fmla="*/ 1231106 w 1266825"/>
              <a:gd name="connsiteY34" fmla="*/ 1131094 h 1533525"/>
              <a:gd name="connsiteX35" fmla="*/ 1233487 w 1266825"/>
              <a:gd name="connsiteY35" fmla="*/ 1145381 h 1533525"/>
              <a:gd name="connsiteX36" fmla="*/ 1266825 w 1266825"/>
              <a:gd name="connsiteY36" fmla="*/ 1181100 h 1533525"/>
              <a:gd name="connsiteX37" fmla="*/ 1233487 w 1266825"/>
              <a:gd name="connsiteY37" fmla="*/ 1181100 h 1533525"/>
              <a:gd name="connsiteX38" fmla="*/ 1228725 w 1266825"/>
              <a:gd name="connsiteY38" fmla="*/ 1223963 h 1533525"/>
              <a:gd name="connsiteX39" fmla="*/ 1226343 w 1266825"/>
              <a:gd name="connsiteY39" fmla="*/ 1243013 h 1533525"/>
              <a:gd name="connsiteX40" fmla="*/ 1216818 w 1266825"/>
              <a:gd name="connsiteY40" fmla="*/ 1264444 h 1533525"/>
              <a:gd name="connsiteX41" fmla="*/ 1190625 w 1266825"/>
              <a:gd name="connsiteY41" fmla="*/ 1238250 h 1533525"/>
              <a:gd name="connsiteX42" fmla="*/ 1157287 w 1266825"/>
              <a:gd name="connsiteY42" fmla="*/ 1209675 h 1533525"/>
              <a:gd name="connsiteX43" fmla="*/ 1131093 w 1266825"/>
              <a:gd name="connsiteY43" fmla="*/ 1185863 h 1533525"/>
              <a:gd name="connsiteX44" fmla="*/ 1107281 w 1266825"/>
              <a:gd name="connsiteY44" fmla="*/ 1219200 h 1533525"/>
              <a:gd name="connsiteX45" fmla="*/ 1104900 w 1266825"/>
              <a:gd name="connsiteY45" fmla="*/ 1264444 h 1533525"/>
              <a:gd name="connsiteX46" fmla="*/ 1062037 w 1266825"/>
              <a:gd name="connsiteY46" fmla="*/ 1259681 h 1533525"/>
              <a:gd name="connsiteX47" fmla="*/ 1026318 w 1266825"/>
              <a:gd name="connsiteY47" fmla="*/ 1288256 h 1533525"/>
              <a:gd name="connsiteX48" fmla="*/ 1007268 w 1266825"/>
              <a:gd name="connsiteY48" fmla="*/ 1240631 h 1533525"/>
              <a:gd name="connsiteX49" fmla="*/ 947737 w 1266825"/>
              <a:gd name="connsiteY49" fmla="*/ 1231106 h 1533525"/>
              <a:gd name="connsiteX50" fmla="*/ 921543 w 1266825"/>
              <a:gd name="connsiteY50" fmla="*/ 1297781 h 1533525"/>
              <a:gd name="connsiteX51" fmla="*/ 885825 w 1266825"/>
              <a:gd name="connsiteY51" fmla="*/ 1278731 h 1533525"/>
              <a:gd name="connsiteX52" fmla="*/ 816768 w 1266825"/>
              <a:gd name="connsiteY52" fmla="*/ 1295400 h 1533525"/>
              <a:gd name="connsiteX53" fmla="*/ 757237 w 1266825"/>
              <a:gd name="connsiteY53" fmla="*/ 1259681 h 1533525"/>
              <a:gd name="connsiteX54" fmla="*/ 742950 w 1266825"/>
              <a:gd name="connsiteY54" fmla="*/ 1312069 h 1533525"/>
              <a:gd name="connsiteX55" fmla="*/ 704850 w 1266825"/>
              <a:gd name="connsiteY55" fmla="*/ 1345406 h 1533525"/>
              <a:gd name="connsiteX56" fmla="*/ 692943 w 1266825"/>
              <a:gd name="connsiteY56" fmla="*/ 1366838 h 1533525"/>
              <a:gd name="connsiteX57" fmla="*/ 671512 w 1266825"/>
              <a:gd name="connsiteY57" fmla="*/ 1509713 h 1533525"/>
              <a:gd name="connsiteX58" fmla="*/ 633412 w 1266825"/>
              <a:gd name="connsiteY58" fmla="*/ 1490663 h 1533525"/>
              <a:gd name="connsiteX59" fmla="*/ 614362 w 1266825"/>
              <a:gd name="connsiteY59" fmla="*/ 1504950 h 1533525"/>
              <a:gd name="connsiteX60" fmla="*/ 581025 w 1266825"/>
              <a:gd name="connsiteY60" fmla="*/ 1531144 h 1533525"/>
              <a:gd name="connsiteX61" fmla="*/ 523875 w 1266825"/>
              <a:gd name="connsiteY61" fmla="*/ 1502569 h 1533525"/>
              <a:gd name="connsiteX62" fmla="*/ 514350 w 1266825"/>
              <a:gd name="connsiteY62" fmla="*/ 1490663 h 1533525"/>
              <a:gd name="connsiteX63" fmla="*/ 483393 w 1266825"/>
              <a:gd name="connsiteY63" fmla="*/ 1533525 h 1533525"/>
              <a:gd name="connsiteX64" fmla="*/ 459581 w 1266825"/>
              <a:gd name="connsiteY64" fmla="*/ 1481138 h 1533525"/>
              <a:gd name="connsiteX65" fmla="*/ 438150 w 1266825"/>
              <a:gd name="connsiteY65" fmla="*/ 1471613 h 1533525"/>
              <a:gd name="connsiteX66" fmla="*/ 400050 w 1266825"/>
              <a:gd name="connsiteY66" fmla="*/ 1485900 h 1533525"/>
              <a:gd name="connsiteX67" fmla="*/ 338137 w 1266825"/>
              <a:gd name="connsiteY67" fmla="*/ 1490663 h 1533525"/>
              <a:gd name="connsiteX68" fmla="*/ 330993 w 1266825"/>
              <a:gd name="connsiteY68" fmla="*/ 1497806 h 1533525"/>
              <a:gd name="connsiteX69" fmla="*/ 271462 w 1266825"/>
              <a:gd name="connsiteY69" fmla="*/ 1471613 h 1533525"/>
              <a:gd name="connsiteX70" fmla="*/ 219075 w 1266825"/>
              <a:gd name="connsiteY70" fmla="*/ 1443038 h 1533525"/>
              <a:gd name="connsiteX71" fmla="*/ 138112 w 1266825"/>
              <a:gd name="connsiteY71" fmla="*/ 1402556 h 1533525"/>
              <a:gd name="connsiteX72" fmla="*/ 95250 w 1266825"/>
              <a:gd name="connsiteY72" fmla="*/ 1316831 h 1533525"/>
              <a:gd name="connsiteX73" fmla="*/ 80962 w 1266825"/>
              <a:gd name="connsiteY73" fmla="*/ 1288256 h 1533525"/>
              <a:gd name="connsiteX74" fmla="*/ 104775 w 1266825"/>
              <a:gd name="connsiteY74" fmla="*/ 1266825 h 1533525"/>
              <a:gd name="connsiteX75" fmla="*/ 76200 w 1266825"/>
              <a:gd name="connsiteY75" fmla="*/ 1212056 h 1533525"/>
              <a:gd name="connsiteX76" fmla="*/ 109537 w 1266825"/>
              <a:gd name="connsiteY76" fmla="*/ 1193006 h 1533525"/>
              <a:gd name="connsiteX77" fmla="*/ 140493 w 1266825"/>
              <a:gd name="connsiteY77" fmla="*/ 1143000 h 1533525"/>
              <a:gd name="connsiteX78" fmla="*/ 123825 w 1266825"/>
              <a:gd name="connsiteY78" fmla="*/ 1107281 h 1533525"/>
              <a:gd name="connsiteX79" fmla="*/ 178593 w 1266825"/>
              <a:gd name="connsiteY79" fmla="*/ 1107281 h 1533525"/>
              <a:gd name="connsiteX80" fmla="*/ 192881 w 1266825"/>
              <a:gd name="connsiteY80" fmla="*/ 1109663 h 1533525"/>
              <a:gd name="connsiteX81" fmla="*/ 159543 w 1266825"/>
              <a:gd name="connsiteY81" fmla="*/ 1064419 h 1533525"/>
              <a:gd name="connsiteX82" fmla="*/ 169068 w 1266825"/>
              <a:gd name="connsiteY82" fmla="*/ 1014413 h 1533525"/>
              <a:gd name="connsiteX83" fmla="*/ 123825 w 1266825"/>
              <a:gd name="connsiteY83" fmla="*/ 997744 h 1533525"/>
              <a:gd name="connsiteX84" fmla="*/ 61912 w 1266825"/>
              <a:gd name="connsiteY84" fmla="*/ 954881 h 1533525"/>
              <a:gd name="connsiteX85" fmla="*/ 45243 w 1266825"/>
              <a:gd name="connsiteY85" fmla="*/ 938213 h 1533525"/>
              <a:gd name="connsiteX86" fmla="*/ 64293 w 1266825"/>
              <a:gd name="connsiteY86" fmla="*/ 909638 h 1533525"/>
              <a:gd name="connsiteX87" fmla="*/ 47625 w 1266825"/>
              <a:gd name="connsiteY87" fmla="*/ 897731 h 1533525"/>
              <a:gd name="connsiteX88" fmla="*/ 47625 w 1266825"/>
              <a:gd name="connsiteY88" fmla="*/ 881063 h 1533525"/>
              <a:gd name="connsiteX89" fmla="*/ 26193 w 1266825"/>
              <a:gd name="connsiteY89" fmla="*/ 881063 h 1533525"/>
              <a:gd name="connsiteX90" fmla="*/ 7143 w 1266825"/>
              <a:gd name="connsiteY90" fmla="*/ 847725 h 1533525"/>
              <a:gd name="connsiteX91" fmla="*/ 0 w 1266825"/>
              <a:gd name="connsiteY91" fmla="*/ 816769 h 1533525"/>
              <a:gd name="connsiteX92" fmla="*/ 54768 w 1266825"/>
              <a:gd name="connsiteY92" fmla="*/ 800100 h 1533525"/>
              <a:gd name="connsiteX93" fmla="*/ 76200 w 1266825"/>
              <a:gd name="connsiteY93" fmla="*/ 788194 h 1533525"/>
              <a:gd name="connsiteX94" fmla="*/ 128587 w 1266825"/>
              <a:gd name="connsiteY94" fmla="*/ 821531 h 1533525"/>
              <a:gd name="connsiteX95" fmla="*/ 126206 w 1266825"/>
              <a:gd name="connsiteY95" fmla="*/ 800100 h 1533525"/>
              <a:gd name="connsiteX96" fmla="*/ 164306 w 1266825"/>
              <a:gd name="connsiteY96" fmla="*/ 795338 h 1533525"/>
              <a:gd name="connsiteX97" fmla="*/ 173831 w 1266825"/>
              <a:gd name="connsiteY97" fmla="*/ 759619 h 1533525"/>
              <a:gd name="connsiteX98" fmla="*/ 235743 w 1266825"/>
              <a:gd name="connsiteY98" fmla="*/ 764381 h 1533525"/>
              <a:gd name="connsiteX99" fmla="*/ 235743 w 1266825"/>
              <a:gd name="connsiteY99" fmla="*/ 764381 h 1533525"/>
              <a:gd name="connsiteX100" fmla="*/ 245268 w 1266825"/>
              <a:gd name="connsiteY100" fmla="*/ 704850 h 1533525"/>
              <a:gd name="connsiteX101" fmla="*/ 276225 w 1266825"/>
              <a:gd name="connsiteY101" fmla="*/ 666750 h 1533525"/>
              <a:gd name="connsiteX102" fmla="*/ 292893 w 1266825"/>
              <a:gd name="connsiteY102" fmla="*/ 638175 h 1533525"/>
              <a:gd name="connsiteX103" fmla="*/ 245268 w 1266825"/>
              <a:gd name="connsiteY103" fmla="*/ 602456 h 1533525"/>
              <a:gd name="connsiteX104" fmla="*/ 264318 w 1266825"/>
              <a:gd name="connsiteY104" fmla="*/ 585788 h 1533525"/>
              <a:gd name="connsiteX105" fmla="*/ 311943 w 1266825"/>
              <a:gd name="connsiteY105" fmla="*/ 602456 h 1533525"/>
              <a:gd name="connsiteX106" fmla="*/ 369093 w 1266825"/>
              <a:gd name="connsiteY106" fmla="*/ 573881 h 1533525"/>
              <a:gd name="connsiteX107" fmla="*/ 457200 w 1266825"/>
              <a:gd name="connsiteY107" fmla="*/ 545306 h 1533525"/>
              <a:gd name="connsiteX108" fmla="*/ 538162 w 1266825"/>
              <a:gd name="connsiteY108" fmla="*/ 578644 h 1533525"/>
              <a:gd name="connsiteX109" fmla="*/ 614362 w 1266825"/>
              <a:gd name="connsiteY109" fmla="*/ 550069 h 1533525"/>
              <a:gd name="connsiteX110" fmla="*/ 650081 w 1266825"/>
              <a:gd name="connsiteY110" fmla="*/ 552450 h 1533525"/>
              <a:gd name="connsiteX111" fmla="*/ 654843 w 1266825"/>
              <a:gd name="connsiteY111" fmla="*/ 523875 h 1533525"/>
              <a:gd name="connsiteX112" fmla="*/ 654843 w 1266825"/>
              <a:gd name="connsiteY112" fmla="*/ 490538 h 1533525"/>
              <a:gd name="connsiteX113" fmla="*/ 669131 w 1266825"/>
              <a:gd name="connsiteY113" fmla="*/ 469106 h 1533525"/>
              <a:gd name="connsiteX114" fmla="*/ 652462 w 1266825"/>
              <a:gd name="connsiteY114" fmla="*/ 450056 h 1533525"/>
              <a:gd name="connsiteX115" fmla="*/ 642937 w 1266825"/>
              <a:gd name="connsiteY115" fmla="*/ 411956 h 1533525"/>
              <a:gd name="connsiteX116" fmla="*/ 642937 w 1266825"/>
              <a:gd name="connsiteY116" fmla="*/ 330994 h 1533525"/>
              <a:gd name="connsiteX117" fmla="*/ 633412 w 1266825"/>
              <a:gd name="connsiteY117" fmla="*/ 319088 h 1533525"/>
              <a:gd name="connsiteX118" fmla="*/ 664368 w 1266825"/>
              <a:gd name="connsiteY118" fmla="*/ 285750 h 1533525"/>
              <a:gd name="connsiteX119" fmla="*/ 721518 w 1266825"/>
              <a:gd name="connsiteY119" fmla="*/ 292894 h 1533525"/>
              <a:gd name="connsiteX120" fmla="*/ 733425 w 1266825"/>
              <a:gd name="connsiteY120" fmla="*/ 264319 h 1533525"/>
              <a:gd name="connsiteX121" fmla="*/ 731043 w 1266825"/>
              <a:gd name="connsiteY121" fmla="*/ 228600 h 1533525"/>
              <a:gd name="connsiteX122" fmla="*/ 790575 w 1266825"/>
              <a:gd name="connsiteY122" fmla="*/ 192881 h 1533525"/>
              <a:gd name="connsiteX123" fmla="*/ 804862 w 1266825"/>
              <a:gd name="connsiteY123" fmla="*/ 166688 h 1533525"/>
              <a:gd name="connsiteX124" fmla="*/ 778668 w 1266825"/>
              <a:gd name="connsiteY124" fmla="*/ 128588 h 1533525"/>
              <a:gd name="connsiteX125" fmla="*/ 771525 w 1266825"/>
              <a:gd name="connsiteY125" fmla="*/ 104775 h 1533525"/>
              <a:gd name="connsiteX126" fmla="*/ 823912 w 1266825"/>
              <a:gd name="connsiteY126" fmla="*/ 97631 h 1533525"/>
              <a:gd name="connsiteX127" fmla="*/ 869156 w 1266825"/>
              <a:gd name="connsiteY127" fmla="*/ 52388 h 1533525"/>
              <a:gd name="connsiteX128" fmla="*/ 890587 w 1266825"/>
              <a:gd name="connsiteY128" fmla="*/ 23813 h 1533525"/>
              <a:gd name="connsiteX129" fmla="*/ 923925 w 1266825"/>
              <a:gd name="connsiteY129" fmla="*/ 9525 h 1533525"/>
              <a:gd name="connsiteX130" fmla="*/ 971550 w 1266825"/>
              <a:gd name="connsiteY130" fmla="*/ 0 h 1533525"/>
              <a:gd name="connsiteX131" fmla="*/ 971550 w 1266825"/>
              <a:gd name="connsiteY131" fmla="*/ 40481 h 1533525"/>
              <a:gd name="connsiteX132" fmla="*/ 950118 w 1266825"/>
              <a:gd name="connsiteY132" fmla="*/ 80963 h 1533525"/>
              <a:gd name="connsiteX133" fmla="*/ 950118 w 1266825"/>
              <a:gd name="connsiteY133" fmla="*/ 140494 h 1533525"/>
              <a:gd name="connsiteX134" fmla="*/ 969168 w 1266825"/>
              <a:gd name="connsiteY134" fmla="*/ 161925 h 1533525"/>
              <a:gd name="connsiteX135" fmla="*/ 1007268 w 1266825"/>
              <a:gd name="connsiteY135" fmla="*/ 188119 h 1533525"/>
              <a:gd name="connsiteX136" fmla="*/ 1019175 w 1266825"/>
              <a:gd name="connsiteY136" fmla="*/ 216694 h 1533525"/>
              <a:gd name="connsiteX137" fmla="*/ 1004887 w 1266825"/>
              <a:gd name="connsiteY137" fmla="*/ 226219 h 1533525"/>
              <a:gd name="connsiteX138" fmla="*/ 1057275 w 1266825"/>
              <a:gd name="connsiteY138" fmla="*/ 250031 h 1533525"/>
              <a:gd name="connsiteX139" fmla="*/ 1073943 w 1266825"/>
              <a:gd name="connsiteY139" fmla="*/ 228600 h 1533525"/>
              <a:gd name="connsiteX140" fmla="*/ 1083468 w 1266825"/>
              <a:gd name="connsiteY140" fmla="*/ 252413 h 1533525"/>
              <a:gd name="connsiteX141" fmla="*/ 1116806 w 1266825"/>
              <a:gd name="connsiteY141" fmla="*/ 252413 h 1533525"/>
              <a:gd name="connsiteX142" fmla="*/ 1123950 w 1266825"/>
              <a:gd name="connsiteY142" fmla="*/ 257175 h 1533525"/>
              <a:gd name="connsiteX143" fmla="*/ 1116806 w 1266825"/>
              <a:gd name="connsiteY143" fmla="*/ 276225 h 1533525"/>
              <a:gd name="connsiteX0" fmla="*/ 1057275 w 1266825"/>
              <a:gd name="connsiteY0" fmla="*/ 264319 h 1533525"/>
              <a:gd name="connsiteX1" fmla="*/ 1062037 w 1266825"/>
              <a:gd name="connsiteY1" fmla="*/ 304800 h 1533525"/>
              <a:gd name="connsiteX2" fmla="*/ 995362 w 1266825"/>
              <a:gd name="connsiteY2" fmla="*/ 352425 h 1533525"/>
              <a:gd name="connsiteX3" fmla="*/ 973931 w 1266825"/>
              <a:gd name="connsiteY3" fmla="*/ 383381 h 1533525"/>
              <a:gd name="connsiteX4" fmla="*/ 1000125 w 1266825"/>
              <a:gd name="connsiteY4" fmla="*/ 428625 h 1533525"/>
              <a:gd name="connsiteX5" fmla="*/ 983456 w 1266825"/>
              <a:gd name="connsiteY5" fmla="*/ 466725 h 1533525"/>
              <a:gd name="connsiteX6" fmla="*/ 1000125 w 1266825"/>
              <a:gd name="connsiteY6" fmla="*/ 519113 h 1533525"/>
              <a:gd name="connsiteX7" fmla="*/ 1033462 w 1266825"/>
              <a:gd name="connsiteY7" fmla="*/ 519113 h 1533525"/>
              <a:gd name="connsiteX8" fmla="*/ 1019175 w 1266825"/>
              <a:gd name="connsiteY8" fmla="*/ 552450 h 1533525"/>
              <a:gd name="connsiteX9" fmla="*/ 1035843 w 1266825"/>
              <a:gd name="connsiteY9" fmla="*/ 590550 h 1533525"/>
              <a:gd name="connsiteX10" fmla="*/ 1035843 w 1266825"/>
              <a:gd name="connsiteY10" fmla="*/ 607219 h 1533525"/>
              <a:gd name="connsiteX11" fmla="*/ 1045368 w 1266825"/>
              <a:gd name="connsiteY11" fmla="*/ 645319 h 1533525"/>
              <a:gd name="connsiteX12" fmla="*/ 1064418 w 1266825"/>
              <a:gd name="connsiteY12" fmla="*/ 645319 h 1533525"/>
              <a:gd name="connsiteX13" fmla="*/ 1078706 w 1266825"/>
              <a:gd name="connsiteY13" fmla="*/ 666750 h 1533525"/>
              <a:gd name="connsiteX14" fmla="*/ 1085850 w 1266825"/>
              <a:gd name="connsiteY14" fmla="*/ 688181 h 1533525"/>
              <a:gd name="connsiteX15" fmla="*/ 1076325 w 1266825"/>
              <a:gd name="connsiteY15" fmla="*/ 719138 h 1533525"/>
              <a:gd name="connsiteX16" fmla="*/ 1021556 w 1266825"/>
              <a:gd name="connsiteY16" fmla="*/ 714375 h 1533525"/>
              <a:gd name="connsiteX17" fmla="*/ 1002506 w 1266825"/>
              <a:gd name="connsiteY17" fmla="*/ 721519 h 1533525"/>
              <a:gd name="connsiteX18" fmla="*/ 995362 w 1266825"/>
              <a:gd name="connsiteY18" fmla="*/ 726281 h 1533525"/>
              <a:gd name="connsiteX19" fmla="*/ 995362 w 1266825"/>
              <a:gd name="connsiteY19" fmla="*/ 726281 h 1533525"/>
              <a:gd name="connsiteX20" fmla="*/ 923925 w 1266825"/>
              <a:gd name="connsiteY20" fmla="*/ 721519 h 1533525"/>
              <a:gd name="connsiteX21" fmla="*/ 940593 w 1266825"/>
              <a:gd name="connsiteY21" fmla="*/ 778669 h 1533525"/>
              <a:gd name="connsiteX22" fmla="*/ 938212 w 1266825"/>
              <a:gd name="connsiteY22" fmla="*/ 847725 h 1533525"/>
              <a:gd name="connsiteX23" fmla="*/ 954881 w 1266825"/>
              <a:gd name="connsiteY23" fmla="*/ 871538 h 1533525"/>
              <a:gd name="connsiteX24" fmla="*/ 997743 w 1266825"/>
              <a:gd name="connsiteY24" fmla="*/ 919163 h 1533525"/>
              <a:gd name="connsiteX25" fmla="*/ 1012031 w 1266825"/>
              <a:gd name="connsiteY25" fmla="*/ 954881 h 1533525"/>
              <a:gd name="connsiteX26" fmla="*/ 1031081 w 1266825"/>
              <a:gd name="connsiteY26" fmla="*/ 954881 h 1533525"/>
              <a:gd name="connsiteX27" fmla="*/ 1071562 w 1266825"/>
              <a:gd name="connsiteY27" fmla="*/ 940594 h 1533525"/>
              <a:gd name="connsiteX28" fmla="*/ 1102518 w 1266825"/>
              <a:gd name="connsiteY28" fmla="*/ 933450 h 1533525"/>
              <a:gd name="connsiteX29" fmla="*/ 1159668 w 1266825"/>
              <a:gd name="connsiteY29" fmla="*/ 997744 h 1533525"/>
              <a:gd name="connsiteX30" fmla="*/ 1178718 w 1266825"/>
              <a:gd name="connsiteY30" fmla="*/ 1052513 h 1533525"/>
              <a:gd name="connsiteX31" fmla="*/ 1190625 w 1266825"/>
              <a:gd name="connsiteY31" fmla="*/ 1081088 h 1533525"/>
              <a:gd name="connsiteX32" fmla="*/ 1212056 w 1266825"/>
              <a:gd name="connsiteY32" fmla="*/ 1109663 h 1533525"/>
              <a:gd name="connsiteX33" fmla="*/ 1231106 w 1266825"/>
              <a:gd name="connsiteY33" fmla="*/ 1102519 h 1533525"/>
              <a:gd name="connsiteX34" fmla="*/ 1231106 w 1266825"/>
              <a:gd name="connsiteY34" fmla="*/ 1131094 h 1533525"/>
              <a:gd name="connsiteX35" fmla="*/ 1233487 w 1266825"/>
              <a:gd name="connsiteY35" fmla="*/ 1145381 h 1533525"/>
              <a:gd name="connsiteX36" fmla="*/ 1266825 w 1266825"/>
              <a:gd name="connsiteY36" fmla="*/ 1181100 h 1533525"/>
              <a:gd name="connsiteX37" fmla="*/ 1233487 w 1266825"/>
              <a:gd name="connsiteY37" fmla="*/ 1181100 h 1533525"/>
              <a:gd name="connsiteX38" fmla="*/ 1228725 w 1266825"/>
              <a:gd name="connsiteY38" fmla="*/ 1223963 h 1533525"/>
              <a:gd name="connsiteX39" fmla="*/ 1226343 w 1266825"/>
              <a:gd name="connsiteY39" fmla="*/ 1243013 h 1533525"/>
              <a:gd name="connsiteX40" fmla="*/ 1216818 w 1266825"/>
              <a:gd name="connsiteY40" fmla="*/ 1264444 h 1533525"/>
              <a:gd name="connsiteX41" fmla="*/ 1190625 w 1266825"/>
              <a:gd name="connsiteY41" fmla="*/ 1238250 h 1533525"/>
              <a:gd name="connsiteX42" fmla="*/ 1157287 w 1266825"/>
              <a:gd name="connsiteY42" fmla="*/ 1209675 h 1533525"/>
              <a:gd name="connsiteX43" fmla="*/ 1131093 w 1266825"/>
              <a:gd name="connsiteY43" fmla="*/ 1185863 h 1533525"/>
              <a:gd name="connsiteX44" fmla="*/ 1107281 w 1266825"/>
              <a:gd name="connsiteY44" fmla="*/ 1219200 h 1533525"/>
              <a:gd name="connsiteX45" fmla="*/ 1104900 w 1266825"/>
              <a:gd name="connsiteY45" fmla="*/ 1264444 h 1533525"/>
              <a:gd name="connsiteX46" fmla="*/ 1062037 w 1266825"/>
              <a:gd name="connsiteY46" fmla="*/ 1259681 h 1533525"/>
              <a:gd name="connsiteX47" fmla="*/ 1026318 w 1266825"/>
              <a:gd name="connsiteY47" fmla="*/ 1288256 h 1533525"/>
              <a:gd name="connsiteX48" fmla="*/ 1007268 w 1266825"/>
              <a:gd name="connsiteY48" fmla="*/ 1240631 h 1533525"/>
              <a:gd name="connsiteX49" fmla="*/ 947737 w 1266825"/>
              <a:gd name="connsiteY49" fmla="*/ 1231106 h 1533525"/>
              <a:gd name="connsiteX50" fmla="*/ 921543 w 1266825"/>
              <a:gd name="connsiteY50" fmla="*/ 1297781 h 1533525"/>
              <a:gd name="connsiteX51" fmla="*/ 885825 w 1266825"/>
              <a:gd name="connsiteY51" fmla="*/ 1278731 h 1533525"/>
              <a:gd name="connsiteX52" fmla="*/ 816768 w 1266825"/>
              <a:gd name="connsiteY52" fmla="*/ 1295400 h 1533525"/>
              <a:gd name="connsiteX53" fmla="*/ 757237 w 1266825"/>
              <a:gd name="connsiteY53" fmla="*/ 1259681 h 1533525"/>
              <a:gd name="connsiteX54" fmla="*/ 742950 w 1266825"/>
              <a:gd name="connsiteY54" fmla="*/ 1312069 h 1533525"/>
              <a:gd name="connsiteX55" fmla="*/ 704850 w 1266825"/>
              <a:gd name="connsiteY55" fmla="*/ 1345406 h 1533525"/>
              <a:gd name="connsiteX56" fmla="*/ 692943 w 1266825"/>
              <a:gd name="connsiteY56" fmla="*/ 1366838 h 1533525"/>
              <a:gd name="connsiteX57" fmla="*/ 671512 w 1266825"/>
              <a:gd name="connsiteY57" fmla="*/ 1509713 h 1533525"/>
              <a:gd name="connsiteX58" fmla="*/ 633412 w 1266825"/>
              <a:gd name="connsiteY58" fmla="*/ 1490663 h 1533525"/>
              <a:gd name="connsiteX59" fmla="*/ 614362 w 1266825"/>
              <a:gd name="connsiteY59" fmla="*/ 1504950 h 1533525"/>
              <a:gd name="connsiteX60" fmla="*/ 581025 w 1266825"/>
              <a:gd name="connsiteY60" fmla="*/ 1531144 h 1533525"/>
              <a:gd name="connsiteX61" fmla="*/ 523875 w 1266825"/>
              <a:gd name="connsiteY61" fmla="*/ 1502569 h 1533525"/>
              <a:gd name="connsiteX62" fmla="*/ 514350 w 1266825"/>
              <a:gd name="connsiteY62" fmla="*/ 1490663 h 1533525"/>
              <a:gd name="connsiteX63" fmla="*/ 483393 w 1266825"/>
              <a:gd name="connsiteY63" fmla="*/ 1533525 h 1533525"/>
              <a:gd name="connsiteX64" fmla="*/ 459581 w 1266825"/>
              <a:gd name="connsiteY64" fmla="*/ 1481138 h 1533525"/>
              <a:gd name="connsiteX65" fmla="*/ 438150 w 1266825"/>
              <a:gd name="connsiteY65" fmla="*/ 1471613 h 1533525"/>
              <a:gd name="connsiteX66" fmla="*/ 400050 w 1266825"/>
              <a:gd name="connsiteY66" fmla="*/ 1485900 h 1533525"/>
              <a:gd name="connsiteX67" fmla="*/ 338137 w 1266825"/>
              <a:gd name="connsiteY67" fmla="*/ 1490663 h 1533525"/>
              <a:gd name="connsiteX68" fmla="*/ 330993 w 1266825"/>
              <a:gd name="connsiteY68" fmla="*/ 1497806 h 1533525"/>
              <a:gd name="connsiteX69" fmla="*/ 271462 w 1266825"/>
              <a:gd name="connsiteY69" fmla="*/ 1471613 h 1533525"/>
              <a:gd name="connsiteX70" fmla="*/ 219075 w 1266825"/>
              <a:gd name="connsiteY70" fmla="*/ 1443038 h 1533525"/>
              <a:gd name="connsiteX71" fmla="*/ 138112 w 1266825"/>
              <a:gd name="connsiteY71" fmla="*/ 1402556 h 1533525"/>
              <a:gd name="connsiteX72" fmla="*/ 95250 w 1266825"/>
              <a:gd name="connsiteY72" fmla="*/ 1316831 h 1533525"/>
              <a:gd name="connsiteX73" fmla="*/ 80962 w 1266825"/>
              <a:gd name="connsiteY73" fmla="*/ 1288256 h 1533525"/>
              <a:gd name="connsiteX74" fmla="*/ 104775 w 1266825"/>
              <a:gd name="connsiteY74" fmla="*/ 1266825 h 1533525"/>
              <a:gd name="connsiteX75" fmla="*/ 76200 w 1266825"/>
              <a:gd name="connsiteY75" fmla="*/ 1212056 h 1533525"/>
              <a:gd name="connsiteX76" fmla="*/ 109537 w 1266825"/>
              <a:gd name="connsiteY76" fmla="*/ 1193006 h 1533525"/>
              <a:gd name="connsiteX77" fmla="*/ 140493 w 1266825"/>
              <a:gd name="connsiteY77" fmla="*/ 1143000 h 1533525"/>
              <a:gd name="connsiteX78" fmla="*/ 123825 w 1266825"/>
              <a:gd name="connsiteY78" fmla="*/ 1107281 h 1533525"/>
              <a:gd name="connsiteX79" fmla="*/ 178593 w 1266825"/>
              <a:gd name="connsiteY79" fmla="*/ 1107281 h 1533525"/>
              <a:gd name="connsiteX80" fmla="*/ 192881 w 1266825"/>
              <a:gd name="connsiteY80" fmla="*/ 1109663 h 1533525"/>
              <a:gd name="connsiteX81" fmla="*/ 159543 w 1266825"/>
              <a:gd name="connsiteY81" fmla="*/ 1064419 h 1533525"/>
              <a:gd name="connsiteX82" fmla="*/ 169068 w 1266825"/>
              <a:gd name="connsiteY82" fmla="*/ 1014413 h 1533525"/>
              <a:gd name="connsiteX83" fmla="*/ 123825 w 1266825"/>
              <a:gd name="connsiteY83" fmla="*/ 997744 h 1533525"/>
              <a:gd name="connsiteX84" fmla="*/ 61912 w 1266825"/>
              <a:gd name="connsiteY84" fmla="*/ 954881 h 1533525"/>
              <a:gd name="connsiteX85" fmla="*/ 45243 w 1266825"/>
              <a:gd name="connsiteY85" fmla="*/ 938213 h 1533525"/>
              <a:gd name="connsiteX86" fmla="*/ 64293 w 1266825"/>
              <a:gd name="connsiteY86" fmla="*/ 909638 h 1533525"/>
              <a:gd name="connsiteX87" fmla="*/ 47625 w 1266825"/>
              <a:gd name="connsiteY87" fmla="*/ 897731 h 1533525"/>
              <a:gd name="connsiteX88" fmla="*/ 47625 w 1266825"/>
              <a:gd name="connsiteY88" fmla="*/ 881063 h 1533525"/>
              <a:gd name="connsiteX89" fmla="*/ 26193 w 1266825"/>
              <a:gd name="connsiteY89" fmla="*/ 881063 h 1533525"/>
              <a:gd name="connsiteX90" fmla="*/ 7143 w 1266825"/>
              <a:gd name="connsiteY90" fmla="*/ 847725 h 1533525"/>
              <a:gd name="connsiteX91" fmla="*/ 0 w 1266825"/>
              <a:gd name="connsiteY91" fmla="*/ 816769 h 1533525"/>
              <a:gd name="connsiteX92" fmla="*/ 54768 w 1266825"/>
              <a:gd name="connsiteY92" fmla="*/ 800100 h 1533525"/>
              <a:gd name="connsiteX93" fmla="*/ 76200 w 1266825"/>
              <a:gd name="connsiteY93" fmla="*/ 788194 h 1533525"/>
              <a:gd name="connsiteX94" fmla="*/ 128587 w 1266825"/>
              <a:gd name="connsiteY94" fmla="*/ 821531 h 1533525"/>
              <a:gd name="connsiteX95" fmla="*/ 126206 w 1266825"/>
              <a:gd name="connsiteY95" fmla="*/ 800100 h 1533525"/>
              <a:gd name="connsiteX96" fmla="*/ 164306 w 1266825"/>
              <a:gd name="connsiteY96" fmla="*/ 795338 h 1533525"/>
              <a:gd name="connsiteX97" fmla="*/ 173831 w 1266825"/>
              <a:gd name="connsiteY97" fmla="*/ 759619 h 1533525"/>
              <a:gd name="connsiteX98" fmla="*/ 235743 w 1266825"/>
              <a:gd name="connsiteY98" fmla="*/ 764381 h 1533525"/>
              <a:gd name="connsiteX99" fmla="*/ 235743 w 1266825"/>
              <a:gd name="connsiteY99" fmla="*/ 764381 h 1533525"/>
              <a:gd name="connsiteX100" fmla="*/ 245268 w 1266825"/>
              <a:gd name="connsiteY100" fmla="*/ 704850 h 1533525"/>
              <a:gd name="connsiteX101" fmla="*/ 276225 w 1266825"/>
              <a:gd name="connsiteY101" fmla="*/ 666750 h 1533525"/>
              <a:gd name="connsiteX102" fmla="*/ 292893 w 1266825"/>
              <a:gd name="connsiteY102" fmla="*/ 638175 h 1533525"/>
              <a:gd name="connsiteX103" fmla="*/ 245268 w 1266825"/>
              <a:gd name="connsiteY103" fmla="*/ 602456 h 1533525"/>
              <a:gd name="connsiteX104" fmla="*/ 264318 w 1266825"/>
              <a:gd name="connsiteY104" fmla="*/ 585788 h 1533525"/>
              <a:gd name="connsiteX105" fmla="*/ 311943 w 1266825"/>
              <a:gd name="connsiteY105" fmla="*/ 602456 h 1533525"/>
              <a:gd name="connsiteX106" fmla="*/ 369093 w 1266825"/>
              <a:gd name="connsiteY106" fmla="*/ 573881 h 1533525"/>
              <a:gd name="connsiteX107" fmla="*/ 457200 w 1266825"/>
              <a:gd name="connsiteY107" fmla="*/ 545306 h 1533525"/>
              <a:gd name="connsiteX108" fmla="*/ 538162 w 1266825"/>
              <a:gd name="connsiteY108" fmla="*/ 578644 h 1533525"/>
              <a:gd name="connsiteX109" fmla="*/ 614362 w 1266825"/>
              <a:gd name="connsiteY109" fmla="*/ 550069 h 1533525"/>
              <a:gd name="connsiteX110" fmla="*/ 650081 w 1266825"/>
              <a:gd name="connsiteY110" fmla="*/ 552450 h 1533525"/>
              <a:gd name="connsiteX111" fmla="*/ 654843 w 1266825"/>
              <a:gd name="connsiteY111" fmla="*/ 523875 h 1533525"/>
              <a:gd name="connsiteX112" fmla="*/ 654843 w 1266825"/>
              <a:gd name="connsiteY112" fmla="*/ 490538 h 1533525"/>
              <a:gd name="connsiteX113" fmla="*/ 669131 w 1266825"/>
              <a:gd name="connsiteY113" fmla="*/ 469106 h 1533525"/>
              <a:gd name="connsiteX114" fmla="*/ 652462 w 1266825"/>
              <a:gd name="connsiteY114" fmla="*/ 450056 h 1533525"/>
              <a:gd name="connsiteX115" fmla="*/ 642937 w 1266825"/>
              <a:gd name="connsiteY115" fmla="*/ 411956 h 1533525"/>
              <a:gd name="connsiteX116" fmla="*/ 642937 w 1266825"/>
              <a:gd name="connsiteY116" fmla="*/ 330994 h 1533525"/>
              <a:gd name="connsiteX117" fmla="*/ 633412 w 1266825"/>
              <a:gd name="connsiteY117" fmla="*/ 319088 h 1533525"/>
              <a:gd name="connsiteX118" fmla="*/ 664368 w 1266825"/>
              <a:gd name="connsiteY118" fmla="*/ 285750 h 1533525"/>
              <a:gd name="connsiteX119" fmla="*/ 721518 w 1266825"/>
              <a:gd name="connsiteY119" fmla="*/ 292894 h 1533525"/>
              <a:gd name="connsiteX120" fmla="*/ 733425 w 1266825"/>
              <a:gd name="connsiteY120" fmla="*/ 264319 h 1533525"/>
              <a:gd name="connsiteX121" fmla="*/ 731043 w 1266825"/>
              <a:gd name="connsiteY121" fmla="*/ 228600 h 1533525"/>
              <a:gd name="connsiteX122" fmla="*/ 790575 w 1266825"/>
              <a:gd name="connsiteY122" fmla="*/ 192881 h 1533525"/>
              <a:gd name="connsiteX123" fmla="*/ 804862 w 1266825"/>
              <a:gd name="connsiteY123" fmla="*/ 166688 h 1533525"/>
              <a:gd name="connsiteX124" fmla="*/ 778668 w 1266825"/>
              <a:gd name="connsiteY124" fmla="*/ 128588 h 1533525"/>
              <a:gd name="connsiteX125" fmla="*/ 771525 w 1266825"/>
              <a:gd name="connsiteY125" fmla="*/ 104775 h 1533525"/>
              <a:gd name="connsiteX126" fmla="*/ 823912 w 1266825"/>
              <a:gd name="connsiteY126" fmla="*/ 97631 h 1533525"/>
              <a:gd name="connsiteX127" fmla="*/ 869156 w 1266825"/>
              <a:gd name="connsiteY127" fmla="*/ 52388 h 1533525"/>
              <a:gd name="connsiteX128" fmla="*/ 890587 w 1266825"/>
              <a:gd name="connsiteY128" fmla="*/ 23813 h 1533525"/>
              <a:gd name="connsiteX129" fmla="*/ 923925 w 1266825"/>
              <a:gd name="connsiteY129" fmla="*/ 9525 h 1533525"/>
              <a:gd name="connsiteX130" fmla="*/ 971550 w 1266825"/>
              <a:gd name="connsiteY130" fmla="*/ 0 h 1533525"/>
              <a:gd name="connsiteX131" fmla="*/ 971550 w 1266825"/>
              <a:gd name="connsiteY131" fmla="*/ 40481 h 1533525"/>
              <a:gd name="connsiteX132" fmla="*/ 950118 w 1266825"/>
              <a:gd name="connsiteY132" fmla="*/ 80963 h 1533525"/>
              <a:gd name="connsiteX133" fmla="*/ 950118 w 1266825"/>
              <a:gd name="connsiteY133" fmla="*/ 140494 h 1533525"/>
              <a:gd name="connsiteX134" fmla="*/ 969168 w 1266825"/>
              <a:gd name="connsiteY134" fmla="*/ 161925 h 1533525"/>
              <a:gd name="connsiteX135" fmla="*/ 1007268 w 1266825"/>
              <a:gd name="connsiteY135" fmla="*/ 188119 h 1533525"/>
              <a:gd name="connsiteX136" fmla="*/ 1019175 w 1266825"/>
              <a:gd name="connsiteY136" fmla="*/ 216694 h 1533525"/>
              <a:gd name="connsiteX137" fmla="*/ 1004887 w 1266825"/>
              <a:gd name="connsiteY137" fmla="*/ 226219 h 1533525"/>
              <a:gd name="connsiteX138" fmla="*/ 1057275 w 1266825"/>
              <a:gd name="connsiteY138" fmla="*/ 250031 h 1533525"/>
              <a:gd name="connsiteX139" fmla="*/ 1073943 w 1266825"/>
              <a:gd name="connsiteY139" fmla="*/ 228600 h 1533525"/>
              <a:gd name="connsiteX140" fmla="*/ 1083468 w 1266825"/>
              <a:gd name="connsiteY140" fmla="*/ 252413 h 1533525"/>
              <a:gd name="connsiteX141" fmla="*/ 1116806 w 1266825"/>
              <a:gd name="connsiteY141" fmla="*/ 252413 h 1533525"/>
              <a:gd name="connsiteX142" fmla="*/ 1123950 w 1266825"/>
              <a:gd name="connsiteY142" fmla="*/ 257175 h 1533525"/>
              <a:gd name="connsiteX0" fmla="*/ 1057275 w 1266825"/>
              <a:gd name="connsiteY0" fmla="*/ 264319 h 1533525"/>
              <a:gd name="connsiteX1" fmla="*/ 1062037 w 1266825"/>
              <a:gd name="connsiteY1" fmla="*/ 304800 h 1533525"/>
              <a:gd name="connsiteX2" fmla="*/ 995362 w 1266825"/>
              <a:gd name="connsiteY2" fmla="*/ 352425 h 1533525"/>
              <a:gd name="connsiteX3" fmla="*/ 973931 w 1266825"/>
              <a:gd name="connsiteY3" fmla="*/ 383381 h 1533525"/>
              <a:gd name="connsiteX4" fmla="*/ 1000125 w 1266825"/>
              <a:gd name="connsiteY4" fmla="*/ 428625 h 1533525"/>
              <a:gd name="connsiteX5" fmla="*/ 983456 w 1266825"/>
              <a:gd name="connsiteY5" fmla="*/ 466725 h 1533525"/>
              <a:gd name="connsiteX6" fmla="*/ 1000125 w 1266825"/>
              <a:gd name="connsiteY6" fmla="*/ 519113 h 1533525"/>
              <a:gd name="connsiteX7" fmla="*/ 1033462 w 1266825"/>
              <a:gd name="connsiteY7" fmla="*/ 519113 h 1533525"/>
              <a:gd name="connsiteX8" fmla="*/ 1019175 w 1266825"/>
              <a:gd name="connsiteY8" fmla="*/ 552450 h 1533525"/>
              <a:gd name="connsiteX9" fmla="*/ 1035843 w 1266825"/>
              <a:gd name="connsiteY9" fmla="*/ 590550 h 1533525"/>
              <a:gd name="connsiteX10" fmla="*/ 1035843 w 1266825"/>
              <a:gd name="connsiteY10" fmla="*/ 607219 h 1533525"/>
              <a:gd name="connsiteX11" fmla="*/ 1045368 w 1266825"/>
              <a:gd name="connsiteY11" fmla="*/ 645319 h 1533525"/>
              <a:gd name="connsiteX12" fmla="*/ 1064418 w 1266825"/>
              <a:gd name="connsiteY12" fmla="*/ 645319 h 1533525"/>
              <a:gd name="connsiteX13" fmla="*/ 1078706 w 1266825"/>
              <a:gd name="connsiteY13" fmla="*/ 666750 h 1533525"/>
              <a:gd name="connsiteX14" fmla="*/ 1085850 w 1266825"/>
              <a:gd name="connsiteY14" fmla="*/ 688181 h 1533525"/>
              <a:gd name="connsiteX15" fmla="*/ 1076325 w 1266825"/>
              <a:gd name="connsiteY15" fmla="*/ 719138 h 1533525"/>
              <a:gd name="connsiteX16" fmla="*/ 1021556 w 1266825"/>
              <a:gd name="connsiteY16" fmla="*/ 714375 h 1533525"/>
              <a:gd name="connsiteX17" fmla="*/ 1002506 w 1266825"/>
              <a:gd name="connsiteY17" fmla="*/ 721519 h 1533525"/>
              <a:gd name="connsiteX18" fmla="*/ 995362 w 1266825"/>
              <a:gd name="connsiteY18" fmla="*/ 726281 h 1533525"/>
              <a:gd name="connsiteX19" fmla="*/ 995362 w 1266825"/>
              <a:gd name="connsiteY19" fmla="*/ 726281 h 1533525"/>
              <a:gd name="connsiteX20" fmla="*/ 923925 w 1266825"/>
              <a:gd name="connsiteY20" fmla="*/ 721519 h 1533525"/>
              <a:gd name="connsiteX21" fmla="*/ 940593 w 1266825"/>
              <a:gd name="connsiteY21" fmla="*/ 778669 h 1533525"/>
              <a:gd name="connsiteX22" fmla="*/ 938212 w 1266825"/>
              <a:gd name="connsiteY22" fmla="*/ 847725 h 1533525"/>
              <a:gd name="connsiteX23" fmla="*/ 954881 w 1266825"/>
              <a:gd name="connsiteY23" fmla="*/ 871538 h 1533525"/>
              <a:gd name="connsiteX24" fmla="*/ 997743 w 1266825"/>
              <a:gd name="connsiteY24" fmla="*/ 919163 h 1533525"/>
              <a:gd name="connsiteX25" fmla="*/ 1012031 w 1266825"/>
              <a:gd name="connsiteY25" fmla="*/ 954881 h 1533525"/>
              <a:gd name="connsiteX26" fmla="*/ 1031081 w 1266825"/>
              <a:gd name="connsiteY26" fmla="*/ 954881 h 1533525"/>
              <a:gd name="connsiteX27" fmla="*/ 1071562 w 1266825"/>
              <a:gd name="connsiteY27" fmla="*/ 940594 h 1533525"/>
              <a:gd name="connsiteX28" fmla="*/ 1102518 w 1266825"/>
              <a:gd name="connsiteY28" fmla="*/ 933450 h 1533525"/>
              <a:gd name="connsiteX29" fmla="*/ 1159668 w 1266825"/>
              <a:gd name="connsiteY29" fmla="*/ 997744 h 1533525"/>
              <a:gd name="connsiteX30" fmla="*/ 1178718 w 1266825"/>
              <a:gd name="connsiteY30" fmla="*/ 1052513 h 1533525"/>
              <a:gd name="connsiteX31" fmla="*/ 1190625 w 1266825"/>
              <a:gd name="connsiteY31" fmla="*/ 1081088 h 1533525"/>
              <a:gd name="connsiteX32" fmla="*/ 1212056 w 1266825"/>
              <a:gd name="connsiteY32" fmla="*/ 1109663 h 1533525"/>
              <a:gd name="connsiteX33" fmla="*/ 1231106 w 1266825"/>
              <a:gd name="connsiteY33" fmla="*/ 1102519 h 1533525"/>
              <a:gd name="connsiteX34" fmla="*/ 1231106 w 1266825"/>
              <a:gd name="connsiteY34" fmla="*/ 1131094 h 1533525"/>
              <a:gd name="connsiteX35" fmla="*/ 1233487 w 1266825"/>
              <a:gd name="connsiteY35" fmla="*/ 1145381 h 1533525"/>
              <a:gd name="connsiteX36" fmla="*/ 1266825 w 1266825"/>
              <a:gd name="connsiteY36" fmla="*/ 1181100 h 1533525"/>
              <a:gd name="connsiteX37" fmla="*/ 1233487 w 1266825"/>
              <a:gd name="connsiteY37" fmla="*/ 1181100 h 1533525"/>
              <a:gd name="connsiteX38" fmla="*/ 1228725 w 1266825"/>
              <a:gd name="connsiteY38" fmla="*/ 1223963 h 1533525"/>
              <a:gd name="connsiteX39" fmla="*/ 1226343 w 1266825"/>
              <a:gd name="connsiteY39" fmla="*/ 1243013 h 1533525"/>
              <a:gd name="connsiteX40" fmla="*/ 1216818 w 1266825"/>
              <a:gd name="connsiteY40" fmla="*/ 1264444 h 1533525"/>
              <a:gd name="connsiteX41" fmla="*/ 1190625 w 1266825"/>
              <a:gd name="connsiteY41" fmla="*/ 1238250 h 1533525"/>
              <a:gd name="connsiteX42" fmla="*/ 1157287 w 1266825"/>
              <a:gd name="connsiteY42" fmla="*/ 1209675 h 1533525"/>
              <a:gd name="connsiteX43" fmla="*/ 1131093 w 1266825"/>
              <a:gd name="connsiteY43" fmla="*/ 1185863 h 1533525"/>
              <a:gd name="connsiteX44" fmla="*/ 1107281 w 1266825"/>
              <a:gd name="connsiteY44" fmla="*/ 1219200 h 1533525"/>
              <a:gd name="connsiteX45" fmla="*/ 1104900 w 1266825"/>
              <a:gd name="connsiteY45" fmla="*/ 1264444 h 1533525"/>
              <a:gd name="connsiteX46" fmla="*/ 1062037 w 1266825"/>
              <a:gd name="connsiteY46" fmla="*/ 1259681 h 1533525"/>
              <a:gd name="connsiteX47" fmla="*/ 1026318 w 1266825"/>
              <a:gd name="connsiteY47" fmla="*/ 1288256 h 1533525"/>
              <a:gd name="connsiteX48" fmla="*/ 1007268 w 1266825"/>
              <a:gd name="connsiteY48" fmla="*/ 1240631 h 1533525"/>
              <a:gd name="connsiteX49" fmla="*/ 947737 w 1266825"/>
              <a:gd name="connsiteY49" fmla="*/ 1231106 h 1533525"/>
              <a:gd name="connsiteX50" fmla="*/ 921543 w 1266825"/>
              <a:gd name="connsiteY50" fmla="*/ 1297781 h 1533525"/>
              <a:gd name="connsiteX51" fmla="*/ 885825 w 1266825"/>
              <a:gd name="connsiteY51" fmla="*/ 1278731 h 1533525"/>
              <a:gd name="connsiteX52" fmla="*/ 816768 w 1266825"/>
              <a:gd name="connsiteY52" fmla="*/ 1295400 h 1533525"/>
              <a:gd name="connsiteX53" fmla="*/ 757237 w 1266825"/>
              <a:gd name="connsiteY53" fmla="*/ 1259681 h 1533525"/>
              <a:gd name="connsiteX54" fmla="*/ 742950 w 1266825"/>
              <a:gd name="connsiteY54" fmla="*/ 1312069 h 1533525"/>
              <a:gd name="connsiteX55" fmla="*/ 704850 w 1266825"/>
              <a:gd name="connsiteY55" fmla="*/ 1345406 h 1533525"/>
              <a:gd name="connsiteX56" fmla="*/ 692943 w 1266825"/>
              <a:gd name="connsiteY56" fmla="*/ 1366838 h 1533525"/>
              <a:gd name="connsiteX57" fmla="*/ 671512 w 1266825"/>
              <a:gd name="connsiteY57" fmla="*/ 1509713 h 1533525"/>
              <a:gd name="connsiteX58" fmla="*/ 633412 w 1266825"/>
              <a:gd name="connsiteY58" fmla="*/ 1490663 h 1533525"/>
              <a:gd name="connsiteX59" fmla="*/ 614362 w 1266825"/>
              <a:gd name="connsiteY59" fmla="*/ 1504950 h 1533525"/>
              <a:gd name="connsiteX60" fmla="*/ 581025 w 1266825"/>
              <a:gd name="connsiteY60" fmla="*/ 1531144 h 1533525"/>
              <a:gd name="connsiteX61" fmla="*/ 523875 w 1266825"/>
              <a:gd name="connsiteY61" fmla="*/ 1502569 h 1533525"/>
              <a:gd name="connsiteX62" fmla="*/ 514350 w 1266825"/>
              <a:gd name="connsiteY62" fmla="*/ 1490663 h 1533525"/>
              <a:gd name="connsiteX63" fmla="*/ 483393 w 1266825"/>
              <a:gd name="connsiteY63" fmla="*/ 1533525 h 1533525"/>
              <a:gd name="connsiteX64" fmla="*/ 459581 w 1266825"/>
              <a:gd name="connsiteY64" fmla="*/ 1481138 h 1533525"/>
              <a:gd name="connsiteX65" fmla="*/ 438150 w 1266825"/>
              <a:gd name="connsiteY65" fmla="*/ 1471613 h 1533525"/>
              <a:gd name="connsiteX66" fmla="*/ 400050 w 1266825"/>
              <a:gd name="connsiteY66" fmla="*/ 1485900 h 1533525"/>
              <a:gd name="connsiteX67" fmla="*/ 338137 w 1266825"/>
              <a:gd name="connsiteY67" fmla="*/ 1490663 h 1533525"/>
              <a:gd name="connsiteX68" fmla="*/ 330993 w 1266825"/>
              <a:gd name="connsiteY68" fmla="*/ 1497806 h 1533525"/>
              <a:gd name="connsiteX69" fmla="*/ 271462 w 1266825"/>
              <a:gd name="connsiteY69" fmla="*/ 1471613 h 1533525"/>
              <a:gd name="connsiteX70" fmla="*/ 219075 w 1266825"/>
              <a:gd name="connsiteY70" fmla="*/ 1443038 h 1533525"/>
              <a:gd name="connsiteX71" fmla="*/ 138112 w 1266825"/>
              <a:gd name="connsiteY71" fmla="*/ 1402556 h 1533525"/>
              <a:gd name="connsiteX72" fmla="*/ 95250 w 1266825"/>
              <a:gd name="connsiteY72" fmla="*/ 1316831 h 1533525"/>
              <a:gd name="connsiteX73" fmla="*/ 80962 w 1266825"/>
              <a:gd name="connsiteY73" fmla="*/ 1288256 h 1533525"/>
              <a:gd name="connsiteX74" fmla="*/ 104775 w 1266825"/>
              <a:gd name="connsiteY74" fmla="*/ 1266825 h 1533525"/>
              <a:gd name="connsiteX75" fmla="*/ 76200 w 1266825"/>
              <a:gd name="connsiteY75" fmla="*/ 1212056 h 1533525"/>
              <a:gd name="connsiteX76" fmla="*/ 109537 w 1266825"/>
              <a:gd name="connsiteY76" fmla="*/ 1193006 h 1533525"/>
              <a:gd name="connsiteX77" fmla="*/ 140493 w 1266825"/>
              <a:gd name="connsiteY77" fmla="*/ 1143000 h 1533525"/>
              <a:gd name="connsiteX78" fmla="*/ 123825 w 1266825"/>
              <a:gd name="connsiteY78" fmla="*/ 1107281 h 1533525"/>
              <a:gd name="connsiteX79" fmla="*/ 178593 w 1266825"/>
              <a:gd name="connsiteY79" fmla="*/ 1107281 h 1533525"/>
              <a:gd name="connsiteX80" fmla="*/ 192881 w 1266825"/>
              <a:gd name="connsiteY80" fmla="*/ 1109663 h 1533525"/>
              <a:gd name="connsiteX81" fmla="*/ 159543 w 1266825"/>
              <a:gd name="connsiteY81" fmla="*/ 1064419 h 1533525"/>
              <a:gd name="connsiteX82" fmla="*/ 169068 w 1266825"/>
              <a:gd name="connsiteY82" fmla="*/ 1014413 h 1533525"/>
              <a:gd name="connsiteX83" fmla="*/ 123825 w 1266825"/>
              <a:gd name="connsiteY83" fmla="*/ 997744 h 1533525"/>
              <a:gd name="connsiteX84" fmla="*/ 61912 w 1266825"/>
              <a:gd name="connsiteY84" fmla="*/ 954881 h 1533525"/>
              <a:gd name="connsiteX85" fmla="*/ 45243 w 1266825"/>
              <a:gd name="connsiteY85" fmla="*/ 938213 h 1533525"/>
              <a:gd name="connsiteX86" fmla="*/ 64293 w 1266825"/>
              <a:gd name="connsiteY86" fmla="*/ 909638 h 1533525"/>
              <a:gd name="connsiteX87" fmla="*/ 47625 w 1266825"/>
              <a:gd name="connsiteY87" fmla="*/ 897731 h 1533525"/>
              <a:gd name="connsiteX88" fmla="*/ 47625 w 1266825"/>
              <a:gd name="connsiteY88" fmla="*/ 881063 h 1533525"/>
              <a:gd name="connsiteX89" fmla="*/ 26193 w 1266825"/>
              <a:gd name="connsiteY89" fmla="*/ 881063 h 1533525"/>
              <a:gd name="connsiteX90" fmla="*/ 7143 w 1266825"/>
              <a:gd name="connsiteY90" fmla="*/ 847725 h 1533525"/>
              <a:gd name="connsiteX91" fmla="*/ 0 w 1266825"/>
              <a:gd name="connsiteY91" fmla="*/ 816769 h 1533525"/>
              <a:gd name="connsiteX92" fmla="*/ 54768 w 1266825"/>
              <a:gd name="connsiteY92" fmla="*/ 800100 h 1533525"/>
              <a:gd name="connsiteX93" fmla="*/ 76200 w 1266825"/>
              <a:gd name="connsiteY93" fmla="*/ 788194 h 1533525"/>
              <a:gd name="connsiteX94" fmla="*/ 128587 w 1266825"/>
              <a:gd name="connsiteY94" fmla="*/ 821531 h 1533525"/>
              <a:gd name="connsiteX95" fmla="*/ 126206 w 1266825"/>
              <a:gd name="connsiteY95" fmla="*/ 800100 h 1533525"/>
              <a:gd name="connsiteX96" fmla="*/ 164306 w 1266825"/>
              <a:gd name="connsiteY96" fmla="*/ 795338 h 1533525"/>
              <a:gd name="connsiteX97" fmla="*/ 173831 w 1266825"/>
              <a:gd name="connsiteY97" fmla="*/ 759619 h 1533525"/>
              <a:gd name="connsiteX98" fmla="*/ 235743 w 1266825"/>
              <a:gd name="connsiteY98" fmla="*/ 764381 h 1533525"/>
              <a:gd name="connsiteX99" fmla="*/ 235743 w 1266825"/>
              <a:gd name="connsiteY99" fmla="*/ 764381 h 1533525"/>
              <a:gd name="connsiteX100" fmla="*/ 245268 w 1266825"/>
              <a:gd name="connsiteY100" fmla="*/ 704850 h 1533525"/>
              <a:gd name="connsiteX101" fmla="*/ 276225 w 1266825"/>
              <a:gd name="connsiteY101" fmla="*/ 666750 h 1533525"/>
              <a:gd name="connsiteX102" fmla="*/ 292893 w 1266825"/>
              <a:gd name="connsiteY102" fmla="*/ 638175 h 1533525"/>
              <a:gd name="connsiteX103" fmla="*/ 245268 w 1266825"/>
              <a:gd name="connsiteY103" fmla="*/ 602456 h 1533525"/>
              <a:gd name="connsiteX104" fmla="*/ 264318 w 1266825"/>
              <a:gd name="connsiteY104" fmla="*/ 585788 h 1533525"/>
              <a:gd name="connsiteX105" fmla="*/ 311943 w 1266825"/>
              <a:gd name="connsiteY105" fmla="*/ 602456 h 1533525"/>
              <a:gd name="connsiteX106" fmla="*/ 369093 w 1266825"/>
              <a:gd name="connsiteY106" fmla="*/ 573881 h 1533525"/>
              <a:gd name="connsiteX107" fmla="*/ 457200 w 1266825"/>
              <a:gd name="connsiteY107" fmla="*/ 545306 h 1533525"/>
              <a:gd name="connsiteX108" fmla="*/ 538162 w 1266825"/>
              <a:gd name="connsiteY108" fmla="*/ 578644 h 1533525"/>
              <a:gd name="connsiteX109" fmla="*/ 614362 w 1266825"/>
              <a:gd name="connsiteY109" fmla="*/ 550069 h 1533525"/>
              <a:gd name="connsiteX110" fmla="*/ 650081 w 1266825"/>
              <a:gd name="connsiteY110" fmla="*/ 552450 h 1533525"/>
              <a:gd name="connsiteX111" fmla="*/ 654843 w 1266825"/>
              <a:gd name="connsiteY111" fmla="*/ 523875 h 1533525"/>
              <a:gd name="connsiteX112" fmla="*/ 654843 w 1266825"/>
              <a:gd name="connsiteY112" fmla="*/ 490538 h 1533525"/>
              <a:gd name="connsiteX113" fmla="*/ 669131 w 1266825"/>
              <a:gd name="connsiteY113" fmla="*/ 469106 h 1533525"/>
              <a:gd name="connsiteX114" fmla="*/ 652462 w 1266825"/>
              <a:gd name="connsiteY114" fmla="*/ 450056 h 1533525"/>
              <a:gd name="connsiteX115" fmla="*/ 642937 w 1266825"/>
              <a:gd name="connsiteY115" fmla="*/ 411956 h 1533525"/>
              <a:gd name="connsiteX116" fmla="*/ 642937 w 1266825"/>
              <a:gd name="connsiteY116" fmla="*/ 330994 h 1533525"/>
              <a:gd name="connsiteX117" fmla="*/ 633412 w 1266825"/>
              <a:gd name="connsiteY117" fmla="*/ 319088 h 1533525"/>
              <a:gd name="connsiteX118" fmla="*/ 664368 w 1266825"/>
              <a:gd name="connsiteY118" fmla="*/ 285750 h 1533525"/>
              <a:gd name="connsiteX119" fmla="*/ 721518 w 1266825"/>
              <a:gd name="connsiteY119" fmla="*/ 292894 h 1533525"/>
              <a:gd name="connsiteX120" fmla="*/ 733425 w 1266825"/>
              <a:gd name="connsiteY120" fmla="*/ 264319 h 1533525"/>
              <a:gd name="connsiteX121" fmla="*/ 731043 w 1266825"/>
              <a:gd name="connsiteY121" fmla="*/ 228600 h 1533525"/>
              <a:gd name="connsiteX122" fmla="*/ 790575 w 1266825"/>
              <a:gd name="connsiteY122" fmla="*/ 192881 h 1533525"/>
              <a:gd name="connsiteX123" fmla="*/ 804862 w 1266825"/>
              <a:gd name="connsiteY123" fmla="*/ 166688 h 1533525"/>
              <a:gd name="connsiteX124" fmla="*/ 778668 w 1266825"/>
              <a:gd name="connsiteY124" fmla="*/ 128588 h 1533525"/>
              <a:gd name="connsiteX125" fmla="*/ 771525 w 1266825"/>
              <a:gd name="connsiteY125" fmla="*/ 104775 h 1533525"/>
              <a:gd name="connsiteX126" fmla="*/ 823912 w 1266825"/>
              <a:gd name="connsiteY126" fmla="*/ 97631 h 1533525"/>
              <a:gd name="connsiteX127" fmla="*/ 869156 w 1266825"/>
              <a:gd name="connsiteY127" fmla="*/ 52388 h 1533525"/>
              <a:gd name="connsiteX128" fmla="*/ 890587 w 1266825"/>
              <a:gd name="connsiteY128" fmla="*/ 23813 h 1533525"/>
              <a:gd name="connsiteX129" fmla="*/ 923925 w 1266825"/>
              <a:gd name="connsiteY129" fmla="*/ 9525 h 1533525"/>
              <a:gd name="connsiteX130" fmla="*/ 971550 w 1266825"/>
              <a:gd name="connsiteY130" fmla="*/ 0 h 1533525"/>
              <a:gd name="connsiteX131" fmla="*/ 971550 w 1266825"/>
              <a:gd name="connsiteY131" fmla="*/ 40481 h 1533525"/>
              <a:gd name="connsiteX132" fmla="*/ 950118 w 1266825"/>
              <a:gd name="connsiteY132" fmla="*/ 80963 h 1533525"/>
              <a:gd name="connsiteX133" fmla="*/ 950118 w 1266825"/>
              <a:gd name="connsiteY133" fmla="*/ 140494 h 1533525"/>
              <a:gd name="connsiteX134" fmla="*/ 969168 w 1266825"/>
              <a:gd name="connsiteY134" fmla="*/ 161925 h 1533525"/>
              <a:gd name="connsiteX135" fmla="*/ 1007268 w 1266825"/>
              <a:gd name="connsiteY135" fmla="*/ 188119 h 1533525"/>
              <a:gd name="connsiteX136" fmla="*/ 1019175 w 1266825"/>
              <a:gd name="connsiteY136" fmla="*/ 216694 h 1533525"/>
              <a:gd name="connsiteX137" fmla="*/ 1004887 w 1266825"/>
              <a:gd name="connsiteY137" fmla="*/ 226219 h 1533525"/>
              <a:gd name="connsiteX138" fmla="*/ 1057275 w 1266825"/>
              <a:gd name="connsiteY138" fmla="*/ 250031 h 1533525"/>
              <a:gd name="connsiteX139" fmla="*/ 1073943 w 1266825"/>
              <a:gd name="connsiteY139" fmla="*/ 228600 h 1533525"/>
              <a:gd name="connsiteX140" fmla="*/ 1083468 w 1266825"/>
              <a:gd name="connsiteY140" fmla="*/ 252413 h 1533525"/>
              <a:gd name="connsiteX141" fmla="*/ 1116806 w 1266825"/>
              <a:gd name="connsiteY141" fmla="*/ 252413 h 1533525"/>
              <a:gd name="connsiteX0" fmla="*/ 1057275 w 1266825"/>
              <a:gd name="connsiteY0" fmla="*/ 264319 h 1533525"/>
              <a:gd name="connsiteX1" fmla="*/ 1062037 w 1266825"/>
              <a:gd name="connsiteY1" fmla="*/ 304800 h 1533525"/>
              <a:gd name="connsiteX2" fmla="*/ 995362 w 1266825"/>
              <a:gd name="connsiteY2" fmla="*/ 352425 h 1533525"/>
              <a:gd name="connsiteX3" fmla="*/ 973931 w 1266825"/>
              <a:gd name="connsiteY3" fmla="*/ 383381 h 1533525"/>
              <a:gd name="connsiteX4" fmla="*/ 1000125 w 1266825"/>
              <a:gd name="connsiteY4" fmla="*/ 428625 h 1533525"/>
              <a:gd name="connsiteX5" fmla="*/ 983456 w 1266825"/>
              <a:gd name="connsiteY5" fmla="*/ 466725 h 1533525"/>
              <a:gd name="connsiteX6" fmla="*/ 1000125 w 1266825"/>
              <a:gd name="connsiteY6" fmla="*/ 519113 h 1533525"/>
              <a:gd name="connsiteX7" fmla="*/ 1033462 w 1266825"/>
              <a:gd name="connsiteY7" fmla="*/ 519113 h 1533525"/>
              <a:gd name="connsiteX8" fmla="*/ 1019175 w 1266825"/>
              <a:gd name="connsiteY8" fmla="*/ 552450 h 1533525"/>
              <a:gd name="connsiteX9" fmla="*/ 1035843 w 1266825"/>
              <a:gd name="connsiteY9" fmla="*/ 590550 h 1533525"/>
              <a:gd name="connsiteX10" fmla="*/ 1035843 w 1266825"/>
              <a:gd name="connsiteY10" fmla="*/ 607219 h 1533525"/>
              <a:gd name="connsiteX11" fmla="*/ 1045368 w 1266825"/>
              <a:gd name="connsiteY11" fmla="*/ 645319 h 1533525"/>
              <a:gd name="connsiteX12" fmla="*/ 1064418 w 1266825"/>
              <a:gd name="connsiteY12" fmla="*/ 645319 h 1533525"/>
              <a:gd name="connsiteX13" fmla="*/ 1078706 w 1266825"/>
              <a:gd name="connsiteY13" fmla="*/ 666750 h 1533525"/>
              <a:gd name="connsiteX14" fmla="*/ 1085850 w 1266825"/>
              <a:gd name="connsiteY14" fmla="*/ 688181 h 1533525"/>
              <a:gd name="connsiteX15" fmla="*/ 1076325 w 1266825"/>
              <a:gd name="connsiteY15" fmla="*/ 719138 h 1533525"/>
              <a:gd name="connsiteX16" fmla="*/ 1021556 w 1266825"/>
              <a:gd name="connsiteY16" fmla="*/ 714375 h 1533525"/>
              <a:gd name="connsiteX17" fmla="*/ 1002506 w 1266825"/>
              <a:gd name="connsiteY17" fmla="*/ 721519 h 1533525"/>
              <a:gd name="connsiteX18" fmla="*/ 995362 w 1266825"/>
              <a:gd name="connsiteY18" fmla="*/ 726281 h 1533525"/>
              <a:gd name="connsiteX19" fmla="*/ 995362 w 1266825"/>
              <a:gd name="connsiteY19" fmla="*/ 726281 h 1533525"/>
              <a:gd name="connsiteX20" fmla="*/ 923925 w 1266825"/>
              <a:gd name="connsiteY20" fmla="*/ 721519 h 1533525"/>
              <a:gd name="connsiteX21" fmla="*/ 940593 w 1266825"/>
              <a:gd name="connsiteY21" fmla="*/ 778669 h 1533525"/>
              <a:gd name="connsiteX22" fmla="*/ 938212 w 1266825"/>
              <a:gd name="connsiteY22" fmla="*/ 847725 h 1533525"/>
              <a:gd name="connsiteX23" fmla="*/ 954881 w 1266825"/>
              <a:gd name="connsiteY23" fmla="*/ 871538 h 1533525"/>
              <a:gd name="connsiteX24" fmla="*/ 997743 w 1266825"/>
              <a:gd name="connsiteY24" fmla="*/ 919163 h 1533525"/>
              <a:gd name="connsiteX25" fmla="*/ 1012031 w 1266825"/>
              <a:gd name="connsiteY25" fmla="*/ 954881 h 1533525"/>
              <a:gd name="connsiteX26" fmla="*/ 1031081 w 1266825"/>
              <a:gd name="connsiteY26" fmla="*/ 954881 h 1533525"/>
              <a:gd name="connsiteX27" fmla="*/ 1071562 w 1266825"/>
              <a:gd name="connsiteY27" fmla="*/ 940594 h 1533525"/>
              <a:gd name="connsiteX28" fmla="*/ 1102518 w 1266825"/>
              <a:gd name="connsiteY28" fmla="*/ 933450 h 1533525"/>
              <a:gd name="connsiteX29" fmla="*/ 1159668 w 1266825"/>
              <a:gd name="connsiteY29" fmla="*/ 997744 h 1533525"/>
              <a:gd name="connsiteX30" fmla="*/ 1178718 w 1266825"/>
              <a:gd name="connsiteY30" fmla="*/ 1052513 h 1533525"/>
              <a:gd name="connsiteX31" fmla="*/ 1190625 w 1266825"/>
              <a:gd name="connsiteY31" fmla="*/ 1081088 h 1533525"/>
              <a:gd name="connsiteX32" fmla="*/ 1212056 w 1266825"/>
              <a:gd name="connsiteY32" fmla="*/ 1109663 h 1533525"/>
              <a:gd name="connsiteX33" fmla="*/ 1231106 w 1266825"/>
              <a:gd name="connsiteY33" fmla="*/ 1102519 h 1533525"/>
              <a:gd name="connsiteX34" fmla="*/ 1231106 w 1266825"/>
              <a:gd name="connsiteY34" fmla="*/ 1131094 h 1533525"/>
              <a:gd name="connsiteX35" fmla="*/ 1233487 w 1266825"/>
              <a:gd name="connsiteY35" fmla="*/ 1145381 h 1533525"/>
              <a:gd name="connsiteX36" fmla="*/ 1266825 w 1266825"/>
              <a:gd name="connsiteY36" fmla="*/ 1181100 h 1533525"/>
              <a:gd name="connsiteX37" fmla="*/ 1233487 w 1266825"/>
              <a:gd name="connsiteY37" fmla="*/ 1181100 h 1533525"/>
              <a:gd name="connsiteX38" fmla="*/ 1228725 w 1266825"/>
              <a:gd name="connsiteY38" fmla="*/ 1223963 h 1533525"/>
              <a:gd name="connsiteX39" fmla="*/ 1226343 w 1266825"/>
              <a:gd name="connsiteY39" fmla="*/ 1243013 h 1533525"/>
              <a:gd name="connsiteX40" fmla="*/ 1216818 w 1266825"/>
              <a:gd name="connsiteY40" fmla="*/ 1264444 h 1533525"/>
              <a:gd name="connsiteX41" fmla="*/ 1190625 w 1266825"/>
              <a:gd name="connsiteY41" fmla="*/ 1238250 h 1533525"/>
              <a:gd name="connsiteX42" fmla="*/ 1157287 w 1266825"/>
              <a:gd name="connsiteY42" fmla="*/ 1209675 h 1533525"/>
              <a:gd name="connsiteX43" fmla="*/ 1131093 w 1266825"/>
              <a:gd name="connsiteY43" fmla="*/ 1185863 h 1533525"/>
              <a:gd name="connsiteX44" fmla="*/ 1107281 w 1266825"/>
              <a:gd name="connsiteY44" fmla="*/ 1219200 h 1533525"/>
              <a:gd name="connsiteX45" fmla="*/ 1104900 w 1266825"/>
              <a:gd name="connsiteY45" fmla="*/ 1264444 h 1533525"/>
              <a:gd name="connsiteX46" fmla="*/ 1062037 w 1266825"/>
              <a:gd name="connsiteY46" fmla="*/ 1259681 h 1533525"/>
              <a:gd name="connsiteX47" fmla="*/ 1026318 w 1266825"/>
              <a:gd name="connsiteY47" fmla="*/ 1288256 h 1533525"/>
              <a:gd name="connsiteX48" fmla="*/ 1007268 w 1266825"/>
              <a:gd name="connsiteY48" fmla="*/ 1240631 h 1533525"/>
              <a:gd name="connsiteX49" fmla="*/ 947737 w 1266825"/>
              <a:gd name="connsiteY49" fmla="*/ 1231106 h 1533525"/>
              <a:gd name="connsiteX50" fmla="*/ 921543 w 1266825"/>
              <a:gd name="connsiteY50" fmla="*/ 1297781 h 1533525"/>
              <a:gd name="connsiteX51" fmla="*/ 885825 w 1266825"/>
              <a:gd name="connsiteY51" fmla="*/ 1278731 h 1533525"/>
              <a:gd name="connsiteX52" fmla="*/ 816768 w 1266825"/>
              <a:gd name="connsiteY52" fmla="*/ 1295400 h 1533525"/>
              <a:gd name="connsiteX53" fmla="*/ 757237 w 1266825"/>
              <a:gd name="connsiteY53" fmla="*/ 1259681 h 1533525"/>
              <a:gd name="connsiteX54" fmla="*/ 742950 w 1266825"/>
              <a:gd name="connsiteY54" fmla="*/ 1312069 h 1533525"/>
              <a:gd name="connsiteX55" fmla="*/ 704850 w 1266825"/>
              <a:gd name="connsiteY55" fmla="*/ 1345406 h 1533525"/>
              <a:gd name="connsiteX56" fmla="*/ 692943 w 1266825"/>
              <a:gd name="connsiteY56" fmla="*/ 1366838 h 1533525"/>
              <a:gd name="connsiteX57" fmla="*/ 671512 w 1266825"/>
              <a:gd name="connsiteY57" fmla="*/ 1509713 h 1533525"/>
              <a:gd name="connsiteX58" fmla="*/ 633412 w 1266825"/>
              <a:gd name="connsiteY58" fmla="*/ 1490663 h 1533525"/>
              <a:gd name="connsiteX59" fmla="*/ 614362 w 1266825"/>
              <a:gd name="connsiteY59" fmla="*/ 1504950 h 1533525"/>
              <a:gd name="connsiteX60" fmla="*/ 581025 w 1266825"/>
              <a:gd name="connsiteY60" fmla="*/ 1531144 h 1533525"/>
              <a:gd name="connsiteX61" fmla="*/ 523875 w 1266825"/>
              <a:gd name="connsiteY61" fmla="*/ 1502569 h 1533525"/>
              <a:gd name="connsiteX62" fmla="*/ 514350 w 1266825"/>
              <a:gd name="connsiteY62" fmla="*/ 1490663 h 1533525"/>
              <a:gd name="connsiteX63" fmla="*/ 483393 w 1266825"/>
              <a:gd name="connsiteY63" fmla="*/ 1533525 h 1533525"/>
              <a:gd name="connsiteX64" fmla="*/ 459581 w 1266825"/>
              <a:gd name="connsiteY64" fmla="*/ 1481138 h 1533525"/>
              <a:gd name="connsiteX65" fmla="*/ 438150 w 1266825"/>
              <a:gd name="connsiteY65" fmla="*/ 1471613 h 1533525"/>
              <a:gd name="connsiteX66" fmla="*/ 400050 w 1266825"/>
              <a:gd name="connsiteY66" fmla="*/ 1485900 h 1533525"/>
              <a:gd name="connsiteX67" fmla="*/ 338137 w 1266825"/>
              <a:gd name="connsiteY67" fmla="*/ 1490663 h 1533525"/>
              <a:gd name="connsiteX68" fmla="*/ 330993 w 1266825"/>
              <a:gd name="connsiteY68" fmla="*/ 1497806 h 1533525"/>
              <a:gd name="connsiteX69" fmla="*/ 271462 w 1266825"/>
              <a:gd name="connsiteY69" fmla="*/ 1471613 h 1533525"/>
              <a:gd name="connsiteX70" fmla="*/ 219075 w 1266825"/>
              <a:gd name="connsiteY70" fmla="*/ 1443038 h 1533525"/>
              <a:gd name="connsiteX71" fmla="*/ 138112 w 1266825"/>
              <a:gd name="connsiteY71" fmla="*/ 1402556 h 1533525"/>
              <a:gd name="connsiteX72" fmla="*/ 95250 w 1266825"/>
              <a:gd name="connsiteY72" fmla="*/ 1316831 h 1533525"/>
              <a:gd name="connsiteX73" fmla="*/ 80962 w 1266825"/>
              <a:gd name="connsiteY73" fmla="*/ 1288256 h 1533525"/>
              <a:gd name="connsiteX74" fmla="*/ 104775 w 1266825"/>
              <a:gd name="connsiteY74" fmla="*/ 1266825 h 1533525"/>
              <a:gd name="connsiteX75" fmla="*/ 76200 w 1266825"/>
              <a:gd name="connsiteY75" fmla="*/ 1212056 h 1533525"/>
              <a:gd name="connsiteX76" fmla="*/ 109537 w 1266825"/>
              <a:gd name="connsiteY76" fmla="*/ 1193006 h 1533525"/>
              <a:gd name="connsiteX77" fmla="*/ 140493 w 1266825"/>
              <a:gd name="connsiteY77" fmla="*/ 1143000 h 1533525"/>
              <a:gd name="connsiteX78" fmla="*/ 123825 w 1266825"/>
              <a:gd name="connsiteY78" fmla="*/ 1107281 h 1533525"/>
              <a:gd name="connsiteX79" fmla="*/ 178593 w 1266825"/>
              <a:gd name="connsiteY79" fmla="*/ 1107281 h 1533525"/>
              <a:gd name="connsiteX80" fmla="*/ 192881 w 1266825"/>
              <a:gd name="connsiteY80" fmla="*/ 1109663 h 1533525"/>
              <a:gd name="connsiteX81" fmla="*/ 159543 w 1266825"/>
              <a:gd name="connsiteY81" fmla="*/ 1064419 h 1533525"/>
              <a:gd name="connsiteX82" fmla="*/ 169068 w 1266825"/>
              <a:gd name="connsiteY82" fmla="*/ 1014413 h 1533525"/>
              <a:gd name="connsiteX83" fmla="*/ 123825 w 1266825"/>
              <a:gd name="connsiteY83" fmla="*/ 997744 h 1533525"/>
              <a:gd name="connsiteX84" fmla="*/ 61912 w 1266825"/>
              <a:gd name="connsiteY84" fmla="*/ 954881 h 1533525"/>
              <a:gd name="connsiteX85" fmla="*/ 45243 w 1266825"/>
              <a:gd name="connsiteY85" fmla="*/ 938213 h 1533525"/>
              <a:gd name="connsiteX86" fmla="*/ 64293 w 1266825"/>
              <a:gd name="connsiteY86" fmla="*/ 909638 h 1533525"/>
              <a:gd name="connsiteX87" fmla="*/ 47625 w 1266825"/>
              <a:gd name="connsiteY87" fmla="*/ 897731 h 1533525"/>
              <a:gd name="connsiteX88" fmla="*/ 47625 w 1266825"/>
              <a:gd name="connsiteY88" fmla="*/ 881063 h 1533525"/>
              <a:gd name="connsiteX89" fmla="*/ 26193 w 1266825"/>
              <a:gd name="connsiteY89" fmla="*/ 881063 h 1533525"/>
              <a:gd name="connsiteX90" fmla="*/ 7143 w 1266825"/>
              <a:gd name="connsiteY90" fmla="*/ 847725 h 1533525"/>
              <a:gd name="connsiteX91" fmla="*/ 0 w 1266825"/>
              <a:gd name="connsiteY91" fmla="*/ 816769 h 1533525"/>
              <a:gd name="connsiteX92" fmla="*/ 54768 w 1266825"/>
              <a:gd name="connsiteY92" fmla="*/ 800100 h 1533525"/>
              <a:gd name="connsiteX93" fmla="*/ 76200 w 1266825"/>
              <a:gd name="connsiteY93" fmla="*/ 788194 h 1533525"/>
              <a:gd name="connsiteX94" fmla="*/ 128587 w 1266825"/>
              <a:gd name="connsiteY94" fmla="*/ 821531 h 1533525"/>
              <a:gd name="connsiteX95" fmla="*/ 126206 w 1266825"/>
              <a:gd name="connsiteY95" fmla="*/ 800100 h 1533525"/>
              <a:gd name="connsiteX96" fmla="*/ 164306 w 1266825"/>
              <a:gd name="connsiteY96" fmla="*/ 795338 h 1533525"/>
              <a:gd name="connsiteX97" fmla="*/ 173831 w 1266825"/>
              <a:gd name="connsiteY97" fmla="*/ 759619 h 1533525"/>
              <a:gd name="connsiteX98" fmla="*/ 235743 w 1266825"/>
              <a:gd name="connsiteY98" fmla="*/ 764381 h 1533525"/>
              <a:gd name="connsiteX99" fmla="*/ 235743 w 1266825"/>
              <a:gd name="connsiteY99" fmla="*/ 764381 h 1533525"/>
              <a:gd name="connsiteX100" fmla="*/ 245268 w 1266825"/>
              <a:gd name="connsiteY100" fmla="*/ 704850 h 1533525"/>
              <a:gd name="connsiteX101" fmla="*/ 276225 w 1266825"/>
              <a:gd name="connsiteY101" fmla="*/ 666750 h 1533525"/>
              <a:gd name="connsiteX102" fmla="*/ 292893 w 1266825"/>
              <a:gd name="connsiteY102" fmla="*/ 638175 h 1533525"/>
              <a:gd name="connsiteX103" fmla="*/ 245268 w 1266825"/>
              <a:gd name="connsiteY103" fmla="*/ 602456 h 1533525"/>
              <a:gd name="connsiteX104" fmla="*/ 264318 w 1266825"/>
              <a:gd name="connsiteY104" fmla="*/ 585788 h 1533525"/>
              <a:gd name="connsiteX105" fmla="*/ 311943 w 1266825"/>
              <a:gd name="connsiteY105" fmla="*/ 602456 h 1533525"/>
              <a:gd name="connsiteX106" fmla="*/ 369093 w 1266825"/>
              <a:gd name="connsiteY106" fmla="*/ 573881 h 1533525"/>
              <a:gd name="connsiteX107" fmla="*/ 457200 w 1266825"/>
              <a:gd name="connsiteY107" fmla="*/ 545306 h 1533525"/>
              <a:gd name="connsiteX108" fmla="*/ 538162 w 1266825"/>
              <a:gd name="connsiteY108" fmla="*/ 578644 h 1533525"/>
              <a:gd name="connsiteX109" fmla="*/ 614362 w 1266825"/>
              <a:gd name="connsiteY109" fmla="*/ 550069 h 1533525"/>
              <a:gd name="connsiteX110" fmla="*/ 650081 w 1266825"/>
              <a:gd name="connsiteY110" fmla="*/ 552450 h 1533525"/>
              <a:gd name="connsiteX111" fmla="*/ 654843 w 1266825"/>
              <a:gd name="connsiteY111" fmla="*/ 523875 h 1533525"/>
              <a:gd name="connsiteX112" fmla="*/ 654843 w 1266825"/>
              <a:gd name="connsiteY112" fmla="*/ 490538 h 1533525"/>
              <a:gd name="connsiteX113" fmla="*/ 669131 w 1266825"/>
              <a:gd name="connsiteY113" fmla="*/ 469106 h 1533525"/>
              <a:gd name="connsiteX114" fmla="*/ 652462 w 1266825"/>
              <a:gd name="connsiteY114" fmla="*/ 450056 h 1533525"/>
              <a:gd name="connsiteX115" fmla="*/ 642937 w 1266825"/>
              <a:gd name="connsiteY115" fmla="*/ 411956 h 1533525"/>
              <a:gd name="connsiteX116" fmla="*/ 642937 w 1266825"/>
              <a:gd name="connsiteY116" fmla="*/ 330994 h 1533525"/>
              <a:gd name="connsiteX117" fmla="*/ 633412 w 1266825"/>
              <a:gd name="connsiteY117" fmla="*/ 319088 h 1533525"/>
              <a:gd name="connsiteX118" fmla="*/ 664368 w 1266825"/>
              <a:gd name="connsiteY118" fmla="*/ 285750 h 1533525"/>
              <a:gd name="connsiteX119" fmla="*/ 721518 w 1266825"/>
              <a:gd name="connsiteY119" fmla="*/ 292894 h 1533525"/>
              <a:gd name="connsiteX120" fmla="*/ 733425 w 1266825"/>
              <a:gd name="connsiteY120" fmla="*/ 264319 h 1533525"/>
              <a:gd name="connsiteX121" fmla="*/ 731043 w 1266825"/>
              <a:gd name="connsiteY121" fmla="*/ 228600 h 1533525"/>
              <a:gd name="connsiteX122" fmla="*/ 790575 w 1266825"/>
              <a:gd name="connsiteY122" fmla="*/ 192881 h 1533525"/>
              <a:gd name="connsiteX123" fmla="*/ 804862 w 1266825"/>
              <a:gd name="connsiteY123" fmla="*/ 166688 h 1533525"/>
              <a:gd name="connsiteX124" fmla="*/ 778668 w 1266825"/>
              <a:gd name="connsiteY124" fmla="*/ 128588 h 1533525"/>
              <a:gd name="connsiteX125" fmla="*/ 771525 w 1266825"/>
              <a:gd name="connsiteY125" fmla="*/ 104775 h 1533525"/>
              <a:gd name="connsiteX126" fmla="*/ 823912 w 1266825"/>
              <a:gd name="connsiteY126" fmla="*/ 97631 h 1533525"/>
              <a:gd name="connsiteX127" fmla="*/ 869156 w 1266825"/>
              <a:gd name="connsiteY127" fmla="*/ 52388 h 1533525"/>
              <a:gd name="connsiteX128" fmla="*/ 890587 w 1266825"/>
              <a:gd name="connsiteY128" fmla="*/ 23813 h 1533525"/>
              <a:gd name="connsiteX129" fmla="*/ 923925 w 1266825"/>
              <a:gd name="connsiteY129" fmla="*/ 9525 h 1533525"/>
              <a:gd name="connsiteX130" fmla="*/ 971550 w 1266825"/>
              <a:gd name="connsiteY130" fmla="*/ 0 h 1533525"/>
              <a:gd name="connsiteX131" fmla="*/ 971550 w 1266825"/>
              <a:gd name="connsiteY131" fmla="*/ 40481 h 1533525"/>
              <a:gd name="connsiteX132" fmla="*/ 950118 w 1266825"/>
              <a:gd name="connsiteY132" fmla="*/ 80963 h 1533525"/>
              <a:gd name="connsiteX133" fmla="*/ 950118 w 1266825"/>
              <a:gd name="connsiteY133" fmla="*/ 140494 h 1533525"/>
              <a:gd name="connsiteX134" fmla="*/ 969168 w 1266825"/>
              <a:gd name="connsiteY134" fmla="*/ 161925 h 1533525"/>
              <a:gd name="connsiteX135" fmla="*/ 1007268 w 1266825"/>
              <a:gd name="connsiteY135" fmla="*/ 188119 h 1533525"/>
              <a:gd name="connsiteX136" fmla="*/ 1019175 w 1266825"/>
              <a:gd name="connsiteY136" fmla="*/ 216694 h 1533525"/>
              <a:gd name="connsiteX137" fmla="*/ 1004887 w 1266825"/>
              <a:gd name="connsiteY137" fmla="*/ 226219 h 1533525"/>
              <a:gd name="connsiteX138" fmla="*/ 1057275 w 1266825"/>
              <a:gd name="connsiteY138" fmla="*/ 250031 h 1533525"/>
              <a:gd name="connsiteX139" fmla="*/ 1073943 w 1266825"/>
              <a:gd name="connsiteY139" fmla="*/ 228600 h 1533525"/>
              <a:gd name="connsiteX140" fmla="*/ 1083468 w 1266825"/>
              <a:gd name="connsiteY140" fmla="*/ 252413 h 1533525"/>
              <a:gd name="connsiteX0" fmla="*/ 1057275 w 1266825"/>
              <a:gd name="connsiteY0" fmla="*/ 264319 h 1533525"/>
              <a:gd name="connsiteX1" fmla="*/ 1062037 w 1266825"/>
              <a:gd name="connsiteY1" fmla="*/ 304800 h 1533525"/>
              <a:gd name="connsiteX2" fmla="*/ 995362 w 1266825"/>
              <a:gd name="connsiteY2" fmla="*/ 352425 h 1533525"/>
              <a:gd name="connsiteX3" fmla="*/ 973931 w 1266825"/>
              <a:gd name="connsiteY3" fmla="*/ 383381 h 1533525"/>
              <a:gd name="connsiteX4" fmla="*/ 1000125 w 1266825"/>
              <a:gd name="connsiteY4" fmla="*/ 428625 h 1533525"/>
              <a:gd name="connsiteX5" fmla="*/ 983456 w 1266825"/>
              <a:gd name="connsiteY5" fmla="*/ 466725 h 1533525"/>
              <a:gd name="connsiteX6" fmla="*/ 1000125 w 1266825"/>
              <a:gd name="connsiteY6" fmla="*/ 519113 h 1533525"/>
              <a:gd name="connsiteX7" fmla="*/ 1033462 w 1266825"/>
              <a:gd name="connsiteY7" fmla="*/ 519113 h 1533525"/>
              <a:gd name="connsiteX8" fmla="*/ 1019175 w 1266825"/>
              <a:gd name="connsiteY8" fmla="*/ 552450 h 1533525"/>
              <a:gd name="connsiteX9" fmla="*/ 1035843 w 1266825"/>
              <a:gd name="connsiteY9" fmla="*/ 590550 h 1533525"/>
              <a:gd name="connsiteX10" fmla="*/ 1035843 w 1266825"/>
              <a:gd name="connsiteY10" fmla="*/ 607219 h 1533525"/>
              <a:gd name="connsiteX11" fmla="*/ 1045368 w 1266825"/>
              <a:gd name="connsiteY11" fmla="*/ 645319 h 1533525"/>
              <a:gd name="connsiteX12" fmla="*/ 1064418 w 1266825"/>
              <a:gd name="connsiteY12" fmla="*/ 645319 h 1533525"/>
              <a:gd name="connsiteX13" fmla="*/ 1078706 w 1266825"/>
              <a:gd name="connsiteY13" fmla="*/ 666750 h 1533525"/>
              <a:gd name="connsiteX14" fmla="*/ 1085850 w 1266825"/>
              <a:gd name="connsiteY14" fmla="*/ 688181 h 1533525"/>
              <a:gd name="connsiteX15" fmla="*/ 1076325 w 1266825"/>
              <a:gd name="connsiteY15" fmla="*/ 719138 h 1533525"/>
              <a:gd name="connsiteX16" fmla="*/ 1021556 w 1266825"/>
              <a:gd name="connsiteY16" fmla="*/ 714375 h 1533525"/>
              <a:gd name="connsiteX17" fmla="*/ 1002506 w 1266825"/>
              <a:gd name="connsiteY17" fmla="*/ 721519 h 1533525"/>
              <a:gd name="connsiteX18" fmla="*/ 995362 w 1266825"/>
              <a:gd name="connsiteY18" fmla="*/ 726281 h 1533525"/>
              <a:gd name="connsiteX19" fmla="*/ 995362 w 1266825"/>
              <a:gd name="connsiteY19" fmla="*/ 726281 h 1533525"/>
              <a:gd name="connsiteX20" fmla="*/ 923925 w 1266825"/>
              <a:gd name="connsiteY20" fmla="*/ 721519 h 1533525"/>
              <a:gd name="connsiteX21" fmla="*/ 940593 w 1266825"/>
              <a:gd name="connsiteY21" fmla="*/ 778669 h 1533525"/>
              <a:gd name="connsiteX22" fmla="*/ 938212 w 1266825"/>
              <a:gd name="connsiteY22" fmla="*/ 847725 h 1533525"/>
              <a:gd name="connsiteX23" fmla="*/ 954881 w 1266825"/>
              <a:gd name="connsiteY23" fmla="*/ 871538 h 1533525"/>
              <a:gd name="connsiteX24" fmla="*/ 997743 w 1266825"/>
              <a:gd name="connsiteY24" fmla="*/ 919163 h 1533525"/>
              <a:gd name="connsiteX25" fmla="*/ 1012031 w 1266825"/>
              <a:gd name="connsiteY25" fmla="*/ 954881 h 1533525"/>
              <a:gd name="connsiteX26" fmla="*/ 1031081 w 1266825"/>
              <a:gd name="connsiteY26" fmla="*/ 954881 h 1533525"/>
              <a:gd name="connsiteX27" fmla="*/ 1071562 w 1266825"/>
              <a:gd name="connsiteY27" fmla="*/ 940594 h 1533525"/>
              <a:gd name="connsiteX28" fmla="*/ 1102518 w 1266825"/>
              <a:gd name="connsiteY28" fmla="*/ 933450 h 1533525"/>
              <a:gd name="connsiteX29" fmla="*/ 1159668 w 1266825"/>
              <a:gd name="connsiteY29" fmla="*/ 997744 h 1533525"/>
              <a:gd name="connsiteX30" fmla="*/ 1178718 w 1266825"/>
              <a:gd name="connsiteY30" fmla="*/ 1052513 h 1533525"/>
              <a:gd name="connsiteX31" fmla="*/ 1190625 w 1266825"/>
              <a:gd name="connsiteY31" fmla="*/ 1081088 h 1533525"/>
              <a:gd name="connsiteX32" fmla="*/ 1212056 w 1266825"/>
              <a:gd name="connsiteY32" fmla="*/ 1109663 h 1533525"/>
              <a:gd name="connsiteX33" fmla="*/ 1231106 w 1266825"/>
              <a:gd name="connsiteY33" fmla="*/ 1102519 h 1533525"/>
              <a:gd name="connsiteX34" fmla="*/ 1231106 w 1266825"/>
              <a:gd name="connsiteY34" fmla="*/ 1131094 h 1533525"/>
              <a:gd name="connsiteX35" fmla="*/ 1233487 w 1266825"/>
              <a:gd name="connsiteY35" fmla="*/ 1145381 h 1533525"/>
              <a:gd name="connsiteX36" fmla="*/ 1266825 w 1266825"/>
              <a:gd name="connsiteY36" fmla="*/ 1181100 h 1533525"/>
              <a:gd name="connsiteX37" fmla="*/ 1233487 w 1266825"/>
              <a:gd name="connsiteY37" fmla="*/ 1181100 h 1533525"/>
              <a:gd name="connsiteX38" fmla="*/ 1228725 w 1266825"/>
              <a:gd name="connsiteY38" fmla="*/ 1223963 h 1533525"/>
              <a:gd name="connsiteX39" fmla="*/ 1226343 w 1266825"/>
              <a:gd name="connsiteY39" fmla="*/ 1243013 h 1533525"/>
              <a:gd name="connsiteX40" fmla="*/ 1216818 w 1266825"/>
              <a:gd name="connsiteY40" fmla="*/ 1264444 h 1533525"/>
              <a:gd name="connsiteX41" fmla="*/ 1190625 w 1266825"/>
              <a:gd name="connsiteY41" fmla="*/ 1238250 h 1533525"/>
              <a:gd name="connsiteX42" fmla="*/ 1157287 w 1266825"/>
              <a:gd name="connsiteY42" fmla="*/ 1209675 h 1533525"/>
              <a:gd name="connsiteX43" fmla="*/ 1131093 w 1266825"/>
              <a:gd name="connsiteY43" fmla="*/ 1185863 h 1533525"/>
              <a:gd name="connsiteX44" fmla="*/ 1107281 w 1266825"/>
              <a:gd name="connsiteY44" fmla="*/ 1219200 h 1533525"/>
              <a:gd name="connsiteX45" fmla="*/ 1104900 w 1266825"/>
              <a:gd name="connsiteY45" fmla="*/ 1264444 h 1533525"/>
              <a:gd name="connsiteX46" fmla="*/ 1062037 w 1266825"/>
              <a:gd name="connsiteY46" fmla="*/ 1259681 h 1533525"/>
              <a:gd name="connsiteX47" fmla="*/ 1026318 w 1266825"/>
              <a:gd name="connsiteY47" fmla="*/ 1288256 h 1533525"/>
              <a:gd name="connsiteX48" fmla="*/ 1007268 w 1266825"/>
              <a:gd name="connsiteY48" fmla="*/ 1240631 h 1533525"/>
              <a:gd name="connsiteX49" fmla="*/ 947737 w 1266825"/>
              <a:gd name="connsiteY49" fmla="*/ 1231106 h 1533525"/>
              <a:gd name="connsiteX50" fmla="*/ 921543 w 1266825"/>
              <a:gd name="connsiteY50" fmla="*/ 1297781 h 1533525"/>
              <a:gd name="connsiteX51" fmla="*/ 885825 w 1266825"/>
              <a:gd name="connsiteY51" fmla="*/ 1278731 h 1533525"/>
              <a:gd name="connsiteX52" fmla="*/ 816768 w 1266825"/>
              <a:gd name="connsiteY52" fmla="*/ 1295400 h 1533525"/>
              <a:gd name="connsiteX53" fmla="*/ 757237 w 1266825"/>
              <a:gd name="connsiteY53" fmla="*/ 1259681 h 1533525"/>
              <a:gd name="connsiteX54" fmla="*/ 742950 w 1266825"/>
              <a:gd name="connsiteY54" fmla="*/ 1312069 h 1533525"/>
              <a:gd name="connsiteX55" fmla="*/ 704850 w 1266825"/>
              <a:gd name="connsiteY55" fmla="*/ 1345406 h 1533525"/>
              <a:gd name="connsiteX56" fmla="*/ 692943 w 1266825"/>
              <a:gd name="connsiteY56" fmla="*/ 1366838 h 1533525"/>
              <a:gd name="connsiteX57" fmla="*/ 671512 w 1266825"/>
              <a:gd name="connsiteY57" fmla="*/ 1509713 h 1533525"/>
              <a:gd name="connsiteX58" fmla="*/ 633412 w 1266825"/>
              <a:gd name="connsiteY58" fmla="*/ 1490663 h 1533525"/>
              <a:gd name="connsiteX59" fmla="*/ 614362 w 1266825"/>
              <a:gd name="connsiteY59" fmla="*/ 1504950 h 1533525"/>
              <a:gd name="connsiteX60" fmla="*/ 581025 w 1266825"/>
              <a:gd name="connsiteY60" fmla="*/ 1531144 h 1533525"/>
              <a:gd name="connsiteX61" fmla="*/ 523875 w 1266825"/>
              <a:gd name="connsiteY61" fmla="*/ 1502569 h 1533525"/>
              <a:gd name="connsiteX62" fmla="*/ 514350 w 1266825"/>
              <a:gd name="connsiteY62" fmla="*/ 1490663 h 1533525"/>
              <a:gd name="connsiteX63" fmla="*/ 483393 w 1266825"/>
              <a:gd name="connsiteY63" fmla="*/ 1533525 h 1533525"/>
              <a:gd name="connsiteX64" fmla="*/ 459581 w 1266825"/>
              <a:gd name="connsiteY64" fmla="*/ 1481138 h 1533525"/>
              <a:gd name="connsiteX65" fmla="*/ 438150 w 1266825"/>
              <a:gd name="connsiteY65" fmla="*/ 1471613 h 1533525"/>
              <a:gd name="connsiteX66" fmla="*/ 400050 w 1266825"/>
              <a:gd name="connsiteY66" fmla="*/ 1485900 h 1533525"/>
              <a:gd name="connsiteX67" fmla="*/ 338137 w 1266825"/>
              <a:gd name="connsiteY67" fmla="*/ 1490663 h 1533525"/>
              <a:gd name="connsiteX68" fmla="*/ 330993 w 1266825"/>
              <a:gd name="connsiteY68" fmla="*/ 1497806 h 1533525"/>
              <a:gd name="connsiteX69" fmla="*/ 271462 w 1266825"/>
              <a:gd name="connsiteY69" fmla="*/ 1471613 h 1533525"/>
              <a:gd name="connsiteX70" fmla="*/ 219075 w 1266825"/>
              <a:gd name="connsiteY70" fmla="*/ 1443038 h 1533525"/>
              <a:gd name="connsiteX71" fmla="*/ 138112 w 1266825"/>
              <a:gd name="connsiteY71" fmla="*/ 1402556 h 1533525"/>
              <a:gd name="connsiteX72" fmla="*/ 95250 w 1266825"/>
              <a:gd name="connsiteY72" fmla="*/ 1316831 h 1533525"/>
              <a:gd name="connsiteX73" fmla="*/ 80962 w 1266825"/>
              <a:gd name="connsiteY73" fmla="*/ 1288256 h 1533525"/>
              <a:gd name="connsiteX74" fmla="*/ 104775 w 1266825"/>
              <a:gd name="connsiteY74" fmla="*/ 1266825 h 1533525"/>
              <a:gd name="connsiteX75" fmla="*/ 76200 w 1266825"/>
              <a:gd name="connsiteY75" fmla="*/ 1212056 h 1533525"/>
              <a:gd name="connsiteX76" fmla="*/ 109537 w 1266825"/>
              <a:gd name="connsiteY76" fmla="*/ 1193006 h 1533525"/>
              <a:gd name="connsiteX77" fmla="*/ 140493 w 1266825"/>
              <a:gd name="connsiteY77" fmla="*/ 1143000 h 1533525"/>
              <a:gd name="connsiteX78" fmla="*/ 123825 w 1266825"/>
              <a:gd name="connsiteY78" fmla="*/ 1107281 h 1533525"/>
              <a:gd name="connsiteX79" fmla="*/ 178593 w 1266825"/>
              <a:gd name="connsiteY79" fmla="*/ 1107281 h 1533525"/>
              <a:gd name="connsiteX80" fmla="*/ 192881 w 1266825"/>
              <a:gd name="connsiteY80" fmla="*/ 1109663 h 1533525"/>
              <a:gd name="connsiteX81" fmla="*/ 159543 w 1266825"/>
              <a:gd name="connsiteY81" fmla="*/ 1064419 h 1533525"/>
              <a:gd name="connsiteX82" fmla="*/ 169068 w 1266825"/>
              <a:gd name="connsiteY82" fmla="*/ 1014413 h 1533525"/>
              <a:gd name="connsiteX83" fmla="*/ 123825 w 1266825"/>
              <a:gd name="connsiteY83" fmla="*/ 997744 h 1533525"/>
              <a:gd name="connsiteX84" fmla="*/ 61912 w 1266825"/>
              <a:gd name="connsiteY84" fmla="*/ 954881 h 1533525"/>
              <a:gd name="connsiteX85" fmla="*/ 45243 w 1266825"/>
              <a:gd name="connsiteY85" fmla="*/ 938213 h 1533525"/>
              <a:gd name="connsiteX86" fmla="*/ 64293 w 1266825"/>
              <a:gd name="connsiteY86" fmla="*/ 909638 h 1533525"/>
              <a:gd name="connsiteX87" fmla="*/ 47625 w 1266825"/>
              <a:gd name="connsiteY87" fmla="*/ 897731 h 1533525"/>
              <a:gd name="connsiteX88" fmla="*/ 47625 w 1266825"/>
              <a:gd name="connsiteY88" fmla="*/ 881063 h 1533525"/>
              <a:gd name="connsiteX89" fmla="*/ 26193 w 1266825"/>
              <a:gd name="connsiteY89" fmla="*/ 881063 h 1533525"/>
              <a:gd name="connsiteX90" fmla="*/ 7143 w 1266825"/>
              <a:gd name="connsiteY90" fmla="*/ 847725 h 1533525"/>
              <a:gd name="connsiteX91" fmla="*/ 0 w 1266825"/>
              <a:gd name="connsiteY91" fmla="*/ 816769 h 1533525"/>
              <a:gd name="connsiteX92" fmla="*/ 54768 w 1266825"/>
              <a:gd name="connsiteY92" fmla="*/ 800100 h 1533525"/>
              <a:gd name="connsiteX93" fmla="*/ 76200 w 1266825"/>
              <a:gd name="connsiteY93" fmla="*/ 788194 h 1533525"/>
              <a:gd name="connsiteX94" fmla="*/ 128587 w 1266825"/>
              <a:gd name="connsiteY94" fmla="*/ 821531 h 1533525"/>
              <a:gd name="connsiteX95" fmla="*/ 126206 w 1266825"/>
              <a:gd name="connsiteY95" fmla="*/ 800100 h 1533525"/>
              <a:gd name="connsiteX96" fmla="*/ 164306 w 1266825"/>
              <a:gd name="connsiteY96" fmla="*/ 795338 h 1533525"/>
              <a:gd name="connsiteX97" fmla="*/ 173831 w 1266825"/>
              <a:gd name="connsiteY97" fmla="*/ 759619 h 1533525"/>
              <a:gd name="connsiteX98" fmla="*/ 235743 w 1266825"/>
              <a:gd name="connsiteY98" fmla="*/ 764381 h 1533525"/>
              <a:gd name="connsiteX99" fmla="*/ 235743 w 1266825"/>
              <a:gd name="connsiteY99" fmla="*/ 764381 h 1533525"/>
              <a:gd name="connsiteX100" fmla="*/ 245268 w 1266825"/>
              <a:gd name="connsiteY100" fmla="*/ 704850 h 1533525"/>
              <a:gd name="connsiteX101" fmla="*/ 276225 w 1266825"/>
              <a:gd name="connsiteY101" fmla="*/ 666750 h 1533525"/>
              <a:gd name="connsiteX102" fmla="*/ 292893 w 1266825"/>
              <a:gd name="connsiteY102" fmla="*/ 638175 h 1533525"/>
              <a:gd name="connsiteX103" fmla="*/ 245268 w 1266825"/>
              <a:gd name="connsiteY103" fmla="*/ 602456 h 1533525"/>
              <a:gd name="connsiteX104" fmla="*/ 264318 w 1266825"/>
              <a:gd name="connsiteY104" fmla="*/ 585788 h 1533525"/>
              <a:gd name="connsiteX105" fmla="*/ 311943 w 1266825"/>
              <a:gd name="connsiteY105" fmla="*/ 602456 h 1533525"/>
              <a:gd name="connsiteX106" fmla="*/ 369093 w 1266825"/>
              <a:gd name="connsiteY106" fmla="*/ 573881 h 1533525"/>
              <a:gd name="connsiteX107" fmla="*/ 457200 w 1266825"/>
              <a:gd name="connsiteY107" fmla="*/ 545306 h 1533525"/>
              <a:gd name="connsiteX108" fmla="*/ 538162 w 1266825"/>
              <a:gd name="connsiteY108" fmla="*/ 578644 h 1533525"/>
              <a:gd name="connsiteX109" fmla="*/ 614362 w 1266825"/>
              <a:gd name="connsiteY109" fmla="*/ 550069 h 1533525"/>
              <a:gd name="connsiteX110" fmla="*/ 650081 w 1266825"/>
              <a:gd name="connsiteY110" fmla="*/ 552450 h 1533525"/>
              <a:gd name="connsiteX111" fmla="*/ 654843 w 1266825"/>
              <a:gd name="connsiteY111" fmla="*/ 523875 h 1533525"/>
              <a:gd name="connsiteX112" fmla="*/ 654843 w 1266825"/>
              <a:gd name="connsiteY112" fmla="*/ 490538 h 1533525"/>
              <a:gd name="connsiteX113" fmla="*/ 669131 w 1266825"/>
              <a:gd name="connsiteY113" fmla="*/ 469106 h 1533525"/>
              <a:gd name="connsiteX114" fmla="*/ 652462 w 1266825"/>
              <a:gd name="connsiteY114" fmla="*/ 450056 h 1533525"/>
              <a:gd name="connsiteX115" fmla="*/ 642937 w 1266825"/>
              <a:gd name="connsiteY115" fmla="*/ 411956 h 1533525"/>
              <a:gd name="connsiteX116" fmla="*/ 642937 w 1266825"/>
              <a:gd name="connsiteY116" fmla="*/ 330994 h 1533525"/>
              <a:gd name="connsiteX117" fmla="*/ 633412 w 1266825"/>
              <a:gd name="connsiteY117" fmla="*/ 319088 h 1533525"/>
              <a:gd name="connsiteX118" fmla="*/ 664368 w 1266825"/>
              <a:gd name="connsiteY118" fmla="*/ 285750 h 1533525"/>
              <a:gd name="connsiteX119" fmla="*/ 721518 w 1266825"/>
              <a:gd name="connsiteY119" fmla="*/ 292894 h 1533525"/>
              <a:gd name="connsiteX120" fmla="*/ 733425 w 1266825"/>
              <a:gd name="connsiteY120" fmla="*/ 264319 h 1533525"/>
              <a:gd name="connsiteX121" fmla="*/ 731043 w 1266825"/>
              <a:gd name="connsiteY121" fmla="*/ 228600 h 1533525"/>
              <a:gd name="connsiteX122" fmla="*/ 790575 w 1266825"/>
              <a:gd name="connsiteY122" fmla="*/ 192881 h 1533525"/>
              <a:gd name="connsiteX123" fmla="*/ 804862 w 1266825"/>
              <a:gd name="connsiteY123" fmla="*/ 166688 h 1533525"/>
              <a:gd name="connsiteX124" fmla="*/ 778668 w 1266825"/>
              <a:gd name="connsiteY124" fmla="*/ 128588 h 1533525"/>
              <a:gd name="connsiteX125" fmla="*/ 771525 w 1266825"/>
              <a:gd name="connsiteY125" fmla="*/ 104775 h 1533525"/>
              <a:gd name="connsiteX126" fmla="*/ 823912 w 1266825"/>
              <a:gd name="connsiteY126" fmla="*/ 97631 h 1533525"/>
              <a:gd name="connsiteX127" fmla="*/ 869156 w 1266825"/>
              <a:gd name="connsiteY127" fmla="*/ 52388 h 1533525"/>
              <a:gd name="connsiteX128" fmla="*/ 890587 w 1266825"/>
              <a:gd name="connsiteY128" fmla="*/ 23813 h 1533525"/>
              <a:gd name="connsiteX129" fmla="*/ 923925 w 1266825"/>
              <a:gd name="connsiteY129" fmla="*/ 9525 h 1533525"/>
              <a:gd name="connsiteX130" fmla="*/ 971550 w 1266825"/>
              <a:gd name="connsiteY130" fmla="*/ 0 h 1533525"/>
              <a:gd name="connsiteX131" fmla="*/ 971550 w 1266825"/>
              <a:gd name="connsiteY131" fmla="*/ 40481 h 1533525"/>
              <a:gd name="connsiteX132" fmla="*/ 950118 w 1266825"/>
              <a:gd name="connsiteY132" fmla="*/ 80963 h 1533525"/>
              <a:gd name="connsiteX133" fmla="*/ 950118 w 1266825"/>
              <a:gd name="connsiteY133" fmla="*/ 140494 h 1533525"/>
              <a:gd name="connsiteX134" fmla="*/ 969168 w 1266825"/>
              <a:gd name="connsiteY134" fmla="*/ 161925 h 1533525"/>
              <a:gd name="connsiteX135" fmla="*/ 1007268 w 1266825"/>
              <a:gd name="connsiteY135" fmla="*/ 188119 h 1533525"/>
              <a:gd name="connsiteX136" fmla="*/ 1019175 w 1266825"/>
              <a:gd name="connsiteY136" fmla="*/ 216694 h 1533525"/>
              <a:gd name="connsiteX137" fmla="*/ 1004887 w 1266825"/>
              <a:gd name="connsiteY137" fmla="*/ 226219 h 1533525"/>
              <a:gd name="connsiteX138" fmla="*/ 1057275 w 1266825"/>
              <a:gd name="connsiteY138" fmla="*/ 250031 h 1533525"/>
              <a:gd name="connsiteX139" fmla="*/ 1073943 w 1266825"/>
              <a:gd name="connsiteY139" fmla="*/ 228600 h 1533525"/>
              <a:gd name="connsiteX0" fmla="*/ 1057275 w 1266825"/>
              <a:gd name="connsiteY0" fmla="*/ 264319 h 1533525"/>
              <a:gd name="connsiteX1" fmla="*/ 1062037 w 1266825"/>
              <a:gd name="connsiteY1" fmla="*/ 304800 h 1533525"/>
              <a:gd name="connsiteX2" fmla="*/ 995362 w 1266825"/>
              <a:gd name="connsiteY2" fmla="*/ 352425 h 1533525"/>
              <a:gd name="connsiteX3" fmla="*/ 973931 w 1266825"/>
              <a:gd name="connsiteY3" fmla="*/ 383381 h 1533525"/>
              <a:gd name="connsiteX4" fmla="*/ 1000125 w 1266825"/>
              <a:gd name="connsiteY4" fmla="*/ 428625 h 1533525"/>
              <a:gd name="connsiteX5" fmla="*/ 983456 w 1266825"/>
              <a:gd name="connsiteY5" fmla="*/ 466725 h 1533525"/>
              <a:gd name="connsiteX6" fmla="*/ 1000125 w 1266825"/>
              <a:gd name="connsiteY6" fmla="*/ 519113 h 1533525"/>
              <a:gd name="connsiteX7" fmla="*/ 1033462 w 1266825"/>
              <a:gd name="connsiteY7" fmla="*/ 519113 h 1533525"/>
              <a:gd name="connsiteX8" fmla="*/ 1019175 w 1266825"/>
              <a:gd name="connsiteY8" fmla="*/ 552450 h 1533525"/>
              <a:gd name="connsiteX9" fmla="*/ 1035843 w 1266825"/>
              <a:gd name="connsiteY9" fmla="*/ 590550 h 1533525"/>
              <a:gd name="connsiteX10" fmla="*/ 1035843 w 1266825"/>
              <a:gd name="connsiteY10" fmla="*/ 607219 h 1533525"/>
              <a:gd name="connsiteX11" fmla="*/ 1045368 w 1266825"/>
              <a:gd name="connsiteY11" fmla="*/ 645319 h 1533525"/>
              <a:gd name="connsiteX12" fmla="*/ 1064418 w 1266825"/>
              <a:gd name="connsiteY12" fmla="*/ 645319 h 1533525"/>
              <a:gd name="connsiteX13" fmla="*/ 1078706 w 1266825"/>
              <a:gd name="connsiteY13" fmla="*/ 666750 h 1533525"/>
              <a:gd name="connsiteX14" fmla="*/ 1085850 w 1266825"/>
              <a:gd name="connsiteY14" fmla="*/ 688181 h 1533525"/>
              <a:gd name="connsiteX15" fmla="*/ 1076325 w 1266825"/>
              <a:gd name="connsiteY15" fmla="*/ 719138 h 1533525"/>
              <a:gd name="connsiteX16" fmla="*/ 1021556 w 1266825"/>
              <a:gd name="connsiteY16" fmla="*/ 714375 h 1533525"/>
              <a:gd name="connsiteX17" fmla="*/ 1002506 w 1266825"/>
              <a:gd name="connsiteY17" fmla="*/ 721519 h 1533525"/>
              <a:gd name="connsiteX18" fmla="*/ 995362 w 1266825"/>
              <a:gd name="connsiteY18" fmla="*/ 726281 h 1533525"/>
              <a:gd name="connsiteX19" fmla="*/ 995362 w 1266825"/>
              <a:gd name="connsiteY19" fmla="*/ 726281 h 1533525"/>
              <a:gd name="connsiteX20" fmla="*/ 923925 w 1266825"/>
              <a:gd name="connsiteY20" fmla="*/ 721519 h 1533525"/>
              <a:gd name="connsiteX21" fmla="*/ 940593 w 1266825"/>
              <a:gd name="connsiteY21" fmla="*/ 778669 h 1533525"/>
              <a:gd name="connsiteX22" fmla="*/ 938212 w 1266825"/>
              <a:gd name="connsiteY22" fmla="*/ 847725 h 1533525"/>
              <a:gd name="connsiteX23" fmla="*/ 954881 w 1266825"/>
              <a:gd name="connsiteY23" fmla="*/ 871538 h 1533525"/>
              <a:gd name="connsiteX24" fmla="*/ 997743 w 1266825"/>
              <a:gd name="connsiteY24" fmla="*/ 919163 h 1533525"/>
              <a:gd name="connsiteX25" fmla="*/ 1012031 w 1266825"/>
              <a:gd name="connsiteY25" fmla="*/ 954881 h 1533525"/>
              <a:gd name="connsiteX26" fmla="*/ 1031081 w 1266825"/>
              <a:gd name="connsiteY26" fmla="*/ 954881 h 1533525"/>
              <a:gd name="connsiteX27" fmla="*/ 1071562 w 1266825"/>
              <a:gd name="connsiteY27" fmla="*/ 940594 h 1533525"/>
              <a:gd name="connsiteX28" fmla="*/ 1102518 w 1266825"/>
              <a:gd name="connsiteY28" fmla="*/ 933450 h 1533525"/>
              <a:gd name="connsiteX29" fmla="*/ 1159668 w 1266825"/>
              <a:gd name="connsiteY29" fmla="*/ 997744 h 1533525"/>
              <a:gd name="connsiteX30" fmla="*/ 1178718 w 1266825"/>
              <a:gd name="connsiteY30" fmla="*/ 1052513 h 1533525"/>
              <a:gd name="connsiteX31" fmla="*/ 1190625 w 1266825"/>
              <a:gd name="connsiteY31" fmla="*/ 1081088 h 1533525"/>
              <a:gd name="connsiteX32" fmla="*/ 1212056 w 1266825"/>
              <a:gd name="connsiteY32" fmla="*/ 1109663 h 1533525"/>
              <a:gd name="connsiteX33" fmla="*/ 1231106 w 1266825"/>
              <a:gd name="connsiteY33" fmla="*/ 1102519 h 1533525"/>
              <a:gd name="connsiteX34" fmla="*/ 1231106 w 1266825"/>
              <a:gd name="connsiteY34" fmla="*/ 1131094 h 1533525"/>
              <a:gd name="connsiteX35" fmla="*/ 1233487 w 1266825"/>
              <a:gd name="connsiteY35" fmla="*/ 1145381 h 1533525"/>
              <a:gd name="connsiteX36" fmla="*/ 1266825 w 1266825"/>
              <a:gd name="connsiteY36" fmla="*/ 1181100 h 1533525"/>
              <a:gd name="connsiteX37" fmla="*/ 1233487 w 1266825"/>
              <a:gd name="connsiteY37" fmla="*/ 1181100 h 1533525"/>
              <a:gd name="connsiteX38" fmla="*/ 1228725 w 1266825"/>
              <a:gd name="connsiteY38" fmla="*/ 1223963 h 1533525"/>
              <a:gd name="connsiteX39" fmla="*/ 1226343 w 1266825"/>
              <a:gd name="connsiteY39" fmla="*/ 1243013 h 1533525"/>
              <a:gd name="connsiteX40" fmla="*/ 1216818 w 1266825"/>
              <a:gd name="connsiteY40" fmla="*/ 1264444 h 1533525"/>
              <a:gd name="connsiteX41" fmla="*/ 1190625 w 1266825"/>
              <a:gd name="connsiteY41" fmla="*/ 1238250 h 1533525"/>
              <a:gd name="connsiteX42" fmla="*/ 1157287 w 1266825"/>
              <a:gd name="connsiteY42" fmla="*/ 1209675 h 1533525"/>
              <a:gd name="connsiteX43" fmla="*/ 1131093 w 1266825"/>
              <a:gd name="connsiteY43" fmla="*/ 1185863 h 1533525"/>
              <a:gd name="connsiteX44" fmla="*/ 1107281 w 1266825"/>
              <a:gd name="connsiteY44" fmla="*/ 1219200 h 1533525"/>
              <a:gd name="connsiteX45" fmla="*/ 1104900 w 1266825"/>
              <a:gd name="connsiteY45" fmla="*/ 1264444 h 1533525"/>
              <a:gd name="connsiteX46" fmla="*/ 1062037 w 1266825"/>
              <a:gd name="connsiteY46" fmla="*/ 1259681 h 1533525"/>
              <a:gd name="connsiteX47" fmla="*/ 1026318 w 1266825"/>
              <a:gd name="connsiteY47" fmla="*/ 1288256 h 1533525"/>
              <a:gd name="connsiteX48" fmla="*/ 1007268 w 1266825"/>
              <a:gd name="connsiteY48" fmla="*/ 1240631 h 1533525"/>
              <a:gd name="connsiteX49" fmla="*/ 947737 w 1266825"/>
              <a:gd name="connsiteY49" fmla="*/ 1231106 h 1533525"/>
              <a:gd name="connsiteX50" fmla="*/ 921543 w 1266825"/>
              <a:gd name="connsiteY50" fmla="*/ 1297781 h 1533525"/>
              <a:gd name="connsiteX51" fmla="*/ 885825 w 1266825"/>
              <a:gd name="connsiteY51" fmla="*/ 1278731 h 1533525"/>
              <a:gd name="connsiteX52" fmla="*/ 816768 w 1266825"/>
              <a:gd name="connsiteY52" fmla="*/ 1295400 h 1533525"/>
              <a:gd name="connsiteX53" fmla="*/ 757237 w 1266825"/>
              <a:gd name="connsiteY53" fmla="*/ 1259681 h 1533525"/>
              <a:gd name="connsiteX54" fmla="*/ 742950 w 1266825"/>
              <a:gd name="connsiteY54" fmla="*/ 1312069 h 1533525"/>
              <a:gd name="connsiteX55" fmla="*/ 704850 w 1266825"/>
              <a:gd name="connsiteY55" fmla="*/ 1345406 h 1533525"/>
              <a:gd name="connsiteX56" fmla="*/ 692943 w 1266825"/>
              <a:gd name="connsiteY56" fmla="*/ 1366838 h 1533525"/>
              <a:gd name="connsiteX57" fmla="*/ 671512 w 1266825"/>
              <a:gd name="connsiteY57" fmla="*/ 1509713 h 1533525"/>
              <a:gd name="connsiteX58" fmla="*/ 633412 w 1266825"/>
              <a:gd name="connsiteY58" fmla="*/ 1490663 h 1533525"/>
              <a:gd name="connsiteX59" fmla="*/ 614362 w 1266825"/>
              <a:gd name="connsiteY59" fmla="*/ 1504950 h 1533525"/>
              <a:gd name="connsiteX60" fmla="*/ 581025 w 1266825"/>
              <a:gd name="connsiteY60" fmla="*/ 1531144 h 1533525"/>
              <a:gd name="connsiteX61" fmla="*/ 523875 w 1266825"/>
              <a:gd name="connsiteY61" fmla="*/ 1502569 h 1533525"/>
              <a:gd name="connsiteX62" fmla="*/ 514350 w 1266825"/>
              <a:gd name="connsiteY62" fmla="*/ 1490663 h 1533525"/>
              <a:gd name="connsiteX63" fmla="*/ 483393 w 1266825"/>
              <a:gd name="connsiteY63" fmla="*/ 1533525 h 1533525"/>
              <a:gd name="connsiteX64" fmla="*/ 459581 w 1266825"/>
              <a:gd name="connsiteY64" fmla="*/ 1481138 h 1533525"/>
              <a:gd name="connsiteX65" fmla="*/ 438150 w 1266825"/>
              <a:gd name="connsiteY65" fmla="*/ 1471613 h 1533525"/>
              <a:gd name="connsiteX66" fmla="*/ 400050 w 1266825"/>
              <a:gd name="connsiteY66" fmla="*/ 1485900 h 1533525"/>
              <a:gd name="connsiteX67" fmla="*/ 338137 w 1266825"/>
              <a:gd name="connsiteY67" fmla="*/ 1490663 h 1533525"/>
              <a:gd name="connsiteX68" fmla="*/ 330993 w 1266825"/>
              <a:gd name="connsiteY68" fmla="*/ 1497806 h 1533525"/>
              <a:gd name="connsiteX69" fmla="*/ 271462 w 1266825"/>
              <a:gd name="connsiteY69" fmla="*/ 1471613 h 1533525"/>
              <a:gd name="connsiteX70" fmla="*/ 219075 w 1266825"/>
              <a:gd name="connsiteY70" fmla="*/ 1443038 h 1533525"/>
              <a:gd name="connsiteX71" fmla="*/ 138112 w 1266825"/>
              <a:gd name="connsiteY71" fmla="*/ 1402556 h 1533525"/>
              <a:gd name="connsiteX72" fmla="*/ 95250 w 1266825"/>
              <a:gd name="connsiteY72" fmla="*/ 1316831 h 1533525"/>
              <a:gd name="connsiteX73" fmla="*/ 80962 w 1266825"/>
              <a:gd name="connsiteY73" fmla="*/ 1288256 h 1533525"/>
              <a:gd name="connsiteX74" fmla="*/ 104775 w 1266825"/>
              <a:gd name="connsiteY74" fmla="*/ 1266825 h 1533525"/>
              <a:gd name="connsiteX75" fmla="*/ 76200 w 1266825"/>
              <a:gd name="connsiteY75" fmla="*/ 1212056 h 1533525"/>
              <a:gd name="connsiteX76" fmla="*/ 109537 w 1266825"/>
              <a:gd name="connsiteY76" fmla="*/ 1193006 h 1533525"/>
              <a:gd name="connsiteX77" fmla="*/ 140493 w 1266825"/>
              <a:gd name="connsiteY77" fmla="*/ 1143000 h 1533525"/>
              <a:gd name="connsiteX78" fmla="*/ 123825 w 1266825"/>
              <a:gd name="connsiteY78" fmla="*/ 1107281 h 1533525"/>
              <a:gd name="connsiteX79" fmla="*/ 178593 w 1266825"/>
              <a:gd name="connsiteY79" fmla="*/ 1107281 h 1533525"/>
              <a:gd name="connsiteX80" fmla="*/ 192881 w 1266825"/>
              <a:gd name="connsiteY80" fmla="*/ 1109663 h 1533525"/>
              <a:gd name="connsiteX81" fmla="*/ 159543 w 1266825"/>
              <a:gd name="connsiteY81" fmla="*/ 1064419 h 1533525"/>
              <a:gd name="connsiteX82" fmla="*/ 169068 w 1266825"/>
              <a:gd name="connsiteY82" fmla="*/ 1014413 h 1533525"/>
              <a:gd name="connsiteX83" fmla="*/ 123825 w 1266825"/>
              <a:gd name="connsiteY83" fmla="*/ 997744 h 1533525"/>
              <a:gd name="connsiteX84" fmla="*/ 61912 w 1266825"/>
              <a:gd name="connsiteY84" fmla="*/ 954881 h 1533525"/>
              <a:gd name="connsiteX85" fmla="*/ 45243 w 1266825"/>
              <a:gd name="connsiteY85" fmla="*/ 938213 h 1533525"/>
              <a:gd name="connsiteX86" fmla="*/ 64293 w 1266825"/>
              <a:gd name="connsiteY86" fmla="*/ 909638 h 1533525"/>
              <a:gd name="connsiteX87" fmla="*/ 47625 w 1266825"/>
              <a:gd name="connsiteY87" fmla="*/ 897731 h 1533525"/>
              <a:gd name="connsiteX88" fmla="*/ 47625 w 1266825"/>
              <a:gd name="connsiteY88" fmla="*/ 881063 h 1533525"/>
              <a:gd name="connsiteX89" fmla="*/ 26193 w 1266825"/>
              <a:gd name="connsiteY89" fmla="*/ 881063 h 1533525"/>
              <a:gd name="connsiteX90" fmla="*/ 7143 w 1266825"/>
              <a:gd name="connsiteY90" fmla="*/ 847725 h 1533525"/>
              <a:gd name="connsiteX91" fmla="*/ 0 w 1266825"/>
              <a:gd name="connsiteY91" fmla="*/ 816769 h 1533525"/>
              <a:gd name="connsiteX92" fmla="*/ 54768 w 1266825"/>
              <a:gd name="connsiteY92" fmla="*/ 800100 h 1533525"/>
              <a:gd name="connsiteX93" fmla="*/ 76200 w 1266825"/>
              <a:gd name="connsiteY93" fmla="*/ 788194 h 1533525"/>
              <a:gd name="connsiteX94" fmla="*/ 128587 w 1266825"/>
              <a:gd name="connsiteY94" fmla="*/ 821531 h 1533525"/>
              <a:gd name="connsiteX95" fmla="*/ 126206 w 1266825"/>
              <a:gd name="connsiteY95" fmla="*/ 800100 h 1533525"/>
              <a:gd name="connsiteX96" fmla="*/ 164306 w 1266825"/>
              <a:gd name="connsiteY96" fmla="*/ 795338 h 1533525"/>
              <a:gd name="connsiteX97" fmla="*/ 173831 w 1266825"/>
              <a:gd name="connsiteY97" fmla="*/ 759619 h 1533525"/>
              <a:gd name="connsiteX98" fmla="*/ 235743 w 1266825"/>
              <a:gd name="connsiteY98" fmla="*/ 764381 h 1533525"/>
              <a:gd name="connsiteX99" fmla="*/ 235743 w 1266825"/>
              <a:gd name="connsiteY99" fmla="*/ 764381 h 1533525"/>
              <a:gd name="connsiteX100" fmla="*/ 245268 w 1266825"/>
              <a:gd name="connsiteY100" fmla="*/ 704850 h 1533525"/>
              <a:gd name="connsiteX101" fmla="*/ 276225 w 1266825"/>
              <a:gd name="connsiteY101" fmla="*/ 666750 h 1533525"/>
              <a:gd name="connsiteX102" fmla="*/ 292893 w 1266825"/>
              <a:gd name="connsiteY102" fmla="*/ 638175 h 1533525"/>
              <a:gd name="connsiteX103" fmla="*/ 245268 w 1266825"/>
              <a:gd name="connsiteY103" fmla="*/ 602456 h 1533525"/>
              <a:gd name="connsiteX104" fmla="*/ 264318 w 1266825"/>
              <a:gd name="connsiteY104" fmla="*/ 585788 h 1533525"/>
              <a:gd name="connsiteX105" fmla="*/ 311943 w 1266825"/>
              <a:gd name="connsiteY105" fmla="*/ 602456 h 1533525"/>
              <a:gd name="connsiteX106" fmla="*/ 369093 w 1266825"/>
              <a:gd name="connsiteY106" fmla="*/ 573881 h 1533525"/>
              <a:gd name="connsiteX107" fmla="*/ 457200 w 1266825"/>
              <a:gd name="connsiteY107" fmla="*/ 545306 h 1533525"/>
              <a:gd name="connsiteX108" fmla="*/ 538162 w 1266825"/>
              <a:gd name="connsiteY108" fmla="*/ 578644 h 1533525"/>
              <a:gd name="connsiteX109" fmla="*/ 614362 w 1266825"/>
              <a:gd name="connsiteY109" fmla="*/ 550069 h 1533525"/>
              <a:gd name="connsiteX110" fmla="*/ 650081 w 1266825"/>
              <a:gd name="connsiteY110" fmla="*/ 552450 h 1533525"/>
              <a:gd name="connsiteX111" fmla="*/ 654843 w 1266825"/>
              <a:gd name="connsiteY111" fmla="*/ 523875 h 1533525"/>
              <a:gd name="connsiteX112" fmla="*/ 654843 w 1266825"/>
              <a:gd name="connsiteY112" fmla="*/ 490538 h 1533525"/>
              <a:gd name="connsiteX113" fmla="*/ 669131 w 1266825"/>
              <a:gd name="connsiteY113" fmla="*/ 469106 h 1533525"/>
              <a:gd name="connsiteX114" fmla="*/ 652462 w 1266825"/>
              <a:gd name="connsiteY114" fmla="*/ 450056 h 1533525"/>
              <a:gd name="connsiteX115" fmla="*/ 642937 w 1266825"/>
              <a:gd name="connsiteY115" fmla="*/ 411956 h 1533525"/>
              <a:gd name="connsiteX116" fmla="*/ 642937 w 1266825"/>
              <a:gd name="connsiteY116" fmla="*/ 330994 h 1533525"/>
              <a:gd name="connsiteX117" fmla="*/ 633412 w 1266825"/>
              <a:gd name="connsiteY117" fmla="*/ 319088 h 1533525"/>
              <a:gd name="connsiteX118" fmla="*/ 664368 w 1266825"/>
              <a:gd name="connsiteY118" fmla="*/ 285750 h 1533525"/>
              <a:gd name="connsiteX119" fmla="*/ 721518 w 1266825"/>
              <a:gd name="connsiteY119" fmla="*/ 292894 h 1533525"/>
              <a:gd name="connsiteX120" fmla="*/ 733425 w 1266825"/>
              <a:gd name="connsiteY120" fmla="*/ 264319 h 1533525"/>
              <a:gd name="connsiteX121" fmla="*/ 731043 w 1266825"/>
              <a:gd name="connsiteY121" fmla="*/ 228600 h 1533525"/>
              <a:gd name="connsiteX122" fmla="*/ 790575 w 1266825"/>
              <a:gd name="connsiteY122" fmla="*/ 192881 h 1533525"/>
              <a:gd name="connsiteX123" fmla="*/ 804862 w 1266825"/>
              <a:gd name="connsiteY123" fmla="*/ 166688 h 1533525"/>
              <a:gd name="connsiteX124" fmla="*/ 778668 w 1266825"/>
              <a:gd name="connsiteY124" fmla="*/ 128588 h 1533525"/>
              <a:gd name="connsiteX125" fmla="*/ 771525 w 1266825"/>
              <a:gd name="connsiteY125" fmla="*/ 104775 h 1533525"/>
              <a:gd name="connsiteX126" fmla="*/ 823912 w 1266825"/>
              <a:gd name="connsiteY126" fmla="*/ 97631 h 1533525"/>
              <a:gd name="connsiteX127" fmla="*/ 869156 w 1266825"/>
              <a:gd name="connsiteY127" fmla="*/ 52388 h 1533525"/>
              <a:gd name="connsiteX128" fmla="*/ 890587 w 1266825"/>
              <a:gd name="connsiteY128" fmla="*/ 23813 h 1533525"/>
              <a:gd name="connsiteX129" fmla="*/ 923925 w 1266825"/>
              <a:gd name="connsiteY129" fmla="*/ 9525 h 1533525"/>
              <a:gd name="connsiteX130" fmla="*/ 971550 w 1266825"/>
              <a:gd name="connsiteY130" fmla="*/ 0 h 1533525"/>
              <a:gd name="connsiteX131" fmla="*/ 971550 w 1266825"/>
              <a:gd name="connsiteY131" fmla="*/ 40481 h 1533525"/>
              <a:gd name="connsiteX132" fmla="*/ 950118 w 1266825"/>
              <a:gd name="connsiteY132" fmla="*/ 80963 h 1533525"/>
              <a:gd name="connsiteX133" fmla="*/ 950118 w 1266825"/>
              <a:gd name="connsiteY133" fmla="*/ 140494 h 1533525"/>
              <a:gd name="connsiteX134" fmla="*/ 969168 w 1266825"/>
              <a:gd name="connsiteY134" fmla="*/ 161925 h 1533525"/>
              <a:gd name="connsiteX135" fmla="*/ 1007268 w 1266825"/>
              <a:gd name="connsiteY135" fmla="*/ 188119 h 1533525"/>
              <a:gd name="connsiteX136" fmla="*/ 1019175 w 1266825"/>
              <a:gd name="connsiteY136" fmla="*/ 216694 h 1533525"/>
              <a:gd name="connsiteX137" fmla="*/ 1004887 w 1266825"/>
              <a:gd name="connsiteY137" fmla="*/ 226219 h 1533525"/>
              <a:gd name="connsiteX138" fmla="*/ 1057275 w 1266825"/>
              <a:gd name="connsiteY138" fmla="*/ 250031 h 1533525"/>
              <a:gd name="connsiteX139" fmla="*/ 1073943 w 1266825"/>
              <a:gd name="connsiteY139" fmla="*/ 228600 h 1533525"/>
              <a:gd name="connsiteX0" fmla="*/ 1057275 w 1266825"/>
              <a:gd name="connsiteY0" fmla="*/ 264319 h 1533525"/>
              <a:gd name="connsiteX1" fmla="*/ 1062037 w 1266825"/>
              <a:gd name="connsiteY1" fmla="*/ 304800 h 1533525"/>
              <a:gd name="connsiteX2" fmla="*/ 995362 w 1266825"/>
              <a:gd name="connsiteY2" fmla="*/ 352425 h 1533525"/>
              <a:gd name="connsiteX3" fmla="*/ 973931 w 1266825"/>
              <a:gd name="connsiteY3" fmla="*/ 383381 h 1533525"/>
              <a:gd name="connsiteX4" fmla="*/ 1000125 w 1266825"/>
              <a:gd name="connsiteY4" fmla="*/ 428625 h 1533525"/>
              <a:gd name="connsiteX5" fmla="*/ 983456 w 1266825"/>
              <a:gd name="connsiteY5" fmla="*/ 466725 h 1533525"/>
              <a:gd name="connsiteX6" fmla="*/ 1000125 w 1266825"/>
              <a:gd name="connsiteY6" fmla="*/ 519113 h 1533525"/>
              <a:gd name="connsiteX7" fmla="*/ 1033462 w 1266825"/>
              <a:gd name="connsiteY7" fmla="*/ 519113 h 1533525"/>
              <a:gd name="connsiteX8" fmla="*/ 1019175 w 1266825"/>
              <a:gd name="connsiteY8" fmla="*/ 552450 h 1533525"/>
              <a:gd name="connsiteX9" fmla="*/ 1035843 w 1266825"/>
              <a:gd name="connsiteY9" fmla="*/ 590550 h 1533525"/>
              <a:gd name="connsiteX10" fmla="*/ 1035843 w 1266825"/>
              <a:gd name="connsiteY10" fmla="*/ 607219 h 1533525"/>
              <a:gd name="connsiteX11" fmla="*/ 1045368 w 1266825"/>
              <a:gd name="connsiteY11" fmla="*/ 645319 h 1533525"/>
              <a:gd name="connsiteX12" fmla="*/ 1064418 w 1266825"/>
              <a:gd name="connsiteY12" fmla="*/ 645319 h 1533525"/>
              <a:gd name="connsiteX13" fmla="*/ 1078706 w 1266825"/>
              <a:gd name="connsiteY13" fmla="*/ 666750 h 1533525"/>
              <a:gd name="connsiteX14" fmla="*/ 1085850 w 1266825"/>
              <a:gd name="connsiteY14" fmla="*/ 688181 h 1533525"/>
              <a:gd name="connsiteX15" fmla="*/ 1076325 w 1266825"/>
              <a:gd name="connsiteY15" fmla="*/ 719138 h 1533525"/>
              <a:gd name="connsiteX16" fmla="*/ 1021556 w 1266825"/>
              <a:gd name="connsiteY16" fmla="*/ 714375 h 1533525"/>
              <a:gd name="connsiteX17" fmla="*/ 1002506 w 1266825"/>
              <a:gd name="connsiteY17" fmla="*/ 721519 h 1533525"/>
              <a:gd name="connsiteX18" fmla="*/ 995362 w 1266825"/>
              <a:gd name="connsiteY18" fmla="*/ 726281 h 1533525"/>
              <a:gd name="connsiteX19" fmla="*/ 995362 w 1266825"/>
              <a:gd name="connsiteY19" fmla="*/ 726281 h 1533525"/>
              <a:gd name="connsiteX20" fmla="*/ 923925 w 1266825"/>
              <a:gd name="connsiteY20" fmla="*/ 721519 h 1533525"/>
              <a:gd name="connsiteX21" fmla="*/ 940593 w 1266825"/>
              <a:gd name="connsiteY21" fmla="*/ 778669 h 1533525"/>
              <a:gd name="connsiteX22" fmla="*/ 938212 w 1266825"/>
              <a:gd name="connsiteY22" fmla="*/ 847725 h 1533525"/>
              <a:gd name="connsiteX23" fmla="*/ 954881 w 1266825"/>
              <a:gd name="connsiteY23" fmla="*/ 871538 h 1533525"/>
              <a:gd name="connsiteX24" fmla="*/ 997743 w 1266825"/>
              <a:gd name="connsiteY24" fmla="*/ 919163 h 1533525"/>
              <a:gd name="connsiteX25" fmla="*/ 1012031 w 1266825"/>
              <a:gd name="connsiteY25" fmla="*/ 954881 h 1533525"/>
              <a:gd name="connsiteX26" fmla="*/ 1031081 w 1266825"/>
              <a:gd name="connsiteY26" fmla="*/ 954881 h 1533525"/>
              <a:gd name="connsiteX27" fmla="*/ 1071562 w 1266825"/>
              <a:gd name="connsiteY27" fmla="*/ 940594 h 1533525"/>
              <a:gd name="connsiteX28" fmla="*/ 1102518 w 1266825"/>
              <a:gd name="connsiteY28" fmla="*/ 933450 h 1533525"/>
              <a:gd name="connsiteX29" fmla="*/ 1159668 w 1266825"/>
              <a:gd name="connsiteY29" fmla="*/ 997744 h 1533525"/>
              <a:gd name="connsiteX30" fmla="*/ 1178718 w 1266825"/>
              <a:gd name="connsiteY30" fmla="*/ 1052513 h 1533525"/>
              <a:gd name="connsiteX31" fmla="*/ 1190625 w 1266825"/>
              <a:gd name="connsiteY31" fmla="*/ 1081088 h 1533525"/>
              <a:gd name="connsiteX32" fmla="*/ 1212056 w 1266825"/>
              <a:gd name="connsiteY32" fmla="*/ 1109663 h 1533525"/>
              <a:gd name="connsiteX33" fmla="*/ 1231106 w 1266825"/>
              <a:gd name="connsiteY33" fmla="*/ 1102519 h 1533525"/>
              <a:gd name="connsiteX34" fmla="*/ 1231106 w 1266825"/>
              <a:gd name="connsiteY34" fmla="*/ 1131094 h 1533525"/>
              <a:gd name="connsiteX35" fmla="*/ 1233487 w 1266825"/>
              <a:gd name="connsiteY35" fmla="*/ 1145381 h 1533525"/>
              <a:gd name="connsiteX36" fmla="*/ 1266825 w 1266825"/>
              <a:gd name="connsiteY36" fmla="*/ 1181100 h 1533525"/>
              <a:gd name="connsiteX37" fmla="*/ 1233487 w 1266825"/>
              <a:gd name="connsiteY37" fmla="*/ 1181100 h 1533525"/>
              <a:gd name="connsiteX38" fmla="*/ 1228725 w 1266825"/>
              <a:gd name="connsiteY38" fmla="*/ 1223963 h 1533525"/>
              <a:gd name="connsiteX39" fmla="*/ 1226343 w 1266825"/>
              <a:gd name="connsiteY39" fmla="*/ 1243013 h 1533525"/>
              <a:gd name="connsiteX40" fmla="*/ 1216818 w 1266825"/>
              <a:gd name="connsiteY40" fmla="*/ 1264444 h 1533525"/>
              <a:gd name="connsiteX41" fmla="*/ 1190625 w 1266825"/>
              <a:gd name="connsiteY41" fmla="*/ 1238250 h 1533525"/>
              <a:gd name="connsiteX42" fmla="*/ 1157287 w 1266825"/>
              <a:gd name="connsiteY42" fmla="*/ 1209675 h 1533525"/>
              <a:gd name="connsiteX43" fmla="*/ 1131093 w 1266825"/>
              <a:gd name="connsiteY43" fmla="*/ 1185863 h 1533525"/>
              <a:gd name="connsiteX44" fmla="*/ 1107281 w 1266825"/>
              <a:gd name="connsiteY44" fmla="*/ 1219200 h 1533525"/>
              <a:gd name="connsiteX45" fmla="*/ 1104900 w 1266825"/>
              <a:gd name="connsiteY45" fmla="*/ 1264444 h 1533525"/>
              <a:gd name="connsiteX46" fmla="*/ 1062037 w 1266825"/>
              <a:gd name="connsiteY46" fmla="*/ 1259681 h 1533525"/>
              <a:gd name="connsiteX47" fmla="*/ 1026318 w 1266825"/>
              <a:gd name="connsiteY47" fmla="*/ 1288256 h 1533525"/>
              <a:gd name="connsiteX48" fmla="*/ 1007268 w 1266825"/>
              <a:gd name="connsiteY48" fmla="*/ 1240631 h 1533525"/>
              <a:gd name="connsiteX49" fmla="*/ 947737 w 1266825"/>
              <a:gd name="connsiteY49" fmla="*/ 1231106 h 1533525"/>
              <a:gd name="connsiteX50" fmla="*/ 921543 w 1266825"/>
              <a:gd name="connsiteY50" fmla="*/ 1297781 h 1533525"/>
              <a:gd name="connsiteX51" fmla="*/ 885825 w 1266825"/>
              <a:gd name="connsiteY51" fmla="*/ 1278731 h 1533525"/>
              <a:gd name="connsiteX52" fmla="*/ 816768 w 1266825"/>
              <a:gd name="connsiteY52" fmla="*/ 1295400 h 1533525"/>
              <a:gd name="connsiteX53" fmla="*/ 757237 w 1266825"/>
              <a:gd name="connsiteY53" fmla="*/ 1259681 h 1533525"/>
              <a:gd name="connsiteX54" fmla="*/ 742950 w 1266825"/>
              <a:gd name="connsiteY54" fmla="*/ 1312069 h 1533525"/>
              <a:gd name="connsiteX55" fmla="*/ 704850 w 1266825"/>
              <a:gd name="connsiteY55" fmla="*/ 1345406 h 1533525"/>
              <a:gd name="connsiteX56" fmla="*/ 692943 w 1266825"/>
              <a:gd name="connsiteY56" fmla="*/ 1366838 h 1533525"/>
              <a:gd name="connsiteX57" fmla="*/ 671512 w 1266825"/>
              <a:gd name="connsiteY57" fmla="*/ 1509713 h 1533525"/>
              <a:gd name="connsiteX58" fmla="*/ 633412 w 1266825"/>
              <a:gd name="connsiteY58" fmla="*/ 1490663 h 1533525"/>
              <a:gd name="connsiteX59" fmla="*/ 614362 w 1266825"/>
              <a:gd name="connsiteY59" fmla="*/ 1504950 h 1533525"/>
              <a:gd name="connsiteX60" fmla="*/ 581025 w 1266825"/>
              <a:gd name="connsiteY60" fmla="*/ 1531144 h 1533525"/>
              <a:gd name="connsiteX61" fmla="*/ 523875 w 1266825"/>
              <a:gd name="connsiteY61" fmla="*/ 1502569 h 1533525"/>
              <a:gd name="connsiteX62" fmla="*/ 514350 w 1266825"/>
              <a:gd name="connsiteY62" fmla="*/ 1490663 h 1533525"/>
              <a:gd name="connsiteX63" fmla="*/ 483393 w 1266825"/>
              <a:gd name="connsiteY63" fmla="*/ 1533525 h 1533525"/>
              <a:gd name="connsiteX64" fmla="*/ 459581 w 1266825"/>
              <a:gd name="connsiteY64" fmla="*/ 1481138 h 1533525"/>
              <a:gd name="connsiteX65" fmla="*/ 438150 w 1266825"/>
              <a:gd name="connsiteY65" fmla="*/ 1471613 h 1533525"/>
              <a:gd name="connsiteX66" fmla="*/ 400050 w 1266825"/>
              <a:gd name="connsiteY66" fmla="*/ 1485900 h 1533525"/>
              <a:gd name="connsiteX67" fmla="*/ 338137 w 1266825"/>
              <a:gd name="connsiteY67" fmla="*/ 1490663 h 1533525"/>
              <a:gd name="connsiteX68" fmla="*/ 330993 w 1266825"/>
              <a:gd name="connsiteY68" fmla="*/ 1497806 h 1533525"/>
              <a:gd name="connsiteX69" fmla="*/ 271462 w 1266825"/>
              <a:gd name="connsiteY69" fmla="*/ 1471613 h 1533525"/>
              <a:gd name="connsiteX70" fmla="*/ 219075 w 1266825"/>
              <a:gd name="connsiteY70" fmla="*/ 1443038 h 1533525"/>
              <a:gd name="connsiteX71" fmla="*/ 138112 w 1266825"/>
              <a:gd name="connsiteY71" fmla="*/ 1402556 h 1533525"/>
              <a:gd name="connsiteX72" fmla="*/ 95250 w 1266825"/>
              <a:gd name="connsiteY72" fmla="*/ 1316831 h 1533525"/>
              <a:gd name="connsiteX73" fmla="*/ 80962 w 1266825"/>
              <a:gd name="connsiteY73" fmla="*/ 1288256 h 1533525"/>
              <a:gd name="connsiteX74" fmla="*/ 104775 w 1266825"/>
              <a:gd name="connsiteY74" fmla="*/ 1266825 h 1533525"/>
              <a:gd name="connsiteX75" fmla="*/ 76200 w 1266825"/>
              <a:gd name="connsiteY75" fmla="*/ 1212056 h 1533525"/>
              <a:gd name="connsiteX76" fmla="*/ 109537 w 1266825"/>
              <a:gd name="connsiteY76" fmla="*/ 1193006 h 1533525"/>
              <a:gd name="connsiteX77" fmla="*/ 140493 w 1266825"/>
              <a:gd name="connsiteY77" fmla="*/ 1143000 h 1533525"/>
              <a:gd name="connsiteX78" fmla="*/ 123825 w 1266825"/>
              <a:gd name="connsiteY78" fmla="*/ 1107281 h 1533525"/>
              <a:gd name="connsiteX79" fmla="*/ 178593 w 1266825"/>
              <a:gd name="connsiteY79" fmla="*/ 1107281 h 1533525"/>
              <a:gd name="connsiteX80" fmla="*/ 192881 w 1266825"/>
              <a:gd name="connsiteY80" fmla="*/ 1109663 h 1533525"/>
              <a:gd name="connsiteX81" fmla="*/ 159543 w 1266825"/>
              <a:gd name="connsiteY81" fmla="*/ 1064419 h 1533525"/>
              <a:gd name="connsiteX82" fmla="*/ 169068 w 1266825"/>
              <a:gd name="connsiteY82" fmla="*/ 1014413 h 1533525"/>
              <a:gd name="connsiteX83" fmla="*/ 123825 w 1266825"/>
              <a:gd name="connsiteY83" fmla="*/ 997744 h 1533525"/>
              <a:gd name="connsiteX84" fmla="*/ 61912 w 1266825"/>
              <a:gd name="connsiteY84" fmla="*/ 954881 h 1533525"/>
              <a:gd name="connsiteX85" fmla="*/ 45243 w 1266825"/>
              <a:gd name="connsiteY85" fmla="*/ 938213 h 1533525"/>
              <a:gd name="connsiteX86" fmla="*/ 64293 w 1266825"/>
              <a:gd name="connsiteY86" fmla="*/ 909638 h 1533525"/>
              <a:gd name="connsiteX87" fmla="*/ 47625 w 1266825"/>
              <a:gd name="connsiteY87" fmla="*/ 897731 h 1533525"/>
              <a:gd name="connsiteX88" fmla="*/ 47625 w 1266825"/>
              <a:gd name="connsiteY88" fmla="*/ 881063 h 1533525"/>
              <a:gd name="connsiteX89" fmla="*/ 26193 w 1266825"/>
              <a:gd name="connsiteY89" fmla="*/ 881063 h 1533525"/>
              <a:gd name="connsiteX90" fmla="*/ 7143 w 1266825"/>
              <a:gd name="connsiteY90" fmla="*/ 847725 h 1533525"/>
              <a:gd name="connsiteX91" fmla="*/ 0 w 1266825"/>
              <a:gd name="connsiteY91" fmla="*/ 816769 h 1533525"/>
              <a:gd name="connsiteX92" fmla="*/ 54768 w 1266825"/>
              <a:gd name="connsiteY92" fmla="*/ 800100 h 1533525"/>
              <a:gd name="connsiteX93" fmla="*/ 76200 w 1266825"/>
              <a:gd name="connsiteY93" fmla="*/ 788194 h 1533525"/>
              <a:gd name="connsiteX94" fmla="*/ 128587 w 1266825"/>
              <a:gd name="connsiteY94" fmla="*/ 821531 h 1533525"/>
              <a:gd name="connsiteX95" fmla="*/ 126206 w 1266825"/>
              <a:gd name="connsiteY95" fmla="*/ 800100 h 1533525"/>
              <a:gd name="connsiteX96" fmla="*/ 164306 w 1266825"/>
              <a:gd name="connsiteY96" fmla="*/ 795338 h 1533525"/>
              <a:gd name="connsiteX97" fmla="*/ 173831 w 1266825"/>
              <a:gd name="connsiteY97" fmla="*/ 759619 h 1533525"/>
              <a:gd name="connsiteX98" fmla="*/ 235743 w 1266825"/>
              <a:gd name="connsiteY98" fmla="*/ 764381 h 1533525"/>
              <a:gd name="connsiteX99" fmla="*/ 235743 w 1266825"/>
              <a:gd name="connsiteY99" fmla="*/ 764381 h 1533525"/>
              <a:gd name="connsiteX100" fmla="*/ 245268 w 1266825"/>
              <a:gd name="connsiteY100" fmla="*/ 704850 h 1533525"/>
              <a:gd name="connsiteX101" fmla="*/ 276225 w 1266825"/>
              <a:gd name="connsiteY101" fmla="*/ 666750 h 1533525"/>
              <a:gd name="connsiteX102" fmla="*/ 292893 w 1266825"/>
              <a:gd name="connsiteY102" fmla="*/ 638175 h 1533525"/>
              <a:gd name="connsiteX103" fmla="*/ 245268 w 1266825"/>
              <a:gd name="connsiteY103" fmla="*/ 602456 h 1533525"/>
              <a:gd name="connsiteX104" fmla="*/ 264318 w 1266825"/>
              <a:gd name="connsiteY104" fmla="*/ 585788 h 1533525"/>
              <a:gd name="connsiteX105" fmla="*/ 311943 w 1266825"/>
              <a:gd name="connsiteY105" fmla="*/ 602456 h 1533525"/>
              <a:gd name="connsiteX106" fmla="*/ 369093 w 1266825"/>
              <a:gd name="connsiteY106" fmla="*/ 573881 h 1533525"/>
              <a:gd name="connsiteX107" fmla="*/ 457200 w 1266825"/>
              <a:gd name="connsiteY107" fmla="*/ 545306 h 1533525"/>
              <a:gd name="connsiteX108" fmla="*/ 538162 w 1266825"/>
              <a:gd name="connsiteY108" fmla="*/ 578644 h 1533525"/>
              <a:gd name="connsiteX109" fmla="*/ 614362 w 1266825"/>
              <a:gd name="connsiteY109" fmla="*/ 550069 h 1533525"/>
              <a:gd name="connsiteX110" fmla="*/ 650081 w 1266825"/>
              <a:gd name="connsiteY110" fmla="*/ 552450 h 1533525"/>
              <a:gd name="connsiteX111" fmla="*/ 654843 w 1266825"/>
              <a:gd name="connsiteY111" fmla="*/ 523875 h 1533525"/>
              <a:gd name="connsiteX112" fmla="*/ 654843 w 1266825"/>
              <a:gd name="connsiteY112" fmla="*/ 490538 h 1533525"/>
              <a:gd name="connsiteX113" fmla="*/ 669131 w 1266825"/>
              <a:gd name="connsiteY113" fmla="*/ 469106 h 1533525"/>
              <a:gd name="connsiteX114" fmla="*/ 652462 w 1266825"/>
              <a:gd name="connsiteY114" fmla="*/ 450056 h 1533525"/>
              <a:gd name="connsiteX115" fmla="*/ 642937 w 1266825"/>
              <a:gd name="connsiteY115" fmla="*/ 411956 h 1533525"/>
              <a:gd name="connsiteX116" fmla="*/ 642937 w 1266825"/>
              <a:gd name="connsiteY116" fmla="*/ 330994 h 1533525"/>
              <a:gd name="connsiteX117" fmla="*/ 633412 w 1266825"/>
              <a:gd name="connsiteY117" fmla="*/ 319088 h 1533525"/>
              <a:gd name="connsiteX118" fmla="*/ 664368 w 1266825"/>
              <a:gd name="connsiteY118" fmla="*/ 285750 h 1533525"/>
              <a:gd name="connsiteX119" fmla="*/ 721518 w 1266825"/>
              <a:gd name="connsiteY119" fmla="*/ 292894 h 1533525"/>
              <a:gd name="connsiteX120" fmla="*/ 733425 w 1266825"/>
              <a:gd name="connsiteY120" fmla="*/ 264319 h 1533525"/>
              <a:gd name="connsiteX121" fmla="*/ 731043 w 1266825"/>
              <a:gd name="connsiteY121" fmla="*/ 228600 h 1533525"/>
              <a:gd name="connsiteX122" fmla="*/ 790575 w 1266825"/>
              <a:gd name="connsiteY122" fmla="*/ 192881 h 1533525"/>
              <a:gd name="connsiteX123" fmla="*/ 804862 w 1266825"/>
              <a:gd name="connsiteY123" fmla="*/ 166688 h 1533525"/>
              <a:gd name="connsiteX124" fmla="*/ 778668 w 1266825"/>
              <a:gd name="connsiteY124" fmla="*/ 128588 h 1533525"/>
              <a:gd name="connsiteX125" fmla="*/ 771525 w 1266825"/>
              <a:gd name="connsiteY125" fmla="*/ 104775 h 1533525"/>
              <a:gd name="connsiteX126" fmla="*/ 823912 w 1266825"/>
              <a:gd name="connsiteY126" fmla="*/ 97631 h 1533525"/>
              <a:gd name="connsiteX127" fmla="*/ 869156 w 1266825"/>
              <a:gd name="connsiteY127" fmla="*/ 52388 h 1533525"/>
              <a:gd name="connsiteX128" fmla="*/ 890587 w 1266825"/>
              <a:gd name="connsiteY128" fmla="*/ 23813 h 1533525"/>
              <a:gd name="connsiteX129" fmla="*/ 923925 w 1266825"/>
              <a:gd name="connsiteY129" fmla="*/ 9525 h 1533525"/>
              <a:gd name="connsiteX130" fmla="*/ 971550 w 1266825"/>
              <a:gd name="connsiteY130" fmla="*/ 0 h 1533525"/>
              <a:gd name="connsiteX131" fmla="*/ 971550 w 1266825"/>
              <a:gd name="connsiteY131" fmla="*/ 40481 h 1533525"/>
              <a:gd name="connsiteX132" fmla="*/ 950118 w 1266825"/>
              <a:gd name="connsiteY132" fmla="*/ 80963 h 1533525"/>
              <a:gd name="connsiteX133" fmla="*/ 950118 w 1266825"/>
              <a:gd name="connsiteY133" fmla="*/ 140494 h 1533525"/>
              <a:gd name="connsiteX134" fmla="*/ 969168 w 1266825"/>
              <a:gd name="connsiteY134" fmla="*/ 161925 h 1533525"/>
              <a:gd name="connsiteX135" fmla="*/ 1007268 w 1266825"/>
              <a:gd name="connsiteY135" fmla="*/ 188119 h 1533525"/>
              <a:gd name="connsiteX136" fmla="*/ 1019175 w 1266825"/>
              <a:gd name="connsiteY136" fmla="*/ 216694 h 1533525"/>
              <a:gd name="connsiteX137" fmla="*/ 1004887 w 1266825"/>
              <a:gd name="connsiteY137" fmla="*/ 226219 h 1533525"/>
              <a:gd name="connsiteX138" fmla="*/ 1057275 w 1266825"/>
              <a:gd name="connsiteY138" fmla="*/ 250031 h 1533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</a:cxnLst>
            <a:rect l="l" t="t" r="r" b="b"/>
            <a:pathLst>
              <a:path w="1266825" h="1533525">
                <a:moveTo>
                  <a:pt x="1057275" y="264319"/>
                </a:moveTo>
                <a:lnTo>
                  <a:pt x="1062037" y="304800"/>
                </a:lnTo>
                <a:lnTo>
                  <a:pt x="995362" y="352425"/>
                </a:lnTo>
                <a:lnTo>
                  <a:pt x="973931" y="383381"/>
                </a:lnTo>
                <a:lnTo>
                  <a:pt x="1000125" y="428625"/>
                </a:lnTo>
                <a:lnTo>
                  <a:pt x="983456" y="466725"/>
                </a:lnTo>
                <a:lnTo>
                  <a:pt x="1000125" y="519113"/>
                </a:lnTo>
                <a:lnTo>
                  <a:pt x="1033462" y="519113"/>
                </a:lnTo>
                <a:lnTo>
                  <a:pt x="1019175" y="552450"/>
                </a:lnTo>
                <a:lnTo>
                  <a:pt x="1035843" y="590550"/>
                </a:lnTo>
                <a:lnTo>
                  <a:pt x="1035843" y="607219"/>
                </a:lnTo>
                <a:lnTo>
                  <a:pt x="1045368" y="645319"/>
                </a:lnTo>
                <a:lnTo>
                  <a:pt x="1064418" y="645319"/>
                </a:lnTo>
                <a:lnTo>
                  <a:pt x="1078706" y="666750"/>
                </a:lnTo>
                <a:lnTo>
                  <a:pt x="1085850" y="688181"/>
                </a:lnTo>
                <a:lnTo>
                  <a:pt x="1076325" y="719138"/>
                </a:lnTo>
                <a:lnTo>
                  <a:pt x="1021556" y="714375"/>
                </a:lnTo>
                <a:cubicBezTo>
                  <a:pt x="1015206" y="716756"/>
                  <a:pt x="1008680" y="718713"/>
                  <a:pt x="1002506" y="721519"/>
                </a:cubicBezTo>
                <a:cubicBezTo>
                  <a:pt x="999901" y="722703"/>
                  <a:pt x="995362" y="726281"/>
                  <a:pt x="995362" y="726281"/>
                </a:cubicBezTo>
                <a:lnTo>
                  <a:pt x="995362" y="726281"/>
                </a:lnTo>
                <a:lnTo>
                  <a:pt x="923925" y="721519"/>
                </a:lnTo>
                <a:lnTo>
                  <a:pt x="940593" y="778669"/>
                </a:lnTo>
                <a:cubicBezTo>
                  <a:pt x="939799" y="801688"/>
                  <a:pt x="939006" y="824706"/>
                  <a:pt x="938212" y="847725"/>
                </a:cubicBezTo>
                <a:lnTo>
                  <a:pt x="954881" y="871538"/>
                </a:lnTo>
                <a:lnTo>
                  <a:pt x="997743" y="919163"/>
                </a:lnTo>
                <a:lnTo>
                  <a:pt x="1012031" y="954881"/>
                </a:lnTo>
                <a:lnTo>
                  <a:pt x="1031081" y="954881"/>
                </a:lnTo>
                <a:lnTo>
                  <a:pt x="1071562" y="940594"/>
                </a:lnTo>
                <a:lnTo>
                  <a:pt x="1102518" y="933450"/>
                </a:lnTo>
                <a:lnTo>
                  <a:pt x="1159668" y="997744"/>
                </a:lnTo>
                <a:lnTo>
                  <a:pt x="1178718" y="1052513"/>
                </a:lnTo>
                <a:lnTo>
                  <a:pt x="1190625" y="1081088"/>
                </a:lnTo>
                <a:lnTo>
                  <a:pt x="1212056" y="1109663"/>
                </a:lnTo>
                <a:lnTo>
                  <a:pt x="1231106" y="1102519"/>
                </a:lnTo>
                <a:lnTo>
                  <a:pt x="1231106" y="1131094"/>
                </a:lnTo>
                <a:lnTo>
                  <a:pt x="1233487" y="1145381"/>
                </a:lnTo>
                <a:lnTo>
                  <a:pt x="1266825" y="1181100"/>
                </a:lnTo>
                <a:lnTo>
                  <a:pt x="1233487" y="1181100"/>
                </a:lnTo>
                <a:lnTo>
                  <a:pt x="1228725" y="1223963"/>
                </a:lnTo>
                <a:lnTo>
                  <a:pt x="1226343" y="1243013"/>
                </a:lnTo>
                <a:lnTo>
                  <a:pt x="1216818" y="1264444"/>
                </a:lnTo>
                <a:lnTo>
                  <a:pt x="1190625" y="1238250"/>
                </a:lnTo>
                <a:lnTo>
                  <a:pt x="1157287" y="1209675"/>
                </a:lnTo>
                <a:lnTo>
                  <a:pt x="1131093" y="1185863"/>
                </a:lnTo>
                <a:lnTo>
                  <a:pt x="1107281" y="1219200"/>
                </a:lnTo>
                <a:lnTo>
                  <a:pt x="1104900" y="1264444"/>
                </a:lnTo>
                <a:lnTo>
                  <a:pt x="1062037" y="1259681"/>
                </a:lnTo>
                <a:lnTo>
                  <a:pt x="1026318" y="1288256"/>
                </a:lnTo>
                <a:lnTo>
                  <a:pt x="1007268" y="1240631"/>
                </a:lnTo>
                <a:lnTo>
                  <a:pt x="947737" y="1231106"/>
                </a:lnTo>
                <a:lnTo>
                  <a:pt x="921543" y="1297781"/>
                </a:lnTo>
                <a:lnTo>
                  <a:pt x="885825" y="1278731"/>
                </a:lnTo>
                <a:lnTo>
                  <a:pt x="816768" y="1295400"/>
                </a:lnTo>
                <a:lnTo>
                  <a:pt x="757237" y="1259681"/>
                </a:lnTo>
                <a:lnTo>
                  <a:pt x="742950" y="1312069"/>
                </a:lnTo>
                <a:lnTo>
                  <a:pt x="704850" y="1345406"/>
                </a:lnTo>
                <a:lnTo>
                  <a:pt x="692943" y="1366838"/>
                </a:lnTo>
                <a:lnTo>
                  <a:pt x="671512" y="1509713"/>
                </a:lnTo>
                <a:lnTo>
                  <a:pt x="633412" y="1490663"/>
                </a:lnTo>
                <a:lnTo>
                  <a:pt x="614362" y="1504950"/>
                </a:lnTo>
                <a:lnTo>
                  <a:pt x="581025" y="1531144"/>
                </a:lnTo>
                <a:lnTo>
                  <a:pt x="523875" y="1502569"/>
                </a:lnTo>
                <a:lnTo>
                  <a:pt x="514350" y="1490663"/>
                </a:lnTo>
                <a:lnTo>
                  <a:pt x="483393" y="1533525"/>
                </a:lnTo>
                <a:lnTo>
                  <a:pt x="459581" y="1481138"/>
                </a:lnTo>
                <a:lnTo>
                  <a:pt x="438150" y="1471613"/>
                </a:lnTo>
                <a:lnTo>
                  <a:pt x="400050" y="1485900"/>
                </a:lnTo>
                <a:lnTo>
                  <a:pt x="338137" y="1490663"/>
                </a:lnTo>
                <a:lnTo>
                  <a:pt x="330993" y="1497806"/>
                </a:lnTo>
                <a:lnTo>
                  <a:pt x="271462" y="1471613"/>
                </a:lnTo>
                <a:lnTo>
                  <a:pt x="219075" y="1443038"/>
                </a:lnTo>
                <a:lnTo>
                  <a:pt x="138112" y="1402556"/>
                </a:lnTo>
                <a:lnTo>
                  <a:pt x="95250" y="1316831"/>
                </a:lnTo>
                <a:lnTo>
                  <a:pt x="80962" y="1288256"/>
                </a:lnTo>
                <a:lnTo>
                  <a:pt x="104775" y="1266825"/>
                </a:lnTo>
                <a:lnTo>
                  <a:pt x="76200" y="1212056"/>
                </a:lnTo>
                <a:lnTo>
                  <a:pt x="109537" y="1193006"/>
                </a:lnTo>
                <a:lnTo>
                  <a:pt x="140493" y="1143000"/>
                </a:lnTo>
                <a:lnTo>
                  <a:pt x="123825" y="1107281"/>
                </a:lnTo>
                <a:lnTo>
                  <a:pt x="178593" y="1107281"/>
                </a:lnTo>
                <a:lnTo>
                  <a:pt x="192881" y="1109663"/>
                </a:lnTo>
                <a:lnTo>
                  <a:pt x="159543" y="1064419"/>
                </a:lnTo>
                <a:lnTo>
                  <a:pt x="169068" y="1014413"/>
                </a:lnTo>
                <a:lnTo>
                  <a:pt x="123825" y="997744"/>
                </a:lnTo>
                <a:lnTo>
                  <a:pt x="61912" y="954881"/>
                </a:lnTo>
                <a:lnTo>
                  <a:pt x="45243" y="938213"/>
                </a:lnTo>
                <a:lnTo>
                  <a:pt x="64293" y="909638"/>
                </a:lnTo>
                <a:lnTo>
                  <a:pt x="47625" y="897731"/>
                </a:lnTo>
                <a:lnTo>
                  <a:pt x="47625" y="881063"/>
                </a:lnTo>
                <a:lnTo>
                  <a:pt x="26193" y="881063"/>
                </a:lnTo>
                <a:lnTo>
                  <a:pt x="7143" y="847725"/>
                </a:lnTo>
                <a:lnTo>
                  <a:pt x="0" y="816769"/>
                </a:lnTo>
                <a:lnTo>
                  <a:pt x="54768" y="800100"/>
                </a:lnTo>
                <a:lnTo>
                  <a:pt x="76200" y="788194"/>
                </a:lnTo>
                <a:lnTo>
                  <a:pt x="128587" y="821531"/>
                </a:lnTo>
                <a:lnTo>
                  <a:pt x="126206" y="800100"/>
                </a:lnTo>
                <a:lnTo>
                  <a:pt x="164306" y="795338"/>
                </a:lnTo>
                <a:lnTo>
                  <a:pt x="173831" y="759619"/>
                </a:lnTo>
                <a:lnTo>
                  <a:pt x="235743" y="764381"/>
                </a:lnTo>
                <a:lnTo>
                  <a:pt x="235743" y="764381"/>
                </a:lnTo>
                <a:lnTo>
                  <a:pt x="245268" y="704850"/>
                </a:lnTo>
                <a:lnTo>
                  <a:pt x="276225" y="666750"/>
                </a:lnTo>
                <a:lnTo>
                  <a:pt x="292893" y="638175"/>
                </a:lnTo>
                <a:lnTo>
                  <a:pt x="245268" y="602456"/>
                </a:lnTo>
                <a:lnTo>
                  <a:pt x="264318" y="585788"/>
                </a:lnTo>
                <a:lnTo>
                  <a:pt x="311943" y="602456"/>
                </a:lnTo>
                <a:lnTo>
                  <a:pt x="369093" y="573881"/>
                </a:lnTo>
                <a:lnTo>
                  <a:pt x="457200" y="545306"/>
                </a:lnTo>
                <a:lnTo>
                  <a:pt x="538162" y="578644"/>
                </a:lnTo>
                <a:lnTo>
                  <a:pt x="614362" y="550069"/>
                </a:lnTo>
                <a:lnTo>
                  <a:pt x="650081" y="552450"/>
                </a:lnTo>
                <a:lnTo>
                  <a:pt x="654843" y="523875"/>
                </a:lnTo>
                <a:lnTo>
                  <a:pt x="654843" y="490538"/>
                </a:lnTo>
                <a:lnTo>
                  <a:pt x="669131" y="469106"/>
                </a:lnTo>
                <a:lnTo>
                  <a:pt x="652462" y="450056"/>
                </a:lnTo>
                <a:lnTo>
                  <a:pt x="642937" y="411956"/>
                </a:lnTo>
                <a:lnTo>
                  <a:pt x="642937" y="330994"/>
                </a:lnTo>
                <a:lnTo>
                  <a:pt x="633412" y="319088"/>
                </a:lnTo>
                <a:lnTo>
                  <a:pt x="664368" y="285750"/>
                </a:lnTo>
                <a:lnTo>
                  <a:pt x="721518" y="292894"/>
                </a:lnTo>
                <a:lnTo>
                  <a:pt x="733425" y="264319"/>
                </a:lnTo>
                <a:lnTo>
                  <a:pt x="731043" y="228600"/>
                </a:lnTo>
                <a:lnTo>
                  <a:pt x="790575" y="192881"/>
                </a:lnTo>
                <a:lnTo>
                  <a:pt x="804862" y="166688"/>
                </a:lnTo>
                <a:lnTo>
                  <a:pt x="778668" y="128588"/>
                </a:lnTo>
                <a:lnTo>
                  <a:pt x="771525" y="104775"/>
                </a:lnTo>
                <a:lnTo>
                  <a:pt x="823912" y="97631"/>
                </a:lnTo>
                <a:lnTo>
                  <a:pt x="869156" y="52388"/>
                </a:lnTo>
                <a:lnTo>
                  <a:pt x="890587" y="23813"/>
                </a:lnTo>
                <a:lnTo>
                  <a:pt x="923925" y="9525"/>
                </a:lnTo>
                <a:lnTo>
                  <a:pt x="971550" y="0"/>
                </a:lnTo>
                <a:lnTo>
                  <a:pt x="971550" y="40481"/>
                </a:lnTo>
                <a:lnTo>
                  <a:pt x="950118" y="80963"/>
                </a:lnTo>
                <a:lnTo>
                  <a:pt x="950118" y="140494"/>
                </a:lnTo>
                <a:lnTo>
                  <a:pt x="969168" y="161925"/>
                </a:lnTo>
                <a:lnTo>
                  <a:pt x="1007268" y="188119"/>
                </a:lnTo>
                <a:lnTo>
                  <a:pt x="1019175" y="216694"/>
                </a:lnTo>
                <a:lnTo>
                  <a:pt x="1004887" y="226219"/>
                </a:lnTo>
                <a:lnTo>
                  <a:pt x="1057275" y="250031"/>
                </a:lnTo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>
              <a:defRPr/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0" name="Figura a mano libera 229"/>
          <p:cNvSpPr/>
          <p:nvPr/>
        </p:nvSpPr>
        <p:spPr bwMode="auto">
          <a:xfrm>
            <a:off x="1224697" y="1441127"/>
            <a:ext cx="931443" cy="826869"/>
          </a:xfrm>
          <a:custGeom>
            <a:avLst/>
            <a:gdLst>
              <a:gd name="connsiteX0" fmla="*/ 147638 w 1395413"/>
              <a:gd name="connsiteY0" fmla="*/ 302419 h 1247775"/>
              <a:gd name="connsiteX1" fmla="*/ 204788 w 1395413"/>
              <a:gd name="connsiteY1" fmla="*/ 314325 h 1247775"/>
              <a:gd name="connsiteX2" fmla="*/ 216694 w 1395413"/>
              <a:gd name="connsiteY2" fmla="*/ 335756 h 1247775"/>
              <a:gd name="connsiteX3" fmla="*/ 180975 w 1395413"/>
              <a:gd name="connsiteY3" fmla="*/ 369094 h 1247775"/>
              <a:gd name="connsiteX4" fmla="*/ 233363 w 1395413"/>
              <a:gd name="connsiteY4" fmla="*/ 402431 h 1247775"/>
              <a:gd name="connsiteX5" fmla="*/ 221456 w 1395413"/>
              <a:gd name="connsiteY5" fmla="*/ 431006 h 1247775"/>
              <a:gd name="connsiteX6" fmla="*/ 202406 w 1395413"/>
              <a:gd name="connsiteY6" fmla="*/ 461963 h 1247775"/>
              <a:gd name="connsiteX7" fmla="*/ 252413 w 1395413"/>
              <a:gd name="connsiteY7" fmla="*/ 488156 h 1247775"/>
              <a:gd name="connsiteX8" fmla="*/ 304800 w 1395413"/>
              <a:gd name="connsiteY8" fmla="*/ 471488 h 1247775"/>
              <a:gd name="connsiteX9" fmla="*/ 307181 w 1395413"/>
              <a:gd name="connsiteY9" fmla="*/ 450056 h 1247775"/>
              <a:gd name="connsiteX10" fmla="*/ 290513 w 1395413"/>
              <a:gd name="connsiteY10" fmla="*/ 421481 h 1247775"/>
              <a:gd name="connsiteX11" fmla="*/ 257175 w 1395413"/>
              <a:gd name="connsiteY11" fmla="*/ 400050 h 1247775"/>
              <a:gd name="connsiteX12" fmla="*/ 292894 w 1395413"/>
              <a:gd name="connsiteY12" fmla="*/ 383381 h 1247775"/>
              <a:gd name="connsiteX13" fmla="*/ 271463 w 1395413"/>
              <a:gd name="connsiteY13" fmla="*/ 342900 h 1247775"/>
              <a:gd name="connsiteX14" fmla="*/ 321469 w 1395413"/>
              <a:gd name="connsiteY14" fmla="*/ 338138 h 1247775"/>
              <a:gd name="connsiteX15" fmla="*/ 321469 w 1395413"/>
              <a:gd name="connsiteY15" fmla="*/ 297656 h 1247775"/>
              <a:gd name="connsiteX16" fmla="*/ 411956 w 1395413"/>
              <a:gd name="connsiteY16" fmla="*/ 219075 h 1247775"/>
              <a:gd name="connsiteX17" fmla="*/ 423863 w 1395413"/>
              <a:gd name="connsiteY17" fmla="*/ 147638 h 1247775"/>
              <a:gd name="connsiteX18" fmla="*/ 433388 w 1395413"/>
              <a:gd name="connsiteY18" fmla="*/ 109538 h 1247775"/>
              <a:gd name="connsiteX19" fmla="*/ 414338 w 1395413"/>
              <a:gd name="connsiteY19" fmla="*/ 92869 h 1247775"/>
              <a:gd name="connsiteX20" fmla="*/ 433388 w 1395413"/>
              <a:gd name="connsiteY20" fmla="*/ 71438 h 1247775"/>
              <a:gd name="connsiteX21" fmla="*/ 440531 w 1395413"/>
              <a:gd name="connsiteY21" fmla="*/ 54769 h 1247775"/>
              <a:gd name="connsiteX22" fmla="*/ 483394 w 1395413"/>
              <a:gd name="connsiteY22" fmla="*/ 61913 h 1247775"/>
              <a:gd name="connsiteX23" fmla="*/ 483394 w 1395413"/>
              <a:gd name="connsiteY23" fmla="*/ 80963 h 1247775"/>
              <a:gd name="connsiteX24" fmla="*/ 521494 w 1395413"/>
              <a:gd name="connsiteY24" fmla="*/ 71438 h 1247775"/>
              <a:gd name="connsiteX25" fmla="*/ 526256 w 1395413"/>
              <a:gd name="connsiteY25" fmla="*/ 100013 h 1247775"/>
              <a:gd name="connsiteX26" fmla="*/ 507206 w 1395413"/>
              <a:gd name="connsiteY26" fmla="*/ 128588 h 1247775"/>
              <a:gd name="connsiteX27" fmla="*/ 564356 w 1395413"/>
              <a:gd name="connsiteY27" fmla="*/ 190500 h 1247775"/>
              <a:gd name="connsiteX28" fmla="*/ 626269 w 1395413"/>
              <a:gd name="connsiteY28" fmla="*/ 204788 h 1247775"/>
              <a:gd name="connsiteX29" fmla="*/ 635794 w 1395413"/>
              <a:gd name="connsiteY29" fmla="*/ 173831 h 1247775"/>
              <a:gd name="connsiteX30" fmla="*/ 671513 w 1395413"/>
              <a:gd name="connsiteY30" fmla="*/ 173831 h 1247775"/>
              <a:gd name="connsiteX31" fmla="*/ 726281 w 1395413"/>
              <a:gd name="connsiteY31" fmla="*/ 164306 h 1247775"/>
              <a:gd name="connsiteX32" fmla="*/ 738188 w 1395413"/>
              <a:gd name="connsiteY32" fmla="*/ 157163 h 1247775"/>
              <a:gd name="connsiteX33" fmla="*/ 738188 w 1395413"/>
              <a:gd name="connsiteY33" fmla="*/ 157163 h 1247775"/>
              <a:gd name="connsiteX34" fmla="*/ 766763 w 1395413"/>
              <a:gd name="connsiteY34" fmla="*/ 183356 h 1247775"/>
              <a:gd name="connsiteX35" fmla="*/ 752475 w 1395413"/>
              <a:gd name="connsiteY35" fmla="*/ 207169 h 1247775"/>
              <a:gd name="connsiteX36" fmla="*/ 778669 w 1395413"/>
              <a:gd name="connsiteY36" fmla="*/ 233363 h 1247775"/>
              <a:gd name="connsiteX37" fmla="*/ 778669 w 1395413"/>
              <a:gd name="connsiteY37" fmla="*/ 252413 h 1247775"/>
              <a:gd name="connsiteX38" fmla="*/ 778669 w 1395413"/>
              <a:gd name="connsiteY38" fmla="*/ 252413 h 1247775"/>
              <a:gd name="connsiteX39" fmla="*/ 862013 w 1395413"/>
              <a:gd name="connsiteY39" fmla="*/ 257175 h 1247775"/>
              <a:gd name="connsiteX40" fmla="*/ 826294 w 1395413"/>
              <a:gd name="connsiteY40" fmla="*/ 197644 h 1247775"/>
              <a:gd name="connsiteX41" fmla="*/ 833438 w 1395413"/>
              <a:gd name="connsiteY41" fmla="*/ 169069 h 1247775"/>
              <a:gd name="connsiteX42" fmla="*/ 845344 w 1395413"/>
              <a:gd name="connsiteY42" fmla="*/ 130969 h 1247775"/>
              <a:gd name="connsiteX43" fmla="*/ 788194 w 1395413"/>
              <a:gd name="connsiteY43" fmla="*/ 123825 h 1247775"/>
              <a:gd name="connsiteX44" fmla="*/ 792956 w 1395413"/>
              <a:gd name="connsiteY44" fmla="*/ 57150 h 1247775"/>
              <a:gd name="connsiteX45" fmla="*/ 812006 w 1395413"/>
              <a:gd name="connsiteY45" fmla="*/ 26194 h 1247775"/>
              <a:gd name="connsiteX46" fmla="*/ 866775 w 1395413"/>
              <a:gd name="connsiteY46" fmla="*/ 0 h 1247775"/>
              <a:gd name="connsiteX47" fmla="*/ 892969 w 1395413"/>
              <a:gd name="connsiteY47" fmla="*/ 0 h 1247775"/>
              <a:gd name="connsiteX48" fmla="*/ 895350 w 1395413"/>
              <a:gd name="connsiteY48" fmla="*/ 40481 h 1247775"/>
              <a:gd name="connsiteX49" fmla="*/ 976313 w 1395413"/>
              <a:gd name="connsiteY49" fmla="*/ 66675 h 1247775"/>
              <a:gd name="connsiteX50" fmla="*/ 1004888 w 1395413"/>
              <a:gd name="connsiteY50" fmla="*/ 69056 h 1247775"/>
              <a:gd name="connsiteX51" fmla="*/ 1019175 w 1395413"/>
              <a:gd name="connsiteY51" fmla="*/ 102394 h 1247775"/>
              <a:gd name="connsiteX52" fmla="*/ 1057275 w 1395413"/>
              <a:gd name="connsiteY52" fmla="*/ 109538 h 1247775"/>
              <a:gd name="connsiteX53" fmla="*/ 1064419 w 1395413"/>
              <a:gd name="connsiteY53" fmla="*/ 161925 h 1247775"/>
              <a:gd name="connsiteX54" fmla="*/ 1014413 w 1395413"/>
              <a:gd name="connsiteY54" fmla="*/ 185738 h 1247775"/>
              <a:gd name="connsiteX55" fmla="*/ 1040606 w 1395413"/>
              <a:gd name="connsiteY55" fmla="*/ 240506 h 1247775"/>
              <a:gd name="connsiteX56" fmla="*/ 1040606 w 1395413"/>
              <a:gd name="connsiteY56" fmla="*/ 271463 h 1247775"/>
              <a:gd name="connsiteX57" fmla="*/ 1031081 w 1395413"/>
              <a:gd name="connsiteY57" fmla="*/ 304800 h 1247775"/>
              <a:gd name="connsiteX58" fmla="*/ 1007269 w 1395413"/>
              <a:gd name="connsiteY58" fmla="*/ 354806 h 1247775"/>
              <a:gd name="connsiteX59" fmla="*/ 978694 w 1395413"/>
              <a:gd name="connsiteY59" fmla="*/ 397669 h 1247775"/>
              <a:gd name="connsiteX60" fmla="*/ 976313 w 1395413"/>
              <a:gd name="connsiteY60" fmla="*/ 435769 h 1247775"/>
              <a:gd name="connsiteX61" fmla="*/ 985838 w 1395413"/>
              <a:gd name="connsiteY61" fmla="*/ 445294 h 1247775"/>
              <a:gd name="connsiteX62" fmla="*/ 997744 w 1395413"/>
              <a:gd name="connsiteY62" fmla="*/ 497681 h 1247775"/>
              <a:gd name="connsiteX63" fmla="*/ 1028700 w 1395413"/>
              <a:gd name="connsiteY63" fmla="*/ 545306 h 1247775"/>
              <a:gd name="connsiteX64" fmla="*/ 1078706 w 1395413"/>
              <a:gd name="connsiteY64" fmla="*/ 528638 h 1247775"/>
              <a:gd name="connsiteX65" fmla="*/ 1178719 w 1395413"/>
              <a:gd name="connsiteY65" fmla="*/ 538163 h 1247775"/>
              <a:gd name="connsiteX66" fmla="*/ 1143000 w 1395413"/>
              <a:gd name="connsiteY66" fmla="*/ 559594 h 1247775"/>
              <a:gd name="connsiteX67" fmla="*/ 1102519 w 1395413"/>
              <a:gd name="connsiteY67" fmla="*/ 609600 h 1247775"/>
              <a:gd name="connsiteX68" fmla="*/ 1081088 w 1395413"/>
              <a:gd name="connsiteY68" fmla="*/ 638175 h 1247775"/>
              <a:gd name="connsiteX69" fmla="*/ 1050131 w 1395413"/>
              <a:gd name="connsiteY69" fmla="*/ 683419 h 1247775"/>
              <a:gd name="connsiteX70" fmla="*/ 1050131 w 1395413"/>
              <a:gd name="connsiteY70" fmla="*/ 745331 h 1247775"/>
              <a:gd name="connsiteX71" fmla="*/ 1057275 w 1395413"/>
              <a:gd name="connsiteY71" fmla="*/ 783431 h 1247775"/>
              <a:gd name="connsiteX72" fmla="*/ 1090613 w 1395413"/>
              <a:gd name="connsiteY72" fmla="*/ 781050 h 1247775"/>
              <a:gd name="connsiteX73" fmla="*/ 1069181 w 1395413"/>
              <a:gd name="connsiteY73" fmla="*/ 828675 h 1247775"/>
              <a:gd name="connsiteX74" fmla="*/ 1071563 w 1395413"/>
              <a:gd name="connsiteY74" fmla="*/ 881063 h 1247775"/>
              <a:gd name="connsiteX75" fmla="*/ 1092994 w 1395413"/>
              <a:gd name="connsiteY75" fmla="*/ 881063 h 1247775"/>
              <a:gd name="connsiteX76" fmla="*/ 1097756 w 1395413"/>
              <a:gd name="connsiteY76" fmla="*/ 850106 h 1247775"/>
              <a:gd name="connsiteX77" fmla="*/ 1171575 w 1395413"/>
              <a:gd name="connsiteY77" fmla="*/ 928688 h 1247775"/>
              <a:gd name="connsiteX78" fmla="*/ 1228725 w 1395413"/>
              <a:gd name="connsiteY78" fmla="*/ 976313 h 1247775"/>
              <a:gd name="connsiteX79" fmla="*/ 1223963 w 1395413"/>
              <a:gd name="connsiteY79" fmla="*/ 1000125 h 1247775"/>
              <a:gd name="connsiteX80" fmla="*/ 1252538 w 1395413"/>
              <a:gd name="connsiteY80" fmla="*/ 1019175 h 1247775"/>
              <a:gd name="connsiteX81" fmla="*/ 1288256 w 1395413"/>
              <a:gd name="connsiteY81" fmla="*/ 1007269 h 1247775"/>
              <a:gd name="connsiteX82" fmla="*/ 1307306 w 1395413"/>
              <a:gd name="connsiteY82" fmla="*/ 1007269 h 1247775"/>
              <a:gd name="connsiteX83" fmla="*/ 1321594 w 1395413"/>
              <a:gd name="connsiteY83" fmla="*/ 1059656 h 1247775"/>
              <a:gd name="connsiteX84" fmla="*/ 1395413 w 1395413"/>
              <a:gd name="connsiteY84" fmla="*/ 1102519 h 1247775"/>
              <a:gd name="connsiteX85" fmla="*/ 1364456 w 1395413"/>
              <a:gd name="connsiteY85" fmla="*/ 1114425 h 1247775"/>
              <a:gd name="connsiteX86" fmla="*/ 1314450 w 1395413"/>
              <a:gd name="connsiteY86" fmla="*/ 1114425 h 1247775"/>
              <a:gd name="connsiteX87" fmla="*/ 1254919 w 1395413"/>
              <a:gd name="connsiteY87" fmla="*/ 1107281 h 1247775"/>
              <a:gd name="connsiteX88" fmla="*/ 1216819 w 1395413"/>
              <a:gd name="connsiteY88" fmla="*/ 1112044 h 1247775"/>
              <a:gd name="connsiteX89" fmla="*/ 1181100 w 1395413"/>
              <a:gd name="connsiteY89" fmla="*/ 1138238 h 1247775"/>
              <a:gd name="connsiteX90" fmla="*/ 1116806 w 1395413"/>
              <a:gd name="connsiteY90" fmla="*/ 1123950 h 1247775"/>
              <a:gd name="connsiteX91" fmla="*/ 1071563 w 1395413"/>
              <a:gd name="connsiteY91" fmla="*/ 1081088 h 1247775"/>
              <a:gd name="connsiteX92" fmla="*/ 1012031 w 1395413"/>
              <a:gd name="connsiteY92" fmla="*/ 1140619 h 1247775"/>
              <a:gd name="connsiteX93" fmla="*/ 847725 w 1395413"/>
              <a:gd name="connsiteY93" fmla="*/ 1066800 h 1247775"/>
              <a:gd name="connsiteX94" fmla="*/ 823913 w 1395413"/>
              <a:gd name="connsiteY94" fmla="*/ 1054894 h 1247775"/>
              <a:gd name="connsiteX95" fmla="*/ 823913 w 1395413"/>
              <a:gd name="connsiteY95" fmla="*/ 1038225 h 1247775"/>
              <a:gd name="connsiteX96" fmla="*/ 776288 w 1395413"/>
              <a:gd name="connsiteY96" fmla="*/ 1040606 h 1247775"/>
              <a:gd name="connsiteX97" fmla="*/ 747713 w 1395413"/>
              <a:gd name="connsiteY97" fmla="*/ 1023938 h 1247775"/>
              <a:gd name="connsiteX98" fmla="*/ 752475 w 1395413"/>
              <a:gd name="connsiteY98" fmla="*/ 997744 h 1247775"/>
              <a:gd name="connsiteX99" fmla="*/ 740569 w 1395413"/>
              <a:gd name="connsiteY99" fmla="*/ 971550 h 1247775"/>
              <a:gd name="connsiteX100" fmla="*/ 678656 w 1395413"/>
              <a:gd name="connsiteY100" fmla="*/ 1000125 h 1247775"/>
              <a:gd name="connsiteX101" fmla="*/ 678656 w 1395413"/>
              <a:gd name="connsiteY101" fmla="*/ 976313 h 1247775"/>
              <a:gd name="connsiteX102" fmla="*/ 650081 w 1395413"/>
              <a:gd name="connsiteY102" fmla="*/ 997744 h 1247775"/>
              <a:gd name="connsiteX103" fmla="*/ 621506 w 1395413"/>
              <a:gd name="connsiteY103" fmla="*/ 1000125 h 1247775"/>
              <a:gd name="connsiteX104" fmla="*/ 602456 w 1395413"/>
              <a:gd name="connsiteY104" fmla="*/ 997744 h 1247775"/>
              <a:gd name="connsiteX105" fmla="*/ 600075 w 1395413"/>
              <a:gd name="connsiteY105" fmla="*/ 978694 h 1247775"/>
              <a:gd name="connsiteX106" fmla="*/ 578644 w 1395413"/>
              <a:gd name="connsiteY106" fmla="*/ 1009650 h 1247775"/>
              <a:gd name="connsiteX107" fmla="*/ 533400 w 1395413"/>
              <a:gd name="connsiteY107" fmla="*/ 1012031 h 1247775"/>
              <a:gd name="connsiteX108" fmla="*/ 490538 w 1395413"/>
              <a:gd name="connsiteY108" fmla="*/ 1004888 h 1247775"/>
              <a:gd name="connsiteX109" fmla="*/ 485775 w 1395413"/>
              <a:gd name="connsiteY109" fmla="*/ 971550 h 1247775"/>
              <a:gd name="connsiteX110" fmla="*/ 461963 w 1395413"/>
              <a:gd name="connsiteY110" fmla="*/ 971550 h 1247775"/>
              <a:gd name="connsiteX111" fmla="*/ 381000 w 1395413"/>
              <a:gd name="connsiteY111" fmla="*/ 1047750 h 1247775"/>
              <a:gd name="connsiteX112" fmla="*/ 381000 w 1395413"/>
              <a:gd name="connsiteY112" fmla="*/ 1112044 h 1247775"/>
              <a:gd name="connsiteX113" fmla="*/ 407194 w 1395413"/>
              <a:gd name="connsiteY113" fmla="*/ 1126331 h 1247775"/>
              <a:gd name="connsiteX114" fmla="*/ 383381 w 1395413"/>
              <a:gd name="connsiteY114" fmla="*/ 1152525 h 1247775"/>
              <a:gd name="connsiteX115" fmla="*/ 359569 w 1395413"/>
              <a:gd name="connsiteY115" fmla="*/ 1188244 h 1247775"/>
              <a:gd name="connsiteX116" fmla="*/ 392906 w 1395413"/>
              <a:gd name="connsiteY116" fmla="*/ 1216819 h 1247775"/>
              <a:gd name="connsiteX117" fmla="*/ 366713 w 1395413"/>
              <a:gd name="connsiteY117" fmla="*/ 1247775 h 1247775"/>
              <a:gd name="connsiteX118" fmla="*/ 314325 w 1395413"/>
              <a:gd name="connsiteY118" fmla="*/ 1214438 h 1247775"/>
              <a:gd name="connsiteX119" fmla="*/ 309563 w 1395413"/>
              <a:gd name="connsiteY119" fmla="*/ 1152525 h 1247775"/>
              <a:gd name="connsiteX120" fmla="*/ 280988 w 1395413"/>
              <a:gd name="connsiteY120" fmla="*/ 1166813 h 1247775"/>
              <a:gd name="connsiteX121" fmla="*/ 250031 w 1395413"/>
              <a:gd name="connsiteY121" fmla="*/ 1054894 h 1247775"/>
              <a:gd name="connsiteX122" fmla="*/ 190500 w 1395413"/>
              <a:gd name="connsiteY122" fmla="*/ 978694 h 1247775"/>
              <a:gd name="connsiteX123" fmla="*/ 92869 w 1395413"/>
              <a:gd name="connsiteY123" fmla="*/ 1009650 h 1247775"/>
              <a:gd name="connsiteX124" fmla="*/ 71438 w 1395413"/>
              <a:gd name="connsiteY124" fmla="*/ 962025 h 1247775"/>
              <a:gd name="connsiteX125" fmla="*/ 28575 w 1395413"/>
              <a:gd name="connsiteY125" fmla="*/ 914400 h 1247775"/>
              <a:gd name="connsiteX126" fmla="*/ 23813 w 1395413"/>
              <a:gd name="connsiteY126" fmla="*/ 845344 h 1247775"/>
              <a:gd name="connsiteX127" fmla="*/ 0 w 1395413"/>
              <a:gd name="connsiteY127" fmla="*/ 776288 h 1247775"/>
              <a:gd name="connsiteX128" fmla="*/ 71438 w 1395413"/>
              <a:gd name="connsiteY128" fmla="*/ 783431 h 1247775"/>
              <a:gd name="connsiteX129" fmla="*/ 121444 w 1395413"/>
              <a:gd name="connsiteY129" fmla="*/ 776288 h 1247775"/>
              <a:gd name="connsiteX130" fmla="*/ 159544 w 1395413"/>
              <a:gd name="connsiteY130" fmla="*/ 776288 h 1247775"/>
              <a:gd name="connsiteX131" fmla="*/ 173831 w 1395413"/>
              <a:gd name="connsiteY131" fmla="*/ 745331 h 1247775"/>
              <a:gd name="connsiteX132" fmla="*/ 154781 w 1395413"/>
              <a:gd name="connsiteY132" fmla="*/ 704850 h 1247775"/>
              <a:gd name="connsiteX133" fmla="*/ 133350 w 1395413"/>
              <a:gd name="connsiteY133" fmla="*/ 704850 h 1247775"/>
              <a:gd name="connsiteX134" fmla="*/ 123825 w 1395413"/>
              <a:gd name="connsiteY134" fmla="*/ 642938 h 1247775"/>
              <a:gd name="connsiteX135" fmla="*/ 95250 w 1395413"/>
              <a:gd name="connsiteY135" fmla="*/ 621506 h 1247775"/>
              <a:gd name="connsiteX136" fmla="*/ 133350 w 1395413"/>
              <a:gd name="connsiteY136" fmla="*/ 573881 h 1247775"/>
              <a:gd name="connsiteX137" fmla="*/ 83344 w 1395413"/>
              <a:gd name="connsiteY137" fmla="*/ 573881 h 1247775"/>
              <a:gd name="connsiteX138" fmla="*/ 59531 w 1395413"/>
              <a:gd name="connsiteY138" fmla="*/ 550069 h 1247775"/>
              <a:gd name="connsiteX139" fmla="*/ 83344 w 1395413"/>
              <a:gd name="connsiteY139" fmla="*/ 478631 h 1247775"/>
              <a:gd name="connsiteX140" fmla="*/ 54769 w 1395413"/>
              <a:gd name="connsiteY140" fmla="*/ 440531 h 1247775"/>
              <a:gd name="connsiteX141" fmla="*/ 97631 w 1395413"/>
              <a:gd name="connsiteY141" fmla="*/ 395288 h 1247775"/>
              <a:gd name="connsiteX142" fmla="*/ 147638 w 1395413"/>
              <a:gd name="connsiteY142" fmla="*/ 373856 h 1247775"/>
              <a:gd name="connsiteX143" fmla="*/ 147638 w 1395413"/>
              <a:gd name="connsiteY143" fmla="*/ 302419 h 12477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</a:cxnLst>
            <a:rect l="l" t="t" r="r" b="b"/>
            <a:pathLst>
              <a:path w="1395413" h="1247775">
                <a:moveTo>
                  <a:pt x="147638" y="302419"/>
                </a:moveTo>
                <a:lnTo>
                  <a:pt x="204788" y="314325"/>
                </a:lnTo>
                <a:lnTo>
                  <a:pt x="216694" y="335756"/>
                </a:lnTo>
                <a:lnTo>
                  <a:pt x="180975" y="369094"/>
                </a:lnTo>
                <a:lnTo>
                  <a:pt x="233363" y="402431"/>
                </a:lnTo>
                <a:lnTo>
                  <a:pt x="221456" y="431006"/>
                </a:lnTo>
                <a:lnTo>
                  <a:pt x="202406" y="461963"/>
                </a:lnTo>
                <a:lnTo>
                  <a:pt x="252413" y="488156"/>
                </a:lnTo>
                <a:lnTo>
                  <a:pt x="304800" y="471488"/>
                </a:lnTo>
                <a:lnTo>
                  <a:pt x="307181" y="450056"/>
                </a:lnTo>
                <a:lnTo>
                  <a:pt x="290513" y="421481"/>
                </a:lnTo>
                <a:lnTo>
                  <a:pt x="257175" y="400050"/>
                </a:lnTo>
                <a:lnTo>
                  <a:pt x="292894" y="383381"/>
                </a:lnTo>
                <a:lnTo>
                  <a:pt x="271463" y="342900"/>
                </a:lnTo>
                <a:lnTo>
                  <a:pt x="321469" y="338138"/>
                </a:lnTo>
                <a:lnTo>
                  <a:pt x="321469" y="297656"/>
                </a:lnTo>
                <a:lnTo>
                  <a:pt x="411956" y="219075"/>
                </a:lnTo>
                <a:lnTo>
                  <a:pt x="423863" y="147638"/>
                </a:lnTo>
                <a:lnTo>
                  <a:pt x="433388" y="109538"/>
                </a:lnTo>
                <a:lnTo>
                  <a:pt x="414338" y="92869"/>
                </a:lnTo>
                <a:lnTo>
                  <a:pt x="433388" y="71438"/>
                </a:lnTo>
                <a:lnTo>
                  <a:pt x="440531" y="54769"/>
                </a:lnTo>
                <a:lnTo>
                  <a:pt x="483394" y="61913"/>
                </a:lnTo>
                <a:lnTo>
                  <a:pt x="483394" y="80963"/>
                </a:lnTo>
                <a:lnTo>
                  <a:pt x="521494" y="71438"/>
                </a:lnTo>
                <a:lnTo>
                  <a:pt x="526256" y="100013"/>
                </a:lnTo>
                <a:lnTo>
                  <a:pt x="507206" y="128588"/>
                </a:lnTo>
                <a:lnTo>
                  <a:pt x="564356" y="190500"/>
                </a:lnTo>
                <a:lnTo>
                  <a:pt x="626269" y="204788"/>
                </a:lnTo>
                <a:lnTo>
                  <a:pt x="635794" y="173831"/>
                </a:lnTo>
                <a:lnTo>
                  <a:pt x="671513" y="173831"/>
                </a:lnTo>
                <a:lnTo>
                  <a:pt x="726281" y="164306"/>
                </a:lnTo>
                <a:lnTo>
                  <a:pt x="738188" y="157163"/>
                </a:lnTo>
                <a:lnTo>
                  <a:pt x="738188" y="157163"/>
                </a:lnTo>
                <a:lnTo>
                  <a:pt x="766763" y="183356"/>
                </a:lnTo>
                <a:lnTo>
                  <a:pt x="752475" y="207169"/>
                </a:lnTo>
                <a:lnTo>
                  <a:pt x="778669" y="233363"/>
                </a:lnTo>
                <a:lnTo>
                  <a:pt x="778669" y="252413"/>
                </a:lnTo>
                <a:lnTo>
                  <a:pt x="778669" y="252413"/>
                </a:lnTo>
                <a:lnTo>
                  <a:pt x="862013" y="257175"/>
                </a:lnTo>
                <a:lnTo>
                  <a:pt x="826294" y="197644"/>
                </a:lnTo>
                <a:lnTo>
                  <a:pt x="833438" y="169069"/>
                </a:lnTo>
                <a:lnTo>
                  <a:pt x="845344" y="130969"/>
                </a:lnTo>
                <a:lnTo>
                  <a:pt x="788194" y="123825"/>
                </a:lnTo>
                <a:lnTo>
                  <a:pt x="792956" y="57150"/>
                </a:lnTo>
                <a:lnTo>
                  <a:pt x="812006" y="26194"/>
                </a:lnTo>
                <a:lnTo>
                  <a:pt x="866775" y="0"/>
                </a:lnTo>
                <a:lnTo>
                  <a:pt x="892969" y="0"/>
                </a:lnTo>
                <a:lnTo>
                  <a:pt x="895350" y="40481"/>
                </a:lnTo>
                <a:lnTo>
                  <a:pt x="976313" y="66675"/>
                </a:lnTo>
                <a:lnTo>
                  <a:pt x="1004888" y="69056"/>
                </a:lnTo>
                <a:lnTo>
                  <a:pt x="1019175" y="102394"/>
                </a:lnTo>
                <a:lnTo>
                  <a:pt x="1057275" y="109538"/>
                </a:lnTo>
                <a:lnTo>
                  <a:pt x="1064419" y="161925"/>
                </a:lnTo>
                <a:lnTo>
                  <a:pt x="1014413" y="185738"/>
                </a:lnTo>
                <a:lnTo>
                  <a:pt x="1040606" y="240506"/>
                </a:lnTo>
                <a:lnTo>
                  <a:pt x="1040606" y="271463"/>
                </a:lnTo>
                <a:lnTo>
                  <a:pt x="1031081" y="304800"/>
                </a:lnTo>
                <a:lnTo>
                  <a:pt x="1007269" y="354806"/>
                </a:lnTo>
                <a:lnTo>
                  <a:pt x="978694" y="397669"/>
                </a:lnTo>
                <a:lnTo>
                  <a:pt x="976313" y="435769"/>
                </a:lnTo>
                <a:lnTo>
                  <a:pt x="985838" y="445294"/>
                </a:lnTo>
                <a:lnTo>
                  <a:pt x="997744" y="497681"/>
                </a:lnTo>
                <a:lnTo>
                  <a:pt x="1028700" y="545306"/>
                </a:lnTo>
                <a:lnTo>
                  <a:pt x="1078706" y="528638"/>
                </a:lnTo>
                <a:lnTo>
                  <a:pt x="1178719" y="538163"/>
                </a:lnTo>
                <a:lnTo>
                  <a:pt x="1143000" y="559594"/>
                </a:lnTo>
                <a:lnTo>
                  <a:pt x="1102519" y="609600"/>
                </a:lnTo>
                <a:lnTo>
                  <a:pt x="1081088" y="638175"/>
                </a:lnTo>
                <a:lnTo>
                  <a:pt x="1050131" y="683419"/>
                </a:lnTo>
                <a:lnTo>
                  <a:pt x="1050131" y="745331"/>
                </a:lnTo>
                <a:lnTo>
                  <a:pt x="1057275" y="783431"/>
                </a:lnTo>
                <a:lnTo>
                  <a:pt x="1090613" y="781050"/>
                </a:lnTo>
                <a:lnTo>
                  <a:pt x="1069181" y="828675"/>
                </a:lnTo>
                <a:lnTo>
                  <a:pt x="1071563" y="881063"/>
                </a:lnTo>
                <a:lnTo>
                  <a:pt x="1092994" y="881063"/>
                </a:lnTo>
                <a:lnTo>
                  <a:pt x="1097756" y="850106"/>
                </a:lnTo>
                <a:lnTo>
                  <a:pt x="1171575" y="928688"/>
                </a:lnTo>
                <a:lnTo>
                  <a:pt x="1228725" y="976313"/>
                </a:lnTo>
                <a:lnTo>
                  <a:pt x="1223963" y="1000125"/>
                </a:lnTo>
                <a:lnTo>
                  <a:pt x="1252538" y="1019175"/>
                </a:lnTo>
                <a:lnTo>
                  <a:pt x="1288256" y="1007269"/>
                </a:lnTo>
                <a:lnTo>
                  <a:pt x="1307306" y="1007269"/>
                </a:lnTo>
                <a:lnTo>
                  <a:pt x="1321594" y="1059656"/>
                </a:lnTo>
                <a:lnTo>
                  <a:pt x="1395413" y="1102519"/>
                </a:lnTo>
                <a:lnTo>
                  <a:pt x="1364456" y="1114425"/>
                </a:lnTo>
                <a:lnTo>
                  <a:pt x="1314450" y="1114425"/>
                </a:lnTo>
                <a:lnTo>
                  <a:pt x="1254919" y="1107281"/>
                </a:lnTo>
                <a:lnTo>
                  <a:pt x="1216819" y="1112044"/>
                </a:lnTo>
                <a:lnTo>
                  <a:pt x="1181100" y="1138238"/>
                </a:lnTo>
                <a:lnTo>
                  <a:pt x="1116806" y="1123950"/>
                </a:lnTo>
                <a:lnTo>
                  <a:pt x="1071563" y="1081088"/>
                </a:lnTo>
                <a:lnTo>
                  <a:pt x="1012031" y="1140619"/>
                </a:lnTo>
                <a:lnTo>
                  <a:pt x="847725" y="1066800"/>
                </a:lnTo>
                <a:lnTo>
                  <a:pt x="823913" y="1054894"/>
                </a:lnTo>
                <a:lnTo>
                  <a:pt x="823913" y="1038225"/>
                </a:lnTo>
                <a:lnTo>
                  <a:pt x="776288" y="1040606"/>
                </a:lnTo>
                <a:lnTo>
                  <a:pt x="747713" y="1023938"/>
                </a:lnTo>
                <a:lnTo>
                  <a:pt x="752475" y="997744"/>
                </a:lnTo>
                <a:lnTo>
                  <a:pt x="740569" y="971550"/>
                </a:lnTo>
                <a:lnTo>
                  <a:pt x="678656" y="1000125"/>
                </a:lnTo>
                <a:lnTo>
                  <a:pt x="678656" y="976313"/>
                </a:lnTo>
                <a:lnTo>
                  <a:pt x="650081" y="997744"/>
                </a:lnTo>
                <a:lnTo>
                  <a:pt x="621506" y="1000125"/>
                </a:lnTo>
                <a:lnTo>
                  <a:pt x="602456" y="997744"/>
                </a:lnTo>
                <a:lnTo>
                  <a:pt x="600075" y="978694"/>
                </a:lnTo>
                <a:lnTo>
                  <a:pt x="578644" y="1009650"/>
                </a:lnTo>
                <a:lnTo>
                  <a:pt x="533400" y="1012031"/>
                </a:lnTo>
                <a:lnTo>
                  <a:pt x="490538" y="1004888"/>
                </a:lnTo>
                <a:lnTo>
                  <a:pt x="485775" y="971550"/>
                </a:lnTo>
                <a:lnTo>
                  <a:pt x="461963" y="971550"/>
                </a:lnTo>
                <a:lnTo>
                  <a:pt x="381000" y="1047750"/>
                </a:lnTo>
                <a:lnTo>
                  <a:pt x="381000" y="1112044"/>
                </a:lnTo>
                <a:lnTo>
                  <a:pt x="407194" y="1126331"/>
                </a:lnTo>
                <a:lnTo>
                  <a:pt x="383381" y="1152525"/>
                </a:lnTo>
                <a:lnTo>
                  <a:pt x="359569" y="1188244"/>
                </a:lnTo>
                <a:lnTo>
                  <a:pt x="392906" y="1216819"/>
                </a:lnTo>
                <a:lnTo>
                  <a:pt x="366713" y="1247775"/>
                </a:lnTo>
                <a:lnTo>
                  <a:pt x="314325" y="1214438"/>
                </a:lnTo>
                <a:lnTo>
                  <a:pt x="309563" y="1152525"/>
                </a:lnTo>
                <a:lnTo>
                  <a:pt x="280988" y="1166813"/>
                </a:lnTo>
                <a:lnTo>
                  <a:pt x="250031" y="1054894"/>
                </a:lnTo>
                <a:lnTo>
                  <a:pt x="190500" y="978694"/>
                </a:lnTo>
                <a:lnTo>
                  <a:pt x="92869" y="1009650"/>
                </a:lnTo>
                <a:lnTo>
                  <a:pt x="71438" y="962025"/>
                </a:lnTo>
                <a:lnTo>
                  <a:pt x="28575" y="914400"/>
                </a:lnTo>
                <a:lnTo>
                  <a:pt x="23813" y="845344"/>
                </a:lnTo>
                <a:lnTo>
                  <a:pt x="0" y="776288"/>
                </a:lnTo>
                <a:lnTo>
                  <a:pt x="71438" y="783431"/>
                </a:lnTo>
                <a:lnTo>
                  <a:pt x="121444" y="776288"/>
                </a:lnTo>
                <a:lnTo>
                  <a:pt x="159544" y="776288"/>
                </a:lnTo>
                <a:lnTo>
                  <a:pt x="173831" y="745331"/>
                </a:lnTo>
                <a:lnTo>
                  <a:pt x="154781" y="704850"/>
                </a:lnTo>
                <a:lnTo>
                  <a:pt x="133350" y="704850"/>
                </a:lnTo>
                <a:lnTo>
                  <a:pt x="123825" y="642938"/>
                </a:lnTo>
                <a:lnTo>
                  <a:pt x="95250" y="621506"/>
                </a:lnTo>
                <a:lnTo>
                  <a:pt x="133350" y="573881"/>
                </a:lnTo>
                <a:lnTo>
                  <a:pt x="83344" y="573881"/>
                </a:lnTo>
                <a:lnTo>
                  <a:pt x="59531" y="550069"/>
                </a:lnTo>
                <a:lnTo>
                  <a:pt x="83344" y="478631"/>
                </a:lnTo>
                <a:lnTo>
                  <a:pt x="54769" y="440531"/>
                </a:lnTo>
                <a:lnTo>
                  <a:pt x="97631" y="395288"/>
                </a:lnTo>
                <a:lnTo>
                  <a:pt x="147638" y="373856"/>
                </a:lnTo>
                <a:lnTo>
                  <a:pt x="147638" y="302419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>
              <a:defRPr/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1" name="Figura a mano libera 230"/>
          <p:cNvSpPr/>
          <p:nvPr/>
        </p:nvSpPr>
        <p:spPr bwMode="auto">
          <a:xfrm>
            <a:off x="1872764" y="1263320"/>
            <a:ext cx="660388" cy="594351"/>
          </a:xfrm>
          <a:custGeom>
            <a:avLst/>
            <a:gdLst>
              <a:gd name="connsiteX0" fmla="*/ 28575 w 990600"/>
              <a:gd name="connsiteY0" fmla="*/ 326231 h 895350"/>
              <a:gd name="connsiteX1" fmla="*/ 23812 w 990600"/>
              <a:gd name="connsiteY1" fmla="*/ 264319 h 895350"/>
              <a:gd name="connsiteX2" fmla="*/ 0 w 990600"/>
              <a:gd name="connsiteY2" fmla="*/ 264319 h 895350"/>
              <a:gd name="connsiteX3" fmla="*/ 0 w 990600"/>
              <a:gd name="connsiteY3" fmla="*/ 230981 h 895350"/>
              <a:gd name="connsiteX4" fmla="*/ 30956 w 990600"/>
              <a:gd name="connsiteY4" fmla="*/ 180975 h 895350"/>
              <a:gd name="connsiteX5" fmla="*/ 26194 w 990600"/>
              <a:gd name="connsiteY5" fmla="*/ 145256 h 895350"/>
              <a:gd name="connsiteX6" fmla="*/ 85725 w 990600"/>
              <a:gd name="connsiteY6" fmla="*/ 123825 h 895350"/>
              <a:gd name="connsiteX7" fmla="*/ 133350 w 990600"/>
              <a:gd name="connsiteY7" fmla="*/ 119063 h 895350"/>
              <a:gd name="connsiteX8" fmla="*/ 176212 w 990600"/>
              <a:gd name="connsiteY8" fmla="*/ 157163 h 895350"/>
              <a:gd name="connsiteX9" fmla="*/ 207169 w 990600"/>
              <a:gd name="connsiteY9" fmla="*/ 192881 h 895350"/>
              <a:gd name="connsiteX10" fmla="*/ 238125 w 990600"/>
              <a:gd name="connsiteY10" fmla="*/ 192881 h 895350"/>
              <a:gd name="connsiteX11" fmla="*/ 264319 w 990600"/>
              <a:gd name="connsiteY11" fmla="*/ 173831 h 895350"/>
              <a:gd name="connsiteX12" fmla="*/ 285750 w 990600"/>
              <a:gd name="connsiteY12" fmla="*/ 197644 h 895350"/>
              <a:gd name="connsiteX13" fmla="*/ 316706 w 990600"/>
              <a:gd name="connsiteY13" fmla="*/ 154781 h 895350"/>
              <a:gd name="connsiteX14" fmla="*/ 345281 w 990600"/>
              <a:gd name="connsiteY14" fmla="*/ 109538 h 895350"/>
              <a:gd name="connsiteX15" fmla="*/ 354806 w 990600"/>
              <a:gd name="connsiteY15" fmla="*/ 88106 h 895350"/>
              <a:gd name="connsiteX16" fmla="*/ 416719 w 990600"/>
              <a:gd name="connsiteY16" fmla="*/ 54769 h 895350"/>
              <a:gd name="connsiteX17" fmla="*/ 461962 w 990600"/>
              <a:gd name="connsiteY17" fmla="*/ 54769 h 895350"/>
              <a:gd name="connsiteX18" fmla="*/ 564356 w 990600"/>
              <a:gd name="connsiteY18" fmla="*/ 61913 h 895350"/>
              <a:gd name="connsiteX19" fmla="*/ 590550 w 990600"/>
              <a:gd name="connsiteY19" fmla="*/ 33338 h 895350"/>
              <a:gd name="connsiteX20" fmla="*/ 642937 w 990600"/>
              <a:gd name="connsiteY20" fmla="*/ 69056 h 895350"/>
              <a:gd name="connsiteX21" fmla="*/ 683419 w 990600"/>
              <a:gd name="connsiteY21" fmla="*/ 61913 h 895350"/>
              <a:gd name="connsiteX22" fmla="*/ 719137 w 990600"/>
              <a:gd name="connsiteY22" fmla="*/ 40481 h 895350"/>
              <a:gd name="connsiteX23" fmla="*/ 754856 w 990600"/>
              <a:gd name="connsiteY23" fmla="*/ 21431 h 895350"/>
              <a:gd name="connsiteX24" fmla="*/ 854869 w 990600"/>
              <a:gd name="connsiteY24" fmla="*/ 11906 h 895350"/>
              <a:gd name="connsiteX25" fmla="*/ 892969 w 990600"/>
              <a:gd name="connsiteY25" fmla="*/ 0 h 895350"/>
              <a:gd name="connsiteX26" fmla="*/ 873919 w 990600"/>
              <a:gd name="connsiteY26" fmla="*/ 28575 h 895350"/>
              <a:gd name="connsiteX27" fmla="*/ 835819 w 990600"/>
              <a:gd name="connsiteY27" fmla="*/ 47625 h 895350"/>
              <a:gd name="connsiteX28" fmla="*/ 850106 w 990600"/>
              <a:gd name="connsiteY28" fmla="*/ 97631 h 895350"/>
              <a:gd name="connsiteX29" fmla="*/ 852487 w 990600"/>
              <a:gd name="connsiteY29" fmla="*/ 121444 h 895350"/>
              <a:gd name="connsiteX30" fmla="*/ 897731 w 990600"/>
              <a:gd name="connsiteY30" fmla="*/ 145256 h 895350"/>
              <a:gd name="connsiteX31" fmla="*/ 916781 w 990600"/>
              <a:gd name="connsiteY31" fmla="*/ 166688 h 895350"/>
              <a:gd name="connsiteX32" fmla="*/ 916781 w 990600"/>
              <a:gd name="connsiteY32" fmla="*/ 202406 h 895350"/>
              <a:gd name="connsiteX33" fmla="*/ 966787 w 990600"/>
              <a:gd name="connsiteY33" fmla="*/ 230981 h 895350"/>
              <a:gd name="connsiteX34" fmla="*/ 990600 w 990600"/>
              <a:gd name="connsiteY34" fmla="*/ 273844 h 895350"/>
              <a:gd name="connsiteX35" fmla="*/ 966787 w 990600"/>
              <a:gd name="connsiteY35" fmla="*/ 295275 h 895350"/>
              <a:gd name="connsiteX36" fmla="*/ 890587 w 990600"/>
              <a:gd name="connsiteY36" fmla="*/ 311944 h 895350"/>
              <a:gd name="connsiteX37" fmla="*/ 819150 w 990600"/>
              <a:gd name="connsiteY37" fmla="*/ 316706 h 895350"/>
              <a:gd name="connsiteX38" fmla="*/ 816769 w 990600"/>
              <a:gd name="connsiteY38" fmla="*/ 283369 h 895350"/>
              <a:gd name="connsiteX39" fmla="*/ 773906 w 990600"/>
              <a:gd name="connsiteY39" fmla="*/ 326231 h 895350"/>
              <a:gd name="connsiteX40" fmla="*/ 773906 w 990600"/>
              <a:gd name="connsiteY40" fmla="*/ 342900 h 895350"/>
              <a:gd name="connsiteX41" fmla="*/ 714375 w 990600"/>
              <a:gd name="connsiteY41" fmla="*/ 366713 h 895350"/>
              <a:gd name="connsiteX42" fmla="*/ 664369 w 990600"/>
              <a:gd name="connsiteY42" fmla="*/ 390525 h 895350"/>
              <a:gd name="connsiteX43" fmla="*/ 692944 w 990600"/>
              <a:gd name="connsiteY43" fmla="*/ 407194 h 895350"/>
              <a:gd name="connsiteX44" fmla="*/ 695325 w 990600"/>
              <a:gd name="connsiteY44" fmla="*/ 442913 h 895350"/>
              <a:gd name="connsiteX45" fmla="*/ 652462 w 990600"/>
              <a:gd name="connsiteY45" fmla="*/ 490538 h 895350"/>
              <a:gd name="connsiteX46" fmla="*/ 676275 w 990600"/>
              <a:gd name="connsiteY46" fmla="*/ 528638 h 895350"/>
              <a:gd name="connsiteX47" fmla="*/ 721519 w 990600"/>
              <a:gd name="connsiteY47" fmla="*/ 550069 h 895350"/>
              <a:gd name="connsiteX48" fmla="*/ 726281 w 990600"/>
              <a:gd name="connsiteY48" fmla="*/ 595313 h 895350"/>
              <a:gd name="connsiteX49" fmla="*/ 697706 w 990600"/>
              <a:gd name="connsiteY49" fmla="*/ 626269 h 895350"/>
              <a:gd name="connsiteX50" fmla="*/ 642937 w 990600"/>
              <a:gd name="connsiteY50" fmla="*/ 635794 h 895350"/>
              <a:gd name="connsiteX51" fmla="*/ 616744 w 990600"/>
              <a:gd name="connsiteY51" fmla="*/ 642938 h 895350"/>
              <a:gd name="connsiteX52" fmla="*/ 623887 w 990600"/>
              <a:gd name="connsiteY52" fmla="*/ 673894 h 895350"/>
              <a:gd name="connsiteX53" fmla="*/ 597694 w 990600"/>
              <a:gd name="connsiteY53" fmla="*/ 714375 h 895350"/>
              <a:gd name="connsiteX54" fmla="*/ 573881 w 990600"/>
              <a:gd name="connsiteY54" fmla="*/ 728663 h 895350"/>
              <a:gd name="connsiteX55" fmla="*/ 557212 w 990600"/>
              <a:gd name="connsiteY55" fmla="*/ 740569 h 895350"/>
              <a:gd name="connsiteX56" fmla="*/ 550069 w 990600"/>
              <a:gd name="connsiteY56" fmla="*/ 697706 h 895350"/>
              <a:gd name="connsiteX57" fmla="*/ 507206 w 990600"/>
              <a:gd name="connsiteY57" fmla="*/ 688181 h 895350"/>
              <a:gd name="connsiteX58" fmla="*/ 504825 w 990600"/>
              <a:gd name="connsiteY58" fmla="*/ 709613 h 895350"/>
              <a:gd name="connsiteX59" fmla="*/ 464344 w 990600"/>
              <a:gd name="connsiteY59" fmla="*/ 711994 h 895350"/>
              <a:gd name="connsiteX60" fmla="*/ 452437 w 990600"/>
              <a:gd name="connsiteY60" fmla="*/ 695325 h 895350"/>
              <a:gd name="connsiteX61" fmla="*/ 447675 w 990600"/>
              <a:gd name="connsiteY61" fmla="*/ 740569 h 895350"/>
              <a:gd name="connsiteX62" fmla="*/ 426244 w 990600"/>
              <a:gd name="connsiteY62" fmla="*/ 764381 h 895350"/>
              <a:gd name="connsiteX63" fmla="*/ 404812 w 990600"/>
              <a:gd name="connsiteY63" fmla="*/ 745331 h 895350"/>
              <a:gd name="connsiteX64" fmla="*/ 371475 w 990600"/>
              <a:gd name="connsiteY64" fmla="*/ 785813 h 895350"/>
              <a:gd name="connsiteX65" fmla="*/ 371475 w 990600"/>
              <a:gd name="connsiteY65" fmla="*/ 850106 h 895350"/>
              <a:gd name="connsiteX66" fmla="*/ 347662 w 990600"/>
              <a:gd name="connsiteY66" fmla="*/ 871538 h 895350"/>
              <a:gd name="connsiteX67" fmla="*/ 323850 w 990600"/>
              <a:gd name="connsiteY67" fmla="*/ 895350 h 895350"/>
              <a:gd name="connsiteX68" fmla="*/ 278606 w 990600"/>
              <a:gd name="connsiteY68" fmla="*/ 883444 h 895350"/>
              <a:gd name="connsiteX69" fmla="*/ 235744 w 990600"/>
              <a:gd name="connsiteY69" fmla="*/ 892969 h 895350"/>
              <a:gd name="connsiteX70" fmla="*/ 183356 w 990600"/>
              <a:gd name="connsiteY70" fmla="*/ 871538 h 895350"/>
              <a:gd name="connsiteX71" fmla="*/ 183356 w 990600"/>
              <a:gd name="connsiteY71" fmla="*/ 842963 h 895350"/>
              <a:gd name="connsiteX72" fmla="*/ 202406 w 990600"/>
              <a:gd name="connsiteY72" fmla="*/ 826294 h 895350"/>
              <a:gd name="connsiteX73" fmla="*/ 221456 w 990600"/>
              <a:gd name="connsiteY73" fmla="*/ 804863 h 895350"/>
              <a:gd name="connsiteX74" fmla="*/ 114300 w 990600"/>
              <a:gd name="connsiteY74" fmla="*/ 792956 h 895350"/>
              <a:gd name="connsiteX75" fmla="*/ 64294 w 990600"/>
              <a:gd name="connsiteY75" fmla="*/ 812006 h 895350"/>
              <a:gd name="connsiteX76" fmla="*/ 33337 w 990600"/>
              <a:gd name="connsiteY76" fmla="*/ 764381 h 895350"/>
              <a:gd name="connsiteX77" fmla="*/ 26194 w 990600"/>
              <a:gd name="connsiteY77" fmla="*/ 726281 h 895350"/>
              <a:gd name="connsiteX78" fmla="*/ 7144 w 990600"/>
              <a:gd name="connsiteY78" fmla="*/ 692944 h 895350"/>
              <a:gd name="connsiteX79" fmla="*/ 16669 w 990600"/>
              <a:gd name="connsiteY79" fmla="*/ 635794 h 895350"/>
              <a:gd name="connsiteX80" fmla="*/ 66675 w 990600"/>
              <a:gd name="connsiteY80" fmla="*/ 569119 h 895350"/>
              <a:gd name="connsiteX81" fmla="*/ 71437 w 990600"/>
              <a:gd name="connsiteY81" fmla="*/ 504825 h 895350"/>
              <a:gd name="connsiteX82" fmla="*/ 64294 w 990600"/>
              <a:gd name="connsiteY82" fmla="*/ 473869 h 895350"/>
              <a:gd name="connsiteX83" fmla="*/ 50006 w 990600"/>
              <a:gd name="connsiteY83" fmla="*/ 459581 h 895350"/>
              <a:gd name="connsiteX84" fmla="*/ 85725 w 990600"/>
              <a:gd name="connsiteY84" fmla="*/ 428625 h 895350"/>
              <a:gd name="connsiteX85" fmla="*/ 100012 w 990600"/>
              <a:gd name="connsiteY85" fmla="*/ 378619 h 895350"/>
              <a:gd name="connsiteX86" fmla="*/ 85725 w 990600"/>
              <a:gd name="connsiteY86" fmla="*/ 369094 h 895350"/>
              <a:gd name="connsiteX87" fmla="*/ 64294 w 990600"/>
              <a:gd name="connsiteY87" fmla="*/ 364331 h 895350"/>
              <a:gd name="connsiteX88" fmla="*/ 28575 w 990600"/>
              <a:gd name="connsiteY88" fmla="*/ 326231 h 895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</a:cxnLst>
            <a:rect l="l" t="t" r="r" b="b"/>
            <a:pathLst>
              <a:path w="990600" h="895350">
                <a:moveTo>
                  <a:pt x="28575" y="326231"/>
                </a:moveTo>
                <a:lnTo>
                  <a:pt x="23812" y="264319"/>
                </a:lnTo>
                <a:lnTo>
                  <a:pt x="0" y="264319"/>
                </a:lnTo>
                <a:lnTo>
                  <a:pt x="0" y="230981"/>
                </a:lnTo>
                <a:lnTo>
                  <a:pt x="30956" y="180975"/>
                </a:lnTo>
                <a:lnTo>
                  <a:pt x="26194" y="145256"/>
                </a:lnTo>
                <a:lnTo>
                  <a:pt x="85725" y="123825"/>
                </a:lnTo>
                <a:lnTo>
                  <a:pt x="133350" y="119063"/>
                </a:lnTo>
                <a:lnTo>
                  <a:pt x="176212" y="157163"/>
                </a:lnTo>
                <a:lnTo>
                  <a:pt x="207169" y="192881"/>
                </a:lnTo>
                <a:lnTo>
                  <a:pt x="238125" y="192881"/>
                </a:lnTo>
                <a:lnTo>
                  <a:pt x="264319" y="173831"/>
                </a:lnTo>
                <a:lnTo>
                  <a:pt x="285750" y="197644"/>
                </a:lnTo>
                <a:lnTo>
                  <a:pt x="316706" y="154781"/>
                </a:lnTo>
                <a:lnTo>
                  <a:pt x="345281" y="109538"/>
                </a:lnTo>
                <a:lnTo>
                  <a:pt x="354806" y="88106"/>
                </a:lnTo>
                <a:lnTo>
                  <a:pt x="416719" y="54769"/>
                </a:lnTo>
                <a:lnTo>
                  <a:pt x="461962" y="54769"/>
                </a:lnTo>
                <a:lnTo>
                  <a:pt x="564356" y="61913"/>
                </a:lnTo>
                <a:lnTo>
                  <a:pt x="590550" y="33338"/>
                </a:lnTo>
                <a:lnTo>
                  <a:pt x="642937" y="69056"/>
                </a:lnTo>
                <a:lnTo>
                  <a:pt x="683419" y="61913"/>
                </a:lnTo>
                <a:lnTo>
                  <a:pt x="719137" y="40481"/>
                </a:lnTo>
                <a:lnTo>
                  <a:pt x="754856" y="21431"/>
                </a:lnTo>
                <a:lnTo>
                  <a:pt x="854869" y="11906"/>
                </a:lnTo>
                <a:lnTo>
                  <a:pt x="892969" y="0"/>
                </a:lnTo>
                <a:lnTo>
                  <a:pt x="873919" y="28575"/>
                </a:lnTo>
                <a:lnTo>
                  <a:pt x="835819" y="47625"/>
                </a:lnTo>
                <a:lnTo>
                  <a:pt x="850106" y="97631"/>
                </a:lnTo>
                <a:lnTo>
                  <a:pt x="852487" y="121444"/>
                </a:lnTo>
                <a:lnTo>
                  <a:pt x="897731" y="145256"/>
                </a:lnTo>
                <a:lnTo>
                  <a:pt x="916781" y="166688"/>
                </a:lnTo>
                <a:lnTo>
                  <a:pt x="916781" y="202406"/>
                </a:lnTo>
                <a:lnTo>
                  <a:pt x="966787" y="230981"/>
                </a:lnTo>
                <a:lnTo>
                  <a:pt x="990600" y="273844"/>
                </a:lnTo>
                <a:lnTo>
                  <a:pt x="966787" y="295275"/>
                </a:lnTo>
                <a:lnTo>
                  <a:pt x="890587" y="311944"/>
                </a:lnTo>
                <a:lnTo>
                  <a:pt x="819150" y="316706"/>
                </a:lnTo>
                <a:lnTo>
                  <a:pt x="816769" y="283369"/>
                </a:lnTo>
                <a:lnTo>
                  <a:pt x="773906" y="326231"/>
                </a:lnTo>
                <a:lnTo>
                  <a:pt x="773906" y="342900"/>
                </a:lnTo>
                <a:lnTo>
                  <a:pt x="714375" y="366713"/>
                </a:lnTo>
                <a:lnTo>
                  <a:pt x="664369" y="390525"/>
                </a:lnTo>
                <a:lnTo>
                  <a:pt x="692944" y="407194"/>
                </a:lnTo>
                <a:lnTo>
                  <a:pt x="695325" y="442913"/>
                </a:lnTo>
                <a:lnTo>
                  <a:pt x="652462" y="490538"/>
                </a:lnTo>
                <a:lnTo>
                  <a:pt x="676275" y="528638"/>
                </a:lnTo>
                <a:lnTo>
                  <a:pt x="721519" y="550069"/>
                </a:lnTo>
                <a:lnTo>
                  <a:pt x="726281" y="595313"/>
                </a:lnTo>
                <a:lnTo>
                  <a:pt x="697706" y="626269"/>
                </a:lnTo>
                <a:lnTo>
                  <a:pt x="642937" y="635794"/>
                </a:lnTo>
                <a:lnTo>
                  <a:pt x="616744" y="642938"/>
                </a:lnTo>
                <a:lnTo>
                  <a:pt x="623887" y="673894"/>
                </a:lnTo>
                <a:lnTo>
                  <a:pt x="597694" y="714375"/>
                </a:lnTo>
                <a:cubicBezTo>
                  <a:pt x="576636" y="724904"/>
                  <a:pt x="583664" y="718880"/>
                  <a:pt x="573881" y="728663"/>
                </a:cubicBezTo>
                <a:lnTo>
                  <a:pt x="557212" y="740569"/>
                </a:lnTo>
                <a:lnTo>
                  <a:pt x="550069" y="697706"/>
                </a:lnTo>
                <a:lnTo>
                  <a:pt x="507206" y="688181"/>
                </a:lnTo>
                <a:lnTo>
                  <a:pt x="504825" y="709613"/>
                </a:lnTo>
                <a:lnTo>
                  <a:pt x="464344" y="711994"/>
                </a:lnTo>
                <a:lnTo>
                  <a:pt x="452437" y="695325"/>
                </a:lnTo>
                <a:lnTo>
                  <a:pt x="447675" y="740569"/>
                </a:lnTo>
                <a:lnTo>
                  <a:pt x="426244" y="764381"/>
                </a:lnTo>
                <a:lnTo>
                  <a:pt x="404812" y="745331"/>
                </a:lnTo>
                <a:lnTo>
                  <a:pt x="371475" y="785813"/>
                </a:lnTo>
                <a:lnTo>
                  <a:pt x="371475" y="850106"/>
                </a:lnTo>
                <a:cubicBezTo>
                  <a:pt x="351170" y="870411"/>
                  <a:pt x="360457" y="865139"/>
                  <a:pt x="347662" y="871538"/>
                </a:cubicBezTo>
                <a:lnTo>
                  <a:pt x="323850" y="895350"/>
                </a:lnTo>
                <a:lnTo>
                  <a:pt x="278606" y="883444"/>
                </a:lnTo>
                <a:lnTo>
                  <a:pt x="235744" y="892969"/>
                </a:lnTo>
                <a:lnTo>
                  <a:pt x="183356" y="871538"/>
                </a:lnTo>
                <a:lnTo>
                  <a:pt x="183356" y="842963"/>
                </a:lnTo>
                <a:lnTo>
                  <a:pt x="202406" y="826294"/>
                </a:lnTo>
                <a:lnTo>
                  <a:pt x="221456" y="804863"/>
                </a:lnTo>
                <a:lnTo>
                  <a:pt x="114300" y="792956"/>
                </a:lnTo>
                <a:lnTo>
                  <a:pt x="64294" y="812006"/>
                </a:lnTo>
                <a:lnTo>
                  <a:pt x="33337" y="764381"/>
                </a:lnTo>
                <a:lnTo>
                  <a:pt x="26194" y="726281"/>
                </a:lnTo>
                <a:lnTo>
                  <a:pt x="7144" y="692944"/>
                </a:lnTo>
                <a:lnTo>
                  <a:pt x="16669" y="635794"/>
                </a:lnTo>
                <a:lnTo>
                  <a:pt x="66675" y="569119"/>
                </a:lnTo>
                <a:lnTo>
                  <a:pt x="71437" y="504825"/>
                </a:lnTo>
                <a:lnTo>
                  <a:pt x="64294" y="473869"/>
                </a:lnTo>
                <a:lnTo>
                  <a:pt x="50006" y="459581"/>
                </a:lnTo>
                <a:lnTo>
                  <a:pt x="85725" y="428625"/>
                </a:lnTo>
                <a:lnTo>
                  <a:pt x="100012" y="378619"/>
                </a:lnTo>
                <a:lnTo>
                  <a:pt x="85725" y="369094"/>
                </a:lnTo>
                <a:lnTo>
                  <a:pt x="64294" y="364331"/>
                </a:lnTo>
                <a:lnTo>
                  <a:pt x="28575" y="326231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>
              <a:defRPr/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2" name="Figura a mano libera 231"/>
          <p:cNvSpPr/>
          <p:nvPr/>
        </p:nvSpPr>
        <p:spPr bwMode="auto">
          <a:xfrm>
            <a:off x="2480174" y="1458536"/>
            <a:ext cx="510075" cy="473741"/>
          </a:xfrm>
          <a:custGeom>
            <a:avLst/>
            <a:gdLst>
              <a:gd name="connsiteX0" fmla="*/ 216693 w 764381"/>
              <a:gd name="connsiteY0" fmla="*/ 0 h 714375"/>
              <a:gd name="connsiteX1" fmla="*/ 180975 w 764381"/>
              <a:gd name="connsiteY1" fmla="*/ 80963 h 714375"/>
              <a:gd name="connsiteX2" fmla="*/ 164306 w 764381"/>
              <a:gd name="connsiteY2" fmla="*/ 114300 h 714375"/>
              <a:gd name="connsiteX3" fmla="*/ 123825 w 764381"/>
              <a:gd name="connsiteY3" fmla="*/ 109538 h 714375"/>
              <a:gd name="connsiteX4" fmla="*/ 102393 w 764381"/>
              <a:gd name="connsiteY4" fmla="*/ 147638 h 714375"/>
              <a:gd name="connsiteX5" fmla="*/ 73818 w 764381"/>
              <a:gd name="connsiteY5" fmla="*/ 202406 h 714375"/>
              <a:gd name="connsiteX6" fmla="*/ 38100 w 764381"/>
              <a:gd name="connsiteY6" fmla="*/ 211931 h 714375"/>
              <a:gd name="connsiteX7" fmla="*/ 7143 w 764381"/>
              <a:gd name="connsiteY7" fmla="*/ 209550 h 714375"/>
              <a:gd name="connsiteX8" fmla="*/ 26193 w 764381"/>
              <a:gd name="connsiteY8" fmla="*/ 235744 h 714375"/>
              <a:gd name="connsiteX9" fmla="*/ 0 w 764381"/>
              <a:gd name="connsiteY9" fmla="*/ 254794 h 714375"/>
              <a:gd name="connsiteX10" fmla="*/ 21431 w 764381"/>
              <a:gd name="connsiteY10" fmla="*/ 266700 h 714375"/>
              <a:gd name="connsiteX11" fmla="*/ 59531 w 764381"/>
              <a:gd name="connsiteY11" fmla="*/ 280988 h 714375"/>
              <a:gd name="connsiteX12" fmla="*/ 78581 w 764381"/>
              <a:gd name="connsiteY12" fmla="*/ 311944 h 714375"/>
              <a:gd name="connsiteX13" fmla="*/ 88106 w 764381"/>
              <a:gd name="connsiteY13" fmla="*/ 354806 h 714375"/>
              <a:gd name="connsiteX14" fmla="*/ 35718 w 764381"/>
              <a:gd name="connsiteY14" fmla="*/ 395288 h 714375"/>
              <a:gd name="connsiteX15" fmla="*/ 85725 w 764381"/>
              <a:gd name="connsiteY15" fmla="*/ 464344 h 714375"/>
              <a:gd name="connsiteX16" fmla="*/ 92868 w 764381"/>
              <a:gd name="connsiteY16" fmla="*/ 519113 h 714375"/>
              <a:gd name="connsiteX17" fmla="*/ 130968 w 764381"/>
              <a:gd name="connsiteY17" fmla="*/ 535781 h 714375"/>
              <a:gd name="connsiteX18" fmla="*/ 138112 w 764381"/>
              <a:gd name="connsiteY18" fmla="*/ 557213 h 714375"/>
              <a:gd name="connsiteX19" fmla="*/ 183356 w 764381"/>
              <a:gd name="connsiteY19" fmla="*/ 535781 h 714375"/>
              <a:gd name="connsiteX20" fmla="*/ 214312 w 764381"/>
              <a:gd name="connsiteY20" fmla="*/ 511969 h 714375"/>
              <a:gd name="connsiteX21" fmla="*/ 261937 w 764381"/>
              <a:gd name="connsiteY21" fmla="*/ 533400 h 714375"/>
              <a:gd name="connsiteX22" fmla="*/ 297656 w 764381"/>
              <a:gd name="connsiteY22" fmla="*/ 521494 h 714375"/>
              <a:gd name="connsiteX23" fmla="*/ 311943 w 764381"/>
              <a:gd name="connsiteY23" fmla="*/ 547688 h 714375"/>
              <a:gd name="connsiteX24" fmla="*/ 333375 w 764381"/>
              <a:gd name="connsiteY24" fmla="*/ 585788 h 714375"/>
              <a:gd name="connsiteX25" fmla="*/ 335756 w 764381"/>
              <a:gd name="connsiteY25" fmla="*/ 616744 h 714375"/>
              <a:gd name="connsiteX26" fmla="*/ 345281 w 764381"/>
              <a:gd name="connsiteY26" fmla="*/ 654844 h 714375"/>
              <a:gd name="connsiteX27" fmla="*/ 345281 w 764381"/>
              <a:gd name="connsiteY27" fmla="*/ 611981 h 714375"/>
              <a:gd name="connsiteX28" fmla="*/ 385762 w 764381"/>
              <a:gd name="connsiteY28" fmla="*/ 595313 h 714375"/>
              <a:gd name="connsiteX29" fmla="*/ 395287 w 764381"/>
              <a:gd name="connsiteY29" fmla="*/ 569119 h 714375"/>
              <a:gd name="connsiteX30" fmla="*/ 435768 w 764381"/>
              <a:gd name="connsiteY30" fmla="*/ 588169 h 714375"/>
              <a:gd name="connsiteX31" fmla="*/ 502443 w 764381"/>
              <a:gd name="connsiteY31" fmla="*/ 607219 h 714375"/>
              <a:gd name="connsiteX32" fmla="*/ 509587 w 764381"/>
              <a:gd name="connsiteY32" fmla="*/ 642938 h 714375"/>
              <a:gd name="connsiteX33" fmla="*/ 542925 w 764381"/>
              <a:gd name="connsiteY33" fmla="*/ 623888 h 714375"/>
              <a:gd name="connsiteX34" fmla="*/ 585787 w 764381"/>
              <a:gd name="connsiteY34" fmla="*/ 607219 h 714375"/>
              <a:gd name="connsiteX35" fmla="*/ 592931 w 764381"/>
              <a:gd name="connsiteY35" fmla="*/ 557213 h 714375"/>
              <a:gd name="connsiteX36" fmla="*/ 628650 w 764381"/>
              <a:gd name="connsiteY36" fmla="*/ 600075 h 714375"/>
              <a:gd name="connsiteX37" fmla="*/ 635793 w 764381"/>
              <a:gd name="connsiteY37" fmla="*/ 619125 h 714375"/>
              <a:gd name="connsiteX38" fmla="*/ 659606 w 764381"/>
              <a:gd name="connsiteY38" fmla="*/ 642938 h 714375"/>
              <a:gd name="connsiteX39" fmla="*/ 664368 w 764381"/>
              <a:gd name="connsiteY39" fmla="*/ 666750 h 714375"/>
              <a:gd name="connsiteX40" fmla="*/ 669131 w 764381"/>
              <a:gd name="connsiteY40" fmla="*/ 676275 h 714375"/>
              <a:gd name="connsiteX41" fmla="*/ 678656 w 764381"/>
              <a:gd name="connsiteY41" fmla="*/ 692944 h 714375"/>
              <a:gd name="connsiteX42" fmla="*/ 731043 w 764381"/>
              <a:gd name="connsiteY42" fmla="*/ 714375 h 714375"/>
              <a:gd name="connsiteX43" fmla="*/ 764381 w 764381"/>
              <a:gd name="connsiteY43" fmla="*/ 678656 h 714375"/>
              <a:gd name="connsiteX44" fmla="*/ 709612 w 764381"/>
              <a:gd name="connsiteY44" fmla="*/ 614363 h 714375"/>
              <a:gd name="connsiteX45" fmla="*/ 688181 w 764381"/>
              <a:gd name="connsiteY45" fmla="*/ 583406 h 714375"/>
              <a:gd name="connsiteX46" fmla="*/ 635793 w 764381"/>
              <a:gd name="connsiteY46" fmla="*/ 561975 h 714375"/>
              <a:gd name="connsiteX47" fmla="*/ 602456 w 764381"/>
              <a:gd name="connsiteY47" fmla="*/ 561975 h 714375"/>
              <a:gd name="connsiteX48" fmla="*/ 595312 w 764381"/>
              <a:gd name="connsiteY48" fmla="*/ 509588 h 714375"/>
              <a:gd name="connsiteX49" fmla="*/ 631031 w 764381"/>
              <a:gd name="connsiteY49" fmla="*/ 485775 h 714375"/>
              <a:gd name="connsiteX50" fmla="*/ 628650 w 764381"/>
              <a:gd name="connsiteY50" fmla="*/ 438150 h 714375"/>
              <a:gd name="connsiteX51" fmla="*/ 628650 w 764381"/>
              <a:gd name="connsiteY51" fmla="*/ 433388 h 714375"/>
              <a:gd name="connsiteX52" fmla="*/ 581025 w 764381"/>
              <a:gd name="connsiteY52" fmla="*/ 450056 h 714375"/>
              <a:gd name="connsiteX53" fmla="*/ 559593 w 764381"/>
              <a:gd name="connsiteY53" fmla="*/ 431006 h 714375"/>
              <a:gd name="connsiteX54" fmla="*/ 573881 w 764381"/>
              <a:gd name="connsiteY54" fmla="*/ 402431 h 714375"/>
              <a:gd name="connsiteX55" fmla="*/ 564356 w 764381"/>
              <a:gd name="connsiteY55" fmla="*/ 378619 h 714375"/>
              <a:gd name="connsiteX56" fmla="*/ 654843 w 764381"/>
              <a:gd name="connsiteY56" fmla="*/ 323850 h 714375"/>
              <a:gd name="connsiteX57" fmla="*/ 642937 w 764381"/>
              <a:gd name="connsiteY57" fmla="*/ 307181 h 714375"/>
              <a:gd name="connsiteX58" fmla="*/ 592931 w 764381"/>
              <a:gd name="connsiteY58" fmla="*/ 307181 h 714375"/>
              <a:gd name="connsiteX59" fmla="*/ 578643 w 764381"/>
              <a:gd name="connsiteY59" fmla="*/ 280988 h 714375"/>
              <a:gd name="connsiteX60" fmla="*/ 540543 w 764381"/>
              <a:gd name="connsiteY60" fmla="*/ 292894 h 714375"/>
              <a:gd name="connsiteX61" fmla="*/ 528637 w 764381"/>
              <a:gd name="connsiteY61" fmla="*/ 278606 h 714375"/>
              <a:gd name="connsiteX62" fmla="*/ 509587 w 764381"/>
              <a:gd name="connsiteY62" fmla="*/ 247650 h 714375"/>
              <a:gd name="connsiteX63" fmla="*/ 545306 w 764381"/>
              <a:gd name="connsiteY63" fmla="*/ 209550 h 714375"/>
              <a:gd name="connsiteX64" fmla="*/ 547687 w 764381"/>
              <a:gd name="connsiteY64" fmla="*/ 185738 h 714375"/>
              <a:gd name="connsiteX65" fmla="*/ 621506 w 764381"/>
              <a:gd name="connsiteY65" fmla="*/ 157163 h 714375"/>
              <a:gd name="connsiteX66" fmla="*/ 638175 w 764381"/>
              <a:gd name="connsiteY66" fmla="*/ 142875 h 714375"/>
              <a:gd name="connsiteX67" fmla="*/ 657225 w 764381"/>
              <a:gd name="connsiteY67" fmla="*/ 135731 h 714375"/>
              <a:gd name="connsiteX68" fmla="*/ 669131 w 764381"/>
              <a:gd name="connsiteY68" fmla="*/ 90488 h 714375"/>
              <a:gd name="connsiteX69" fmla="*/ 569118 w 764381"/>
              <a:gd name="connsiteY69" fmla="*/ 76200 h 714375"/>
              <a:gd name="connsiteX70" fmla="*/ 502443 w 764381"/>
              <a:gd name="connsiteY70" fmla="*/ 54769 h 714375"/>
              <a:gd name="connsiteX71" fmla="*/ 478631 w 764381"/>
              <a:gd name="connsiteY71" fmla="*/ 69056 h 714375"/>
              <a:gd name="connsiteX72" fmla="*/ 450056 w 764381"/>
              <a:gd name="connsiteY72" fmla="*/ 78581 h 714375"/>
              <a:gd name="connsiteX73" fmla="*/ 400050 w 764381"/>
              <a:gd name="connsiteY73" fmla="*/ 35719 h 714375"/>
              <a:gd name="connsiteX74" fmla="*/ 354806 w 764381"/>
              <a:gd name="connsiteY74" fmla="*/ 40481 h 714375"/>
              <a:gd name="connsiteX75" fmla="*/ 290512 w 764381"/>
              <a:gd name="connsiteY75" fmla="*/ 28575 h 714375"/>
              <a:gd name="connsiteX76" fmla="*/ 269081 w 764381"/>
              <a:gd name="connsiteY76" fmla="*/ 38100 h 714375"/>
              <a:gd name="connsiteX77" fmla="*/ 216693 w 764381"/>
              <a:gd name="connsiteY77" fmla="*/ 0 h 714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764381" h="714375">
                <a:moveTo>
                  <a:pt x="216693" y="0"/>
                </a:moveTo>
                <a:lnTo>
                  <a:pt x="180975" y="80963"/>
                </a:lnTo>
                <a:lnTo>
                  <a:pt x="164306" y="114300"/>
                </a:lnTo>
                <a:lnTo>
                  <a:pt x="123825" y="109538"/>
                </a:lnTo>
                <a:lnTo>
                  <a:pt x="102393" y="147638"/>
                </a:lnTo>
                <a:lnTo>
                  <a:pt x="73818" y="202406"/>
                </a:lnTo>
                <a:lnTo>
                  <a:pt x="38100" y="211931"/>
                </a:lnTo>
                <a:lnTo>
                  <a:pt x="7143" y="209550"/>
                </a:lnTo>
                <a:lnTo>
                  <a:pt x="26193" y="235744"/>
                </a:lnTo>
                <a:lnTo>
                  <a:pt x="0" y="254794"/>
                </a:lnTo>
                <a:lnTo>
                  <a:pt x="21431" y="266700"/>
                </a:lnTo>
                <a:lnTo>
                  <a:pt x="59531" y="280988"/>
                </a:lnTo>
                <a:lnTo>
                  <a:pt x="78581" y="311944"/>
                </a:lnTo>
                <a:lnTo>
                  <a:pt x="88106" y="354806"/>
                </a:lnTo>
                <a:lnTo>
                  <a:pt x="35718" y="395288"/>
                </a:lnTo>
                <a:lnTo>
                  <a:pt x="85725" y="464344"/>
                </a:lnTo>
                <a:lnTo>
                  <a:pt x="92868" y="519113"/>
                </a:lnTo>
                <a:lnTo>
                  <a:pt x="130968" y="535781"/>
                </a:lnTo>
                <a:lnTo>
                  <a:pt x="138112" y="557213"/>
                </a:lnTo>
                <a:lnTo>
                  <a:pt x="183356" y="535781"/>
                </a:lnTo>
                <a:lnTo>
                  <a:pt x="214312" y="511969"/>
                </a:lnTo>
                <a:lnTo>
                  <a:pt x="261937" y="533400"/>
                </a:lnTo>
                <a:lnTo>
                  <a:pt x="297656" y="521494"/>
                </a:lnTo>
                <a:lnTo>
                  <a:pt x="311943" y="547688"/>
                </a:lnTo>
                <a:lnTo>
                  <a:pt x="333375" y="585788"/>
                </a:lnTo>
                <a:lnTo>
                  <a:pt x="335756" y="616744"/>
                </a:lnTo>
                <a:lnTo>
                  <a:pt x="345281" y="654844"/>
                </a:lnTo>
                <a:lnTo>
                  <a:pt x="345281" y="611981"/>
                </a:lnTo>
                <a:lnTo>
                  <a:pt x="385762" y="595313"/>
                </a:lnTo>
                <a:lnTo>
                  <a:pt x="395287" y="569119"/>
                </a:lnTo>
                <a:lnTo>
                  <a:pt x="435768" y="588169"/>
                </a:lnTo>
                <a:lnTo>
                  <a:pt x="502443" y="607219"/>
                </a:lnTo>
                <a:lnTo>
                  <a:pt x="509587" y="642938"/>
                </a:lnTo>
                <a:lnTo>
                  <a:pt x="542925" y="623888"/>
                </a:lnTo>
                <a:lnTo>
                  <a:pt x="585787" y="607219"/>
                </a:lnTo>
                <a:lnTo>
                  <a:pt x="592931" y="557213"/>
                </a:lnTo>
                <a:lnTo>
                  <a:pt x="628650" y="600075"/>
                </a:lnTo>
                <a:lnTo>
                  <a:pt x="635793" y="619125"/>
                </a:lnTo>
                <a:lnTo>
                  <a:pt x="659606" y="642938"/>
                </a:lnTo>
                <a:cubicBezTo>
                  <a:pt x="661193" y="650875"/>
                  <a:pt x="662144" y="658967"/>
                  <a:pt x="664368" y="666750"/>
                </a:cubicBezTo>
                <a:cubicBezTo>
                  <a:pt x="665343" y="670163"/>
                  <a:pt x="669131" y="676275"/>
                  <a:pt x="669131" y="676275"/>
                </a:cubicBezTo>
                <a:lnTo>
                  <a:pt x="678656" y="692944"/>
                </a:lnTo>
                <a:lnTo>
                  <a:pt x="731043" y="714375"/>
                </a:lnTo>
                <a:lnTo>
                  <a:pt x="764381" y="678656"/>
                </a:lnTo>
                <a:lnTo>
                  <a:pt x="709612" y="614363"/>
                </a:lnTo>
                <a:lnTo>
                  <a:pt x="688181" y="583406"/>
                </a:lnTo>
                <a:lnTo>
                  <a:pt x="635793" y="561975"/>
                </a:lnTo>
                <a:lnTo>
                  <a:pt x="602456" y="561975"/>
                </a:lnTo>
                <a:lnTo>
                  <a:pt x="595312" y="509588"/>
                </a:lnTo>
                <a:lnTo>
                  <a:pt x="631031" y="485775"/>
                </a:lnTo>
                <a:lnTo>
                  <a:pt x="628650" y="438150"/>
                </a:lnTo>
                <a:lnTo>
                  <a:pt x="628650" y="433388"/>
                </a:lnTo>
                <a:lnTo>
                  <a:pt x="581025" y="450056"/>
                </a:lnTo>
                <a:lnTo>
                  <a:pt x="559593" y="431006"/>
                </a:lnTo>
                <a:lnTo>
                  <a:pt x="573881" y="402431"/>
                </a:lnTo>
                <a:lnTo>
                  <a:pt x="564356" y="378619"/>
                </a:lnTo>
                <a:lnTo>
                  <a:pt x="654843" y="323850"/>
                </a:lnTo>
                <a:lnTo>
                  <a:pt x="642937" y="307181"/>
                </a:lnTo>
                <a:lnTo>
                  <a:pt x="592931" y="307181"/>
                </a:lnTo>
                <a:lnTo>
                  <a:pt x="578643" y="280988"/>
                </a:lnTo>
                <a:lnTo>
                  <a:pt x="540543" y="292894"/>
                </a:lnTo>
                <a:lnTo>
                  <a:pt x="528637" y="278606"/>
                </a:lnTo>
                <a:lnTo>
                  <a:pt x="509587" y="247650"/>
                </a:lnTo>
                <a:lnTo>
                  <a:pt x="545306" y="209550"/>
                </a:lnTo>
                <a:lnTo>
                  <a:pt x="547687" y="185738"/>
                </a:lnTo>
                <a:lnTo>
                  <a:pt x="621506" y="157163"/>
                </a:lnTo>
                <a:lnTo>
                  <a:pt x="638175" y="142875"/>
                </a:lnTo>
                <a:lnTo>
                  <a:pt x="657225" y="135731"/>
                </a:lnTo>
                <a:lnTo>
                  <a:pt x="669131" y="90488"/>
                </a:lnTo>
                <a:lnTo>
                  <a:pt x="569118" y="76200"/>
                </a:lnTo>
                <a:lnTo>
                  <a:pt x="502443" y="54769"/>
                </a:lnTo>
                <a:lnTo>
                  <a:pt x="478631" y="69056"/>
                </a:lnTo>
                <a:lnTo>
                  <a:pt x="450056" y="78581"/>
                </a:lnTo>
                <a:lnTo>
                  <a:pt x="400050" y="35719"/>
                </a:lnTo>
                <a:lnTo>
                  <a:pt x="354806" y="40481"/>
                </a:lnTo>
                <a:lnTo>
                  <a:pt x="290512" y="28575"/>
                </a:lnTo>
                <a:lnTo>
                  <a:pt x="269081" y="38100"/>
                </a:lnTo>
                <a:lnTo>
                  <a:pt x="216693" y="0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>
              <a:defRPr/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3" name="Figura a mano libera 232"/>
          <p:cNvSpPr/>
          <p:nvPr/>
        </p:nvSpPr>
        <p:spPr bwMode="auto">
          <a:xfrm>
            <a:off x="1923279" y="1444858"/>
            <a:ext cx="786058" cy="823138"/>
          </a:xfrm>
          <a:custGeom>
            <a:avLst/>
            <a:gdLst>
              <a:gd name="connsiteX0" fmla="*/ 812006 w 1176338"/>
              <a:gd name="connsiteY0" fmla="*/ 1188244 h 1240631"/>
              <a:gd name="connsiteX1" fmla="*/ 850106 w 1176338"/>
              <a:gd name="connsiteY1" fmla="*/ 1240631 h 1240631"/>
              <a:gd name="connsiteX2" fmla="*/ 900113 w 1176338"/>
              <a:gd name="connsiteY2" fmla="*/ 1188244 h 1240631"/>
              <a:gd name="connsiteX3" fmla="*/ 921544 w 1176338"/>
              <a:gd name="connsiteY3" fmla="*/ 1112044 h 1240631"/>
              <a:gd name="connsiteX4" fmla="*/ 885825 w 1176338"/>
              <a:gd name="connsiteY4" fmla="*/ 1100137 h 1240631"/>
              <a:gd name="connsiteX5" fmla="*/ 845344 w 1176338"/>
              <a:gd name="connsiteY5" fmla="*/ 1064419 h 1240631"/>
              <a:gd name="connsiteX6" fmla="*/ 833438 w 1176338"/>
              <a:gd name="connsiteY6" fmla="*/ 1028700 h 1240631"/>
              <a:gd name="connsiteX7" fmla="*/ 819150 w 1176338"/>
              <a:gd name="connsiteY7" fmla="*/ 995362 h 1240631"/>
              <a:gd name="connsiteX8" fmla="*/ 816769 w 1176338"/>
              <a:gd name="connsiteY8" fmla="*/ 947737 h 1240631"/>
              <a:gd name="connsiteX9" fmla="*/ 804863 w 1176338"/>
              <a:gd name="connsiteY9" fmla="*/ 933450 h 1240631"/>
              <a:gd name="connsiteX10" fmla="*/ 783431 w 1176338"/>
              <a:gd name="connsiteY10" fmla="*/ 971550 h 1240631"/>
              <a:gd name="connsiteX11" fmla="*/ 762000 w 1176338"/>
              <a:gd name="connsiteY11" fmla="*/ 933450 h 1240631"/>
              <a:gd name="connsiteX12" fmla="*/ 771525 w 1176338"/>
              <a:gd name="connsiteY12" fmla="*/ 888206 h 1240631"/>
              <a:gd name="connsiteX13" fmla="*/ 804863 w 1176338"/>
              <a:gd name="connsiteY13" fmla="*/ 852487 h 1240631"/>
              <a:gd name="connsiteX14" fmla="*/ 797719 w 1176338"/>
              <a:gd name="connsiteY14" fmla="*/ 835819 h 1240631"/>
              <a:gd name="connsiteX15" fmla="*/ 828675 w 1176338"/>
              <a:gd name="connsiteY15" fmla="*/ 776287 h 1240631"/>
              <a:gd name="connsiteX16" fmla="*/ 852488 w 1176338"/>
              <a:gd name="connsiteY16" fmla="*/ 771525 h 1240631"/>
              <a:gd name="connsiteX17" fmla="*/ 902494 w 1176338"/>
              <a:gd name="connsiteY17" fmla="*/ 776287 h 1240631"/>
              <a:gd name="connsiteX18" fmla="*/ 892969 w 1176338"/>
              <a:gd name="connsiteY18" fmla="*/ 802481 h 1240631"/>
              <a:gd name="connsiteX19" fmla="*/ 959644 w 1176338"/>
              <a:gd name="connsiteY19" fmla="*/ 785812 h 1240631"/>
              <a:gd name="connsiteX20" fmla="*/ 1076325 w 1176338"/>
              <a:gd name="connsiteY20" fmla="*/ 740569 h 1240631"/>
              <a:gd name="connsiteX21" fmla="*/ 1107281 w 1176338"/>
              <a:gd name="connsiteY21" fmla="*/ 695325 h 1240631"/>
              <a:gd name="connsiteX22" fmla="*/ 1176338 w 1176338"/>
              <a:gd name="connsiteY22" fmla="*/ 695325 h 1240631"/>
              <a:gd name="connsiteX23" fmla="*/ 1171575 w 1176338"/>
              <a:gd name="connsiteY23" fmla="*/ 671512 h 1240631"/>
              <a:gd name="connsiteX24" fmla="*/ 1173956 w 1176338"/>
              <a:gd name="connsiteY24" fmla="*/ 600075 h 1240631"/>
              <a:gd name="connsiteX25" fmla="*/ 1138238 w 1176338"/>
              <a:gd name="connsiteY25" fmla="*/ 547687 h 1240631"/>
              <a:gd name="connsiteX26" fmla="*/ 1100138 w 1176338"/>
              <a:gd name="connsiteY26" fmla="*/ 557212 h 1240631"/>
              <a:gd name="connsiteX27" fmla="*/ 1050131 w 1176338"/>
              <a:gd name="connsiteY27" fmla="*/ 533400 h 1240631"/>
              <a:gd name="connsiteX28" fmla="*/ 978694 w 1176338"/>
              <a:gd name="connsiteY28" fmla="*/ 576262 h 1240631"/>
              <a:gd name="connsiteX29" fmla="*/ 964406 w 1176338"/>
              <a:gd name="connsiteY29" fmla="*/ 557212 h 1240631"/>
              <a:gd name="connsiteX30" fmla="*/ 923925 w 1176338"/>
              <a:gd name="connsiteY30" fmla="*/ 542925 h 1240631"/>
              <a:gd name="connsiteX31" fmla="*/ 923925 w 1176338"/>
              <a:gd name="connsiteY31" fmla="*/ 492919 h 1240631"/>
              <a:gd name="connsiteX32" fmla="*/ 866775 w 1176338"/>
              <a:gd name="connsiteY32" fmla="*/ 419100 h 1240631"/>
              <a:gd name="connsiteX33" fmla="*/ 935831 w 1176338"/>
              <a:gd name="connsiteY33" fmla="*/ 373856 h 1240631"/>
              <a:gd name="connsiteX34" fmla="*/ 907256 w 1176338"/>
              <a:gd name="connsiteY34" fmla="*/ 314325 h 1240631"/>
              <a:gd name="connsiteX35" fmla="*/ 878681 w 1176338"/>
              <a:gd name="connsiteY35" fmla="*/ 297656 h 1240631"/>
              <a:gd name="connsiteX36" fmla="*/ 831056 w 1176338"/>
              <a:gd name="connsiteY36" fmla="*/ 283369 h 1240631"/>
              <a:gd name="connsiteX37" fmla="*/ 852488 w 1176338"/>
              <a:gd name="connsiteY37" fmla="*/ 264319 h 1240631"/>
              <a:gd name="connsiteX38" fmla="*/ 838200 w 1176338"/>
              <a:gd name="connsiteY38" fmla="*/ 228600 h 1240631"/>
              <a:gd name="connsiteX39" fmla="*/ 919163 w 1176338"/>
              <a:gd name="connsiteY39" fmla="*/ 230981 h 1240631"/>
              <a:gd name="connsiteX40" fmla="*/ 957263 w 1176338"/>
              <a:gd name="connsiteY40" fmla="*/ 128587 h 1240631"/>
              <a:gd name="connsiteX41" fmla="*/ 1007269 w 1176338"/>
              <a:gd name="connsiteY41" fmla="*/ 133350 h 1240631"/>
              <a:gd name="connsiteX42" fmla="*/ 1059656 w 1176338"/>
              <a:gd name="connsiteY42" fmla="*/ 26194 h 1240631"/>
              <a:gd name="connsiteX43" fmla="*/ 1023938 w 1176338"/>
              <a:gd name="connsiteY43" fmla="*/ 19050 h 1240631"/>
              <a:gd name="connsiteX44" fmla="*/ 1002506 w 1176338"/>
              <a:gd name="connsiteY44" fmla="*/ 0 h 1240631"/>
              <a:gd name="connsiteX45" fmla="*/ 983456 w 1176338"/>
              <a:gd name="connsiteY45" fmla="*/ 11906 h 1240631"/>
              <a:gd name="connsiteX46" fmla="*/ 952500 w 1176338"/>
              <a:gd name="connsiteY46" fmla="*/ 16669 h 1240631"/>
              <a:gd name="connsiteX47" fmla="*/ 928688 w 1176338"/>
              <a:gd name="connsiteY47" fmla="*/ 4762 h 1240631"/>
              <a:gd name="connsiteX48" fmla="*/ 902494 w 1176338"/>
              <a:gd name="connsiteY48" fmla="*/ 2381 h 1240631"/>
              <a:gd name="connsiteX49" fmla="*/ 885825 w 1176338"/>
              <a:gd name="connsiteY49" fmla="*/ 28575 h 1240631"/>
              <a:gd name="connsiteX50" fmla="*/ 740569 w 1176338"/>
              <a:gd name="connsiteY50" fmla="*/ 45244 h 1240631"/>
              <a:gd name="connsiteX51" fmla="*/ 740569 w 1176338"/>
              <a:gd name="connsiteY51" fmla="*/ 11906 h 1240631"/>
              <a:gd name="connsiteX52" fmla="*/ 704850 w 1176338"/>
              <a:gd name="connsiteY52" fmla="*/ 52387 h 1240631"/>
              <a:gd name="connsiteX53" fmla="*/ 704850 w 1176338"/>
              <a:gd name="connsiteY53" fmla="*/ 71437 h 1240631"/>
              <a:gd name="connsiteX54" fmla="*/ 583406 w 1176338"/>
              <a:gd name="connsiteY54" fmla="*/ 111919 h 1240631"/>
              <a:gd name="connsiteX55" fmla="*/ 614363 w 1176338"/>
              <a:gd name="connsiteY55" fmla="*/ 140494 h 1240631"/>
              <a:gd name="connsiteX56" fmla="*/ 616744 w 1176338"/>
              <a:gd name="connsiteY56" fmla="*/ 178594 h 1240631"/>
              <a:gd name="connsiteX57" fmla="*/ 573881 w 1176338"/>
              <a:gd name="connsiteY57" fmla="*/ 211931 h 1240631"/>
              <a:gd name="connsiteX58" fmla="*/ 600075 w 1176338"/>
              <a:gd name="connsiteY58" fmla="*/ 259556 h 1240631"/>
              <a:gd name="connsiteX59" fmla="*/ 647700 w 1176338"/>
              <a:gd name="connsiteY59" fmla="*/ 276225 h 1240631"/>
              <a:gd name="connsiteX60" fmla="*/ 645319 w 1176338"/>
              <a:gd name="connsiteY60" fmla="*/ 323850 h 1240631"/>
              <a:gd name="connsiteX61" fmla="*/ 619125 w 1176338"/>
              <a:gd name="connsiteY61" fmla="*/ 357187 h 1240631"/>
              <a:gd name="connsiteX62" fmla="*/ 542925 w 1176338"/>
              <a:gd name="connsiteY62" fmla="*/ 366712 h 1240631"/>
              <a:gd name="connsiteX63" fmla="*/ 545306 w 1176338"/>
              <a:gd name="connsiteY63" fmla="*/ 400050 h 1240631"/>
              <a:gd name="connsiteX64" fmla="*/ 528638 w 1176338"/>
              <a:gd name="connsiteY64" fmla="*/ 440531 h 1240631"/>
              <a:gd name="connsiteX65" fmla="*/ 476250 w 1176338"/>
              <a:gd name="connsiteY65" fmla="*/ 457200 h 1240631"/>
              <a:gd name="connsiteX66" fmla="*/ 471488 w 1176338"/>
              <a:gd name="connsiteY66" fmla="*/ 414337 h 1240631"/>
              <a:gd name="connsiteX67" fmla="*/ 440531 w 1176338"/>
              <a:gd name="connsiteY67" fmla="*/ 411956 h 1240631"/>
              <a:gd name="connsiteX68" fmla="*/ 426244 w 1176338"/>
              <a:gd name="connsiteY68" fmla="*/ 440531 h 1240631"/>
              <a:gd name="connsiteX69" fmla="*/ 383381 w 1176338"/>
              <a:gd name="connsiteY69" fmla="*/ 438150 h 1240631"/>
              <a:gd name="connsiteX70" fmla="*/ 381000 w 1176338"/>
              <a:gd name="connsiteY70" fmla="*/ 416719 h 1240631"/>
              <a:gd name="connsiteX71" fmla="*/ 373856 w 1176338"/>
              <a:gd name="connsiteY71" fmla="*/ 459581 h 1240631"/>
              <a:gd name="connsiteX72" fmla="*/ 369094 w 1176338"/>
              <a:gd name="connsiteY72" fmla="*/ 481012 h 1240631"/>
              <a:gd name="connsiteX73" fmla="*/ 342900 w 1176338"/>
              <a:gd name="connsiteY73" fmla="*/ 490537 h 1240631"/>
              <a:gd name="connsiteX74" fmla="*/ 340519 w 1176338"/>
              <a:gd name="connsiteY74" fmla="*/ 471487 h 1240631"/>
              <a:gd name="connsiteX75" fmla="*/ 288131 w 1176338"/>
              <a:gd name="connsiteY75" fmla="*/ 509587 h 1240631"/>
              <a:gd name="connsiteX76" fmla="*/ 295275 w 1176338"/>
              <a:gd name="connsiteY76" fmla="*/ 576262 h 1240631"/>
              <a:gd name="connsiteX77" fmla="*/ 252413 w 1176338"/>
              <a:gd name="connsiteY77" fmla="*/ 614362 h 1240631"/>
              <a:gd name="connsiteX78" fmla="*/ 192881 w 1176338"/>
              <a:gd name="connsiteY78" fmla="*/ 604837 h 1240631"/>
              <a:gd name="connsiteX79" fmla="*/ 152400 w 1176338"/>
              <a:gd name="connsiteY79" fmla="*/ 611981 h 1240631"/>
              <a:gd name="connsiteX80" fmla="*/ 114300 w 1176338"/>
              <a:gd name="connsiteY80" fmla="*/ 611981 h 1240631"/>
              <a:gd name="connsiteX81" fmla="*/ 109538 w 1176338"/>
              <a:gd name="connsiteY81" fmla="*/ 590550 h 1240631"/>
              <a:gd name="connsiteX82" fmla="*/ 116681 w 1176338"/>
              <a:gd name="connsiteY82" fmla="*/ 559594 h 1240631"/>
              <a:gd name="connsiteX83" fmla="*/ 121444 w 1176338"/>
              <a:gd name="connsiteY83" fmla="*/ 540544 h 1240631"/>
              <a:gd name="connsiteX84" fmla="*/ 0 w 1176338"/>
              <a:gd name="connsiteY84" fmla="*/ 671512 h 1240631"/>
              <a:gd name="connsiteX85" fmla="*/ 11906 w 1176338"/>
              <a:gd name="connsiteY85" fmla="*/ 781050 h 1240631"/>
              <a:gd name="connsiteX86" fmla="*/ 45244 w 1176338"/>
              <a:gd name="connsiteY86" fmla="*/ 781050 h 1240631"/>
              <a:gd name="connsiteX87" fmla="*/ 28575 w 1176338"/>
              <a:gd name="connsiteY87" fmla="*/ 838200 h 1240631"/>
              <a:gd name="connsiteX88" fmla="*/ 16669 w 1176338"/>
              <a:gd name="connsiteY88" fmla="*/ 876300 h 1240631"/>
              <a:gd name="connsiteX89" fmla="*/ 40481 w 1176338"/>
              <a:gd name="connsiteY89" fmla="*/ 876300 h 1240631"/>
              <a:gd name="connsiteX90" fmla="*/ 42863 w 1176338"/>
              <a:gd name="connsiteY90" fmla="*/ 845344 h 1240631"/>
              <a:gd name="connsiteX91" fmla="*/ 164306 w 1176338"/>
              <a:gd name="connsiteY91" fmla="*/ 962025 h 1240631"/>
              <a:gd name="connsiteX92" fmla="*/ 180975 w 1176338"/>
              <a:gd name="connsiteY92" fmla="*/ 964406 h 1240631"/>
              <a:gd name="connsiteX93" fmla="*/ 188119 w 1176338"/>
              <a:gd name="connsiteY93" fmla="*/ 992981 h 1240631"/>
              <a:gd name="connsiteX94" fmla="*/ 197644 w 1176338"/>
              <a:gd name="connsiteY94" fmla="*/ 1019175 h 1240631"/>
              <a:gd name="connsiteX95" fmla="*/ 271463 w 1176338"/>
              <a:gd name="connsiteY95" fmla="*/ 1000125 h 1240631"/>
              <a:gd name="connsiteX96" fmla="*/ 269081 w 1176338"/>
              <a:gd name="connsiteY96" fmla="*/ 1047750 h 1240631"/>
              <a:gd name="connsiteX97" fmla="*/ 354806 w 1176338"/>
              <a:gd name="connsiteY97" fmla="*/ 1092994 h 1240631"/>
              <a:gd name="connsiteX98" fmla="*/ 409575 w 1176338"/>
              <a:gd name="connsiteY98" fmla="*/ 1119187 h 1240631"/>
              <a:gd name="connsiteX99" fmla="*/ 447675 w 1176338"/>
              <a:gd name="connsiteY99" fmla="*/ 1143000 h 1240631"/>
              <a:gd name="connsiteX100" fmla="*/ 452438 w 1176338"/>
              <a:gd name="connsiteY100" fmla="*/ 1166812 h 1240631"/>
              <a:gd name="connsiteX101" fmla="*/ 504825 w 1176338"/>
              <a:gd name="connsiteY101" fmla="*/ 1123950 h 1240631"/>
              <a:gd name="connsiteX102" fmla="*/ 588169 w 1176338"/>
              <a:gd name="connsiteY102" fmla="*/ 1100137 h 1240631"/>
              <a:gd name="connsiteX103" fmla="*/ 678656 w 1176338"/>
              <a:gd name="connsiteY103" fmla="*/ 1107281 h 1240631"/>
              <a:gd name="connsiteX104" fmla="*/ 728663 w 1176338"/>
              <a:gd name="connsiteY104" fmla="*/ 1131094 h 1240631"/>
              <a:gd name="connsiteX105" fmla="*/ 747713 w 1176338"/>
              <a:gd name="connsiteY105" fmla="*/ 1152525 h 1240631"/>
              <a:gd name="connsiteX106" fmla="*/ 785813 w 1176338"/>
              <a:gd name="connsiteY106" fmla="*/ 1128712 h 1240631"/>
              <a:gd name="connsiteX107" fmla="*/ 812006 w 1176338"/>
              <a:gd name="connsiteY107" fmla="*/ 1188244 h 12406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</a:cxnLst>
            <a:rect l="l" t="t" r="r" b="b"/>
            <a:pathLst>
              <a:path w="1176338" h="1240631">
                <a:moveTo>
                  <a:pt x="812006" y="1188244"/>
                </a:moveTo>
                <a:lnTo>
                  <a:pt x="850106" y="1240631"/>
                </a:lnTo>
                <a:lnTo>
                  <a:pt x="900113" y="1188244"/>
                </a:lnTo>
                <a:lnTo>
                  <a:pt x="921544" y="1112044"/>
                </a:lnTo>
                <a:lnTo>
                  <a:pt x="885825" y="1100137"/>
                </a:lnTo>
                <a:lnTo>
                  <a:pt x="845344" y="1064419"/>
                </a:lnTo>
                <a:lnTo>
                  <a:pt x="833438" y="1028700"/>
                </a:lnTo>
                <a:lnTo>
                  <a:pt x="819150" y="995362"/>
                </a:lnTo>
                <a:lnTo>
                  <a:pt x="816769" y="947737"/>
                </a:lnTo>
                <a:lnTo>
                  <a:pt x="804863" y="933450"/>
                </a:lnTo>
                <a:lnTo>
                  <a:pt x="783431" y="971550"/>
                </a:lnTo>
                <a:lnTo>
                  <a:pt x="762000" y="933450"/>
                </a:lnTo>
                <a:lnTo>
                  <a:pt x="771525" y="888206"/>
                </a:lnTo>
                <a:lnTo>
                  <a:pt x="804863" y="852487"/>
                </a:lnTo>
                <a:lnTo>
                  <a:pt x="797719" y="835819"/>
                </a:lnTo>
                <a:lnTo>
                  <a:pt x="828675" y="776287"/>
                </a:lnTo>
                <a:lnTo>
                  <a:pt x="852488" y="771525"/>
                </a:lnTo>
                <a:lnTo>
                  <a:pt x="902494" y="776287"/>
                </a:lnTo>
                <a:lnTo>
                  <a:pt x="892969" y="802481"/>
                </a:lnTo>
                <a:lnTo>
                  <a:pt x="959644" y="785812"/>
                </a:lnTo>
                <a:lnTo>
                  <a:pt x="1076325" y="740569"/>
                </a:lnTo>
                <a:lnTo>
                  <a:pt x="1107281" y="695325"/>
                </a:lnTo>
                <a:lnTo>
                  <a:pt x="1176338" y="695325"/>
                </a:lnTo>
                <a:lnTo>
                  <a:pt x="1171575" y="671512"/>
                </a:lnTo>
                <a:cubicBezTo>
                  <a:pt x="1172369" y="647700"/>
                  <a:pt x="1173162" y="623887"/>
                  <a:pt x="1173956" y="600075"/>
                </a:cubicBezTo>
                <a:lnTo>
                  <a:pt x="1138238" y="547687"/>
                </a:lnTo>
                <a:lnTo>
                  <a:pt x="1100138" y="557212"/>
                </a:lnTo>
                <a:lnTo>
                  <a:pt x="1050131" y="533400"/>
                </a:lnTo>
                <a:lnTo>
                  <a:pt x="978694" y="576262"/>
                </a:lnTo>
                <a:lnTo>
                  <a:pt x="964406" y="557212"/>
                </a:lnTo>
                <a:lnTo>
                  <a:pt x="923925" y="542925"/>
                </a:lnTo>
                <a:lnTo>
                  <a:pt x="923925" y="492919"/>
                </a:lnTo>
                <a:lnTo>
                  <a:pt x="866775" y="419100"/>
                </a:lnTo>
                <a:lnTo>
                  <a:pt x="935831" y="373856"/>
                </a:lnTo>
                <a:lnTo>
                  <a:pt x="907256" y="314325"/>
                </a:lnTo>
                <a:lnTo>
                  <a:pt x="878681" y="297656"/>
                </a:lnTo>
                <a:lnTo>
                  <a:pt x="831056" y="283369"/>
                </a:lnTo>
                <a:lnTo>
                  <a:pt x="852488" y="264319"/>
                </a:lnTo>
                <a:lnTo>
                  <a:pt x="838200" y="228600"/>
                </a:lnTo>
                <a:lnTo>
                  <a:pt x="919163" y="230981"/>
                </a:lnTo>
                <a:lnTo>
                  <a:pt x="957263" y="128587"/>
                </a:lnTo>
                <a:lnTo>
                  <a:pt x="1007269" y="133350"/>
                </a:lnTo>
                <a:lnTo>
                  <a:pt x="1059656" y="26194"/>
                </a:lnTo>
                <a:lnTo>
                  <a:pt x="1023938" y="19050"/>
                </a:lnTo>
                <a:lnTo>
                  <a:pt x="1002506" y="0"/>
                </a:lnTo>
                <a:lnTo>
                  <a:pt x="983456" y="11906"/>
                </a:lnTo>
                <a:lnTo>
                  <a:pt x="952500" y="16669"/>
                </a:lnTo>
                <a:lnTo>
                  <a:pt x="928688" y="4762"/>
                </a:lnTo>
                <a:lnTo>
                  <a:pt x="902494" y="2381"/>
                </a:lnTo>
                <a:lnTo>
                  <a:pt x="885825" y="28575"/>
                </a:lnTo>
                <a:lnTo>
                  <a:pt x="740569" y="45244"/>
                </a:lnTo>
                <a:lnTo>
                  <a:pt x="740569" y="11906"/>
                </a:lnTo>
                <a:lnTo>
                  <a:pt x="704850" y="52387"/>
                </a:lnTo>
                <a:lnTo>
                  <a:pt x="704850" y="71437"/>
                </a:lnTo>
                <a:lnTo>
                  <a:pt x="583406" y="111919"/>
                </a:lnTo>
                <a:lnTo>
                  <a:pt x="614363" y="140494"/>
                </a:lnTo>
                <a:lnTo>
                  <a:pt x="616744" y="178594"/>
                </a:lnTo>
                <a:lnTo>
                  <a:pt x="573881" y="211931"/>
                </a:lnTo>
                <a:lnTo>
                  <a:pt x="600075" y="259556"/>
                </a:lnTo>
                <a:lnTo>
                  <a:pt x="647700" y="276225"/>
                </a:lnTo>
                <a:lnTo>
                  <a:pt x="645319" y="323850"/>
                </a:lnTo>
                <a:lnTo>
                  <a:pt x="619125" y="357187"/>
                </a:lnTo>
                <a:lnTo>
                  <a:pt x="542925" y="366712"/>
                </a:lnTo>
                <a:lnTo>
                  <a:pt x="545306" y="400050"/>
                </a:lnTo>
                <a:lnTo>
                  <a:pt x="528638" y="440531"/>
                </a:lnTo>
                <a:lnTo>
                  <a:pt x="476250" y="457200"/>
                </a:lnTo>
                <a:lnTo>
                  <a:pt x="471488" y="414337"/>
                </a:lnTo>
                <a:lnTo>
                  <a:pt x="440531" y="411956"/>
                </a:lnTo>
                <a:lnTo>
                  <a:pt x="426244" y="440531"/>
                </a:lnTo>
                <a:lnTo>
                  <a:pt x="383381" y="438150"/>
                </a:lnTo>
                <a:lnTo>
                  <a:pt x="381000" y="416719"/>
                </a:lnTo>
                <a:lnTo>
                  <a:pt x="373856" y="459581"/>
                </a:lnTo>
                <a:lnTo>
                  <a:pt x="369094" y="481012"/>
                </a:lnTo>
                <a:lnTo>
                  <a:pt x="342900" y="490537"/>
                </a:lnTo>
                <a:lnTo>
                  <a:pt x="340519" y="471487"/>
                </a:lnTo>
                <a:lnTo>
                  <a:pt x="288131" y="509587"/>
                </a:lnTo>
                <a:lnTo>
                  <a:pt x="295275" y="576262"/>
                </a:lnTo>
                <a:lnTo>
                  <a:pt x="252413" y="614362"/>
                </a:lnTo>
                <a:lnTo>
                  <a:pt x="192881" y="604837"/>
                </a:lnTo>
                <a:lnTo>
                  <a:pt x="152400" y="611981"/>
                </a:lnTo>
                <a:lnTo>
                  <a:pt x="114300" y="611981"/>
                </a:lnTo>
                <a:lnTo>
                  <a:pt x="109538" y="590550"/>
                </a:lnTo>
                <a:lnTo>
                  <a:pt x="116681" y="559594"/>
                </a:lnTo>
                <a:lnTo>
                  <a:pt x="121444" y="540544"/>
                </a:lnTo>
                <a:lnTo>
                  <a:pt x="0" y="671512"/>
                </a:lnTo>
                <a:lnTo>
                  <a:pt x="11906" y="781050"/>
                </a:lnTo>
                <a:lnTo>
                  <a:pt x="45244" y="781050"/>
                </a:lnTo>
                <a:lnTo>
                  <a:pt x="28575" y="838200"/>
                </a:lnTo>
                <a:lnTo>
                  <a:pt x="16669" y="876300"/>
                </a:lnTo>
                <a:lnTo>
                  <a:pt x="40481" y="876300"/>
                </a:lnTo>
                <a:lnTo>
                  <a:pt x="42863" y="845344"/>
                </a:lnTo>
                <a:lnTo>
                  <a:pt x="164306" y="962025"/>
                </a:lnTo>
                <a:lnTo>
                  <a:pt x="180975" y="964406"/>
                </a:lnTo>
                <a:lnTo>
                  <a:pt x="188119" y="992981"/>
                </a:lnTo>
                <a:lnTo>
                  <a:pt x="197644" y="1019175"/>
                </a:lnTo>
                <a:lnTo>
                  <a:pt x="271463" y="1000125"/>
                </a:lnTo>
                <a:lnTo>
                  <a:pt x="269081" y="1047750"/>
                </a:lnTo>
                <a:lnTo>
                  <a:pt x="354806" y="1092994"/>
                </a:lnTo>
                <a:lnTo>
                  <a:pt x="409575" y="1119187"/>
                </a:lnTo>
                <a:lnTo>
                  <a:pt x="447675" y="1143000"/>
                </a:lnTo>
                <a:lnTo>
                  <a:pt x="452438" y="1166812"/>
                </a:lnTo>
                <a:lnTo>
                  <a:pt x="504825" y="1123950"/>
                </a:lnTo>
                <a:lnTo>
                  <a:pt x="588169" y="1100137"/>
                </a:lnTo>
                <a:lnTo>
                  <a:pt x="678656" y="1107281"/>
                </a:lnTo>
                <a:lnTo>
                  <a:pt x="728663" y="1131094"/>
                </a:lnTo>
                <a:lnTo>
                  <a:pt x="747713" y="1152525"/>
                </a:lnTo>
                <a:lnTo>
                  <a:pt x="785813" y="1128712"/>
                </a:lnTo>
                <a:lnTo>
                  <a:pt x="812006" y="1188244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914377">
              <a:defRPr/>
            </a:pPr>
            <a:endParaRPr lang="it-IT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4" name="Figura a mano libera 233"/>
          <p:cNvSpPr/>
          <p:nvPr/>
        </p:nvSpPr>
        <p:spPr bwMode="auto">
          <a:xfrm>
            <a:off x="1593085" y="2368713"/>
            <a:ext cx="879695" cy="938777"/>
          </a:xfrm>
          <a:custGeom>
            <a:avLst/>
            <a:gdLst>
              <a:gd name="connsiteX0" fmla="*/ 788193 w 1316831"/>
              <a:gd name="connsiteY0" fmla="*/ 1402556 h 1414462"/>
              <a:gd name="connsiteX1" fmla="*/ 738187 w 1316831"/>
              <a:gd name="connsiteY1" fmla="*/ 1373981 h 1414462"/>
              <a:gd name="connsiteX2" fmla="*/ 704850 w 1316831"/>
              <a:gd name="connsiteY2" fmla="*/ 1390650 h 1414462"/>
              <a:gd name="connsiteX3" fmla="*/ 685800 w 1316831"/>
              <a:gd name="connsiteY3" fmla="*/ 1409700 h 1414462"/>
              <a:gd name="connsiteX4" fmla="*/ 657225 w 1316831"/>
              <a:gd name="connsiteY4" fmla="*/ 1414462 h 1414462"/>
              <a:gd name="connsiteX5" fmla="*/ 638175 w 1316831"/>
              <a:gd name="connsiteY5" fmla="*/ 1385887 h 1414462"/>
              <a:gd name="connsiteX6" fmla="*/ 650081 w 1316831"/>
              <a:gd name="connsiteY6" fmla="*/ 1354931 h 1414462"/>
              <a:gd name="connsiteX7" fmla="*/ 664368 w 1316831"/>
              <a:gd name="connsiteY7" fmla="*/ 1371600 h 1414462"/>
              <a:gd name="connsiteX8" fmla="*/ 690562 w 1316831"/>
              <a:gd name="connsiteY8" fmla="*/ 1359694 h 1414462"/>
              <a:gd name="connsiteX9" fmla="*/ 690562 w 1316831"/>
              <a:gd name="connsiteY9" fmla="*/ 1331119 h 1414462"/>
              <a:gd name="connsiteX10" fmla="*/ 673893 w 1316831"/>
              <a:gd name="connsiteY10" fmla="*/ 1281112 h 1414462"/>
              <a:gd name="connsiteX11" fmla="*/ 631031 w 1316831"/>
              <a:gd name="connsiteY11" fmla="*/ 1238250 h 1414462"/>
              <a:gd name="connsiteX12" fmla="*/ 595312 w 1316831"/>
              <a:gd name="connsiteY12" fmla="*/ 1223962 h 1414462"/>
              <a:gd name="connsiteX13" fmla="*/ 559593 w 1316831"/>
              <a:gd name="connsiteY13" fmla="*/ 1159669 h 1414462"/>
              <a:gd name="connsiteX14" fmla="*/ 471487 w 1316831"/>
              <a:gd name="connsiteY14" fmla="*/ 1126331 h 1414462"/>
              <a:gd name="connsiteX15" fmla="*/ 471487 w 1316831"/>
              <a:gd name="connsiteY15" fmla="*/ 1085850 h 1414462"/>
              <a:gd name="connsiteX16" fmla="*/ 485775 w 1316831"/>
              <a:gd name="connsiteY16" fmla="*/ 1031081 h 1414462"/>
              <a:gd name="connsiteX17" fmla="*/ 431006 w 1316831"/>
              <a:gd name="connsiteY17" fmla="*/ 1021556 h 1414462"/>
              <a:gd name="connsiteX18" fmla="*/ 376237 w 1316831"/>
              <a:gd name="connsiteY18" fmla="*/ 1021556 h 1414462"/>
              <a:gd name="connsiteX19" fmla="*/ 371475 w 1316831"/>
              <a:gd name="connsiteY19" fmla="*/ 1045369 h 1414462"/>
              <a:gd name="connsiteX20" fmla="*/ 347662 w 1316831"/>
              <a:gd name="connsiteY20" fmla="*/ 1023937 h 1414462"/>
              <a:gd name="connsiteX21" fmla="*/ 354806 w 1316831"/>
              <a:gd name="connsiteY21" fmla="*/ 992981 h 1414462"/>
              <a:gd name="connsiteX22" fmla="*/ 347662 w 1316831"/>
              <a:gd name="connsiteY22" fmla="*/ 938212 h 1414462"/>
              <a:gd name="connsiteX23" fmla="*/ 371475 w 1316831"/>
              <a:gd name="connsiteY23" fmla="*/ 912019 h 1414462"/>
              <a:gd name="connsiteX24" fmla="*/ 371475 w 1316831"/>
              <a:gd name="connsiteY24" fmla="*/ 888206 h 1414462"/>
              <a:gd name="connsiteX25" fmla="*/ 381000 w 1316831"/>
              <a:gd name="connsiteY25" fmla="*/ 821531 h 1414462"/>
              <a:gd name="connsiteX26" fmla="*/ 364331 w 1316831"/>
              <a:gd name="connsiteY26" fmla="*/ 771525 h 1414462"/>
              <a:gd name="connsiteX27" fmla="*/ 314325 w 1316831"/>
              <a:gd name="connsiteY27" fmla="*/ 692944 h 1414462"/>
              <a:gd name="connsiteX28" fmla="*/ 280987 w 1316831"/>
              <a:gd name="connsiteY28" fmla="*/ 654844 h 1414462"/>
              <a:gd name="connsiteX29" fmla="*/ 257175 w 1316831"/>
              <a:gd name="connsiteY29" fmla="*/ 585787 h 1414462"/>
              <a:gd name="connsiteX30" fmla="*/ 264318 w 1316831"/>
              <a:gd name="connsiteY30" fmla="*/ 419100 h 1414462"/>
              <a:gd name="connsiteX31" fmla="*/ 235743 w 1316831"/>
              <a:gd name="connsiteY31" fmla="*/ 371475 h 1414462"/>
              <a:gd name="connsiteX32" fmla="*/ 204787 w 1316831"/>
              <a:gd name="connsiteY32" fmla="*/ 350044 h 1414462"/>
              <a:gd name="connsiteX33" fmla="*/ 190500 w 1316831"/>
              <a:gd name="connsiteY33" fmla="*/ 304800 h 1414462"/>
              <a:gd name="connsiteX34" fmla="*/ 164306 w 1316831"/>
              <a:gd name="connsiteY34" fmla="*/ 280987 h 1414462"/>
              <a:gd name="connsiteX35" fmla="*/ 138112 w 1316831"/>
              <a:gd name="connsiteY35" fmla="*/ 264319 h 1414462"/>
              <a:gd name="connsiteX36" fmla="*/ 116681 w 1316831"/>
              <a:gd name="connsiteY36" fmla="*/ 273844 h 1414462"/>
              <a:gd name="connsiteX37" fmla="*/ 88106 w 1316831"/>
              <a:gd name="connsiteY37" fmla="*/ 264319 h 1414462"/>
              <a:gd name="connsiteX38" fmla="*/ 59531 w 1316831"/>
              <a:gd name="connsiteY38" fmla="*/ 230981 h 1414462"/>
              <a:gd name="connsiteX39" fmla="*/ 130968 w 1316831"/>
              <a:gd name="connsiteY39" fmla="*/ 216694 h 1414462"/>
              <a:gd name="connsiteX40" fmla="*/ 109537 w 1316831"/>
              <a:gd name="connsiteY40" fmla="*/ 178594 h 1414462"/>
              <a:gd name="connsiteX41" fmla="*/ 69056 w 1316831"/>
              <a:gd name="connsiteY41" fmla="*/ 178594 h 1414462"/>
              <a:gd name="connsiteX42" fmla="*/ 61912 w 1316831"/>
              <a:gd name="connsiteY42" fmla="*/ 133350 h 1414462"/>
              <a:gd name="connsiteX43" fmla="*/ 21431 w 1316831"/>
              <a:gd name="connsiteY43" fmla="*/ 100012 h 1414462"/>
              <a:gd name="connsiteX44" fmla="*/ 0 w 1316831"/>
              <a:gd name="connsiteY44" fmla="*/ 61912 h 1414462"/>
              <a:gd name="connsiteX45" fmla="*/ 42862 w 1316831"/>
              <a:gd name="connsiteY45" fmla="*/ 40481 h 1414462"/>
              <a:gd name="connsiteX46" fmla="*/ 64293 w 1316831"/>
              <a:gd name="connsiteY46" fmla="*/ 0 h 1414462"/>
              <a:gd name="connsiteX47" fmla="*/ 147637 w 1316831"/>
              <a:gd name="connsiteY47" fmla="*/ 7144 h 1414462"/>
              <a:gd name="connsiteX48" fmla="*/ 152400 w 1316831"/>
              <a:gd name="connsiteY48" fmla="*/ 45244 h 1414462"/>
              <a:gd name="connsiteX49" fmla="*/ 171450 w 1316831"/>
              <a:gd name="connsiteY49" fmla="*/ 83344 h 1414462"/>
              <a:gd name="connsiteX50" fmla="*/ 276225 w 1316831"/>
              <a:gd name="connsiteY50" fmla="*/ 130969 h 1414462"/>
              <a:gd name="connsiteX51" fmla="*/ 316706 w 1316831"/>
              <a:gd name="connsiteY51" fmla="*/ 140494 h 1414462"/>
              <a:gd name="connsiteX52" fmla="*/ 350043 w 1316831"/>
              <a:gd name="connsiteY52" fmla="*/ 169069 h 1414462"/>
              <a:gd name="connsiteX53" fmla="*/ 390525 w 1316831"/>
              <a:gd name="connsiteY53" fmla="*/ 192881 h 1414462"/>
              <a:gd name="connsiteX54" fmla="*/ 411956 w 1316831"/>
              <a:gd name="connsiteY54" fmla="*/ 223837 h 1414462"/>
              <a:gd name="connsiteX55" fmla="*/ 416718 w 1316831"/>
              <a:gd name="connsiteY55" fmla="*/ 230981 h 1414462"/>
              <a:gd name="connsiteX56" fmla="*/ 423862 w 1316831"/>
              <a:gd name="connsiteY56" fmla="*/ 240506 h 1414462"/>
              <a:gd name="connsiteX57" fmla="*/ 431006 w 1316831"/>
              <a:gd name="connsiteY57" fmla="*/ 247650 h 1414462"/>
              <a:gd name="connsiteX58" fmla="*/ 431006 w 1316831"/>
              <a:gd name="connsiteY58" fmla="*/ 247650 h 1414462"/>
              <a:gd name="connsiteX59" fmla="*/ 490537 w 1316831"/>
              <a:gd name="connsiteY59" fmla="*/ 233362 h 1414462"/>
              <a:gd name="connsiteX60" fmla="*/ 540543 w 1316831"/>
              <a:gd name="connsiteY60" fmla="*/ 259556 h 1414462"/>
              <a:gd name="connsiteX61" fmla="*/ 588168 w 1316831"/>
              <a:gd name="connsiteY61" fmla="*/ 292894 h 1414462"/>
              <a:gd name="connsiteX62" fmla="*/ 602456 w 1316831"/>
              <a:gd name="connsiteY62" fmla="*/ 297656 h 1414462"/>
              <a:gd name="connsiteX63" fmla="*/ 635793 w 1316831"/>
              <a:gd name="connsiteY63" fmla="*/ 245269 h 1414462"/>
              <a:gd name="connsiteX64" fmla="*/ 685800 w 1316831"/>
              <a:gd name="connsiteY64" fmla="*/ 280987 h 1414462"/>
              <a:gd name="connsiteX65" fmla="*/ 733425 w 1316831"/>
              <a:gd name="connsiteY65" fmla="*/ 271462 h 1414462"/>
              <a:gd name="connsiteX66" fmla="*/ 766762 w 1316831"/>
              <a:gd name="connsiteY66" fmla="*/ 280987 h 1414462"/>
              <a:gd name="connsiteX67" fmla="*/ 750093 w 1316831"/>
              <a:gd name="connsiteY67" fmla="*/ 250031 h 1414462"/>
              <a:gd name="connsiteX68" fmla="*/ 790575 w 1316831"/>
              <a:gd name="connsiteY68" fmla="*/ 228600 h 1414462"/>
              <a:gd name="connsiteX69" fmla="*/ 826293 w 1316831"/>
              <a:gd name="connsiteY69" fmla="*/ 192881 h 1414462"/>
              <a:gd name="connsiteX70" fmla="*/ 862012 w 1316831"/>
              <a:gd name="connsiteY70" fmla="*/ 209550 h 1414462"/>
              <a:gd name="connsiteX71" fmla="*/ 885825 w 1316831"/>
              <a:gd name="connsiteY71" fmla="*/ 245269 h 1414462"/>
              <a:gd name="connsiteX72" fmla="*/ 945356 w 1316831"/>
              <a:gd name="connsiteY72" fmla="*/ 240506 h 1414462"/>
              <a:gd name="connsiteX73" fmla="*/ 938212 w 1316831"/>
              <a:gd name="connsiteY73" fmla="*/ 280987 h 1414462"/>
              <a:gd name="connsiteX74" fmla="*/ 1012031 w 1316831"/>
              <a:gd name="connsiteY74" fmla="*/ 278606 h 1414462"/>
              <a:gd name="connsiteX75" fmla="*/ 981075 w 1316831"/>
              <a:gd name="connsiteY75" fmla="*/ 347662 h 1414462"/>
              <a:gd name="connsiteX76" fmla="*/ 966787 w 1316831"/>
              <a:gd name="connsiteY76" fmla="*/ 378619 h 1414462"/>
              <a:gd name="connsiteX77" fmla="*/ 988218 w 1316831"/>
              <a:gd name="connsiteY77" fmla="*/ 400050 h 1414462"/>
              <a:gd name="connsiteX78" fmla="*/ 985837 w 1316831"/>
              <a:gd name="connsiteY78" fmla="*/ 442912 h 1414462"/>
              <a:gd name="connsiteX79" fmla="*/ 1085850 w 1316831"/>
              <a:gd name="connsiteY79" fmla="*/ 488156 h 1414462"/>
              <a:gd name="connsiteX80" fmla="*/ 1143000 w 1316831"/>
              <a:gd name="connsiteY80" fmla="*/ 523875 h 1414462"/>
              <a:gd name="connsiteX81" fmla="*/ 1181100 w 1316831"/>
              <a:gd name="connsiteY81" fmla="*/ 528637 h 1414462"/>
              <a:gd name="connsiteX82" fmla="*/ 1281112 w 1316831"/>
              <a:gd name="connsiteY82" fmla="*/ 516731 h 1414462"/>
              <a:gd name="connsiteX83" fmla="*/ 1316831 w 1316831"/>
              <a:gd name="connsiteY83" fmla="*/ 545306 h 1414462"/>
              <a:gd name="connsiteX84" fmla="*/ 1202531 w 1316831"/>
              <a:gd name="connsiteY84" fmla="*/ 609600 h 1414462"/>
              <a:gd name="connsiteX85" fmla="*/ 1221581 w 1316831"/>
              <a:gd name="connsiteY85" fmla="*/ 633412 h 1414462"/>
              <a:gd name="connsiteX86" fmla="*/ 1183481 w 1316831"/>
              <a:gd name="connsiteY86" fmla="*/ 683419 h 1414462"/>
              <a:gd name="connsiteX87" fmla="*/ 1166812 w 1316831"/>
              <a:gd name="connsiteY87" fmla="*/ 683419 h 1414462"/>
              <a:gd name="connsiteX88" fmla="*/ 1195387 w 1316831"/>
              <a:gd name="connsiteY88" fmla="*/ 711994 h 1414462"/>
              <a:gd name="connsiteX89" fmla="*/ 1150143 w 1316831"/>
              <a:gd name="connsiteY89" fmla="*/ 723900 h 1414462"/>
              <a:gd name="connsiteX90" fmla="*/ 1123950 w 1316831"/>
              <a:gd name="connsiteY90" fmla="*/ 745331 h 1414462"/>
              <a:gd name="connsiteX91" fmla="*/ 1154906 w 1316831"/>
              <a:gd name="connsiteY91" fmla="*/ 745331 h 1414462"/>
              <a:gd name="connsiteX92" fmla="*/ 1183481 w 1316831"/>
              <a:gd name="connsiteY92" fmla="*/ 790575 h 1414462"/>
              <a:gd name="connsiteX93" fmla="*/ 1223962 w 1316831"/>
              <a:gd name="connsiteY93" fmla="*/ 828675 h 1414462"/>
              <a:gd name="connsiteX94" fmla="*/ 1216818 w 1316831"/>
              <a:gd name="connsiteY94" fmla="*/ 840581 h 1414462"/>
              <a:gd name="connsiteX95" fmla="*/ 1154906 w 1316831"/>
              <a:gd name="connsiteY95" fmla="*/ 864394 h 1414462"/>
              <a:gd name="connsiteX96" fmla="*/ 1147762 w 1316831"/>
              <a:gd name="connsiteY96" fmla="*/ 847725 h 1414462"/>
              <a:gd name="connsiteX97" fmla="*/ 1102518 w 1316831"/>
              <a:gd name="connsiteY97" fmla="*/ 895350 h 1414462"/>
              <a:gd name="connsiteX98" fmla="*/ 1052512 w 1316831"/>
              <a:gd name="connsiteY98" fmla="*/ 945356 h 1414462"/>
              <a:gd name="connsiteX99" fmla="*/ 1071562 w 1316831"/>
              <a:gd name="connsiteY99" fmla="*/ 990600 h 1414462"/>
              <a:gd name="connsiteX100" fmla="*/ 1100137 w 1316831"/>
              <a:gd name="connsiteY100" fmla="*/ 1000125 h 1414462"/>
              <a:gd name="connsiteX101" fmla="*/ 1092993 w 1316831"/>
              <a:gd name="connsiteY101" fmla="*/ 1062037 h 1414462"/>
              <a:gd name="connsiteX102" fmla="*/ 1071562 w 1316831"/>
              <a:gd name="connsiteY102" fmla="*/ 1112044 h 1414462"/>
              <a:gd name="connsiteX103" fmla="*/ 1057275 w 1316831"/>
              <a:gd name="connsiteY103" fmla="*/ 1116806 h 1414462"/>
              <a:gd name="connsiteX104" fmla="*/ 992981 w 1316831"/>
              <a:gd name="connsiteY104" fmla="*/ 1131094 h 1414462"/>
              <a:gd name="connsiteX105" fmla="*/ 1002506 w 1316831"/>
              <a:gd name="connsiteY105" fmla="*/ 1243012 h 1414462"/>
              <a:gd name="connsiteX106" fmla="*/ 966787 w 1316831"/>
              <a:gd name="connsiteY106" fmla="*/ 1250156 h 1414462"/>
              <a:gd name="connsiteX107" fmla="*/ 928687 w 1316831"/>
              <a:gd name="connsiteY107" fmla="*/ 1278731 h 1414462"/>
              <a:gd name="connsiteX108" fmla="*/ 890587 w 1316831"/>
              <a:gd name="connsiteY108" fmla="*/ 1271587 h 1414462"/>
              <a:gd name="connsiteX109" fmla="*/ 873918 w 1316831"/>
              <a:gd name="connsiteY109" fmla="*/ 1328737 h 1414462"/>
              <a:gd name="connsiteX110" fmla="*/ 909637 w 1316831"/>
              <a:gd name="connsiteY110" fmla="*/ 1345406 h 1414462"/>
              <a:gd name="connsiteX111" fmla="*/ 897731 w 1316831"/>
              <a:gd name="connsiteY111" fmla="*/ 1369219 h 1414462"/>
              <a:gd name="connsiteX112" fmla="*/ 788193 w 1316831"/>
              <a:gd name="connsiteY112" fmla="*/ 1402556 h 1414462"/>
              <a:gd name="connsiteX0" fmla="*/ 788193 w 1316831"/>
              <a:gd name="connsiteY0" fmla="*/ 1402556 h 1414462"/>
              <a:gd name="connsiteX1" fmla="*/ 738187 w 1316831"/>
              <a:gd name="connsiteY1" fmla="*/ 1373981 h 1414462"/>
              <a:gd name="connsiteX2" fmla="*/ 704850 w 1316831"/>
              <a:gd name="connsiteY2" fmla="*/ 1390650 h 1414462"/>
              <a:gd name="connsiteX3" fmla="*/ 685800 w 1316831"/>
              <a:gd name="connsiteY3" fmla="*/ 1409700 h 1414462"/>
              <a:gd name="connsiteX4" fmla="*/ 657225 w 1316831"/>
              <a:gd name="connsiteY4" fmla="*/ 1414462 h 1414462"/>
              <a:gd name="connsiteX5" fmla="*/ 638175 w 1316831"/>
              <a:gd name="connsiteY5" fmla="*/ 1385887 h 1414462"/>
              <a:gd name="connsiteX6" fmla="*/ 650081 w 1316831"/>
              <a:gd name="connsiteY6" fmla="*/ 1354931 h 1414462"/>
              <a:gd name="connsiteX7" fmla="*/ 664368 w 1316831"/>
              <a:gd name="connsiteY7" fmla="*/ 1371600 h 1414462"/>
              <a:gd name="connsiteX8" fmla="*/ 690562 w 1316831"/>
              <a:gd name="connsiteY8" fmla="*/ 1359694 h 1414462"/>
              <a:gd name="connsiteX9" fmla="*/ 690562 w 1316831"/>
              <a:gd name="connsiteY9" fmla="*/ 1331119 h 1414462"/>
              <a:gd name="connsiteX10" fmla="*/ 673893 w 1316831"/>
              <a:gd name="connsiteY10" fmla="*/ 1281112 h 1414462"/>
              <a:gd name="connsiteX11" fmla="*/ 631031 w 1316831"/>
              <a:gd name="connsiteY11" fmla="*/ 1238250 h 1414462"/>
              <a:gd name="connsiteX12" fmla="*/ 595312 w 1316831"/>
              <a:gd name="connsiteY12" fmla="*/ 1223962 h 1414462"/>
              <a:gd name="connsiteX13" fmla="*/ 559593 w 1316831"/>
              <a:gd name="connsiteY13" fmla="*/ 1159669 h 1414462"/>
              <a:gd name="connsiteX14" fmla="*/ 471487 w 1316831"/>
              <a:gd name="connsiteY14" fmla="*/ 1126331 h 1414462"/>
              <a:gd name="connsiteX15" fmla="*/ 471487 w 1316831"/>
              <a:gd name="connsiteY15" fmla="*/ 1085850 h 1414462"/>
              <a:gd name="connsiteX16" fmla="*/ 485775 w 1316831"/>
              <a:gd name="connsiteY16" fmla="*/ 1031081 h 1414462"/>
              <a:gd name="connsiteX17" fmla="*/ 431006 w 1316831"/>
              <a:gd name="connsiteY17" fmla="*/ 1021556 h 1414462"/>
              <a:gd name="connsiteX18" fmla="*/ 376237 w 1316831"/>
              <a:gd name="connsiteY18" fmla="*/ 1021556 h 1414462"/>
              <a:gd name="connsiteX19" fmla="*/ 371475 w 1316831"/>
              <a:gd name="connsiteY19" fmla="*/ 1045369 h 1414462"/>
              <a:gd name="connsiteX20" fmla="*/ 347662 w 1316831"/>
              <a:gd name="connsiteY20" fmla="*/ 1023937 h 1414462"/>
              <a:gd name="connsiteX21" fmla="*/ 354806 w 1316831"/>
              <a:gd name="connsiteY21" fmla="*/ 992981 h 1414462"/>
              <a:gd name="connsiteX22" fmla="*/ 347662 w 1316831"/>
              <a:gd name="connsiteY22" fmla="*/ 938212 h 1414462"/>
              <a:gd name="connsiteX23" fmla="*/ 371475 w 1316831"/>
              <a:gd name="connsiteY23" fmla="*/ 912019 h 1414462"/>
              <a:gd name="connsiteX24" fmla="*/ 371475 w 1316831"/>
              <a:gd name="connsiteY24" fmla="*/ 888206 h 1414462"/>
              <a:gd name="connsiteX25" fmla="*/ 381000 w 1316831"/>
              <a:gd name="connsiteY25" fmla="*/ 821531 h 1414462"/>
              <a:gd name="connsiteX26" fmla="*/ 364331 w 1316831"/>
              <a:gd name="connsiteY26" fmla="*/ 771525 h 1414462"/>
              <a:gd name="connsiteX27" fmla="*/ 314325 w 1316831"/>
              <a:gd name="connsiteY27" fmla="*/ 692944 h 1414462"/>
              <a:gd name="connsiteX28" fmla="*/ 280987 w 1316831"/>
              <a:gd name="connsiteY28" fmla="*/ 654844 h 1414462"/>
              <a:gd name="connsiteX29" fmla="*/ 257175 w 1316831"/>
              <a:gd name="connsiteY29" fmla="*/ 585787 h 1414462"/>
              <a:gd name="connsiteX30" fmla="*/ 264318 w 1316831"/>
              <a:gd name="connsiteY30" fmla="*/ 419100 h 1414462"/>
              <a:gd name="connsiteX31" fmla="*/ 235743 w 1316831"/>
              <a:gd name="connsiteY31" fmla="*/ 371475 h 1414462"/>
              <a:gd name="connsiteX32" fmla="*/ 204787 w 1316831"/>
              <a:gd name="connsiteY32" fmla="*/ 350044 h 1414462"/>
              <a:gd name="connsiteX33" fmla="*/ 190500 w 1316831"/>
              <a:gd name="connsiteY33" fmla="*/ 304800 h 1414462"/>
              <a:gd name="connsiteX34" fmla="*/ 164306 w 1316831"/>
              <a:gd name="connsiteY34" fmla="*/ 280987 h 1414462"/>
              <a:gd name="connsiteX35" fmla="*/ 138112 w 1316831"/>
              <a:gd name="connsiteY35" fmla="*/ 264319 h 1414462"/>
              <a:gd name="connsiteX36" fmla="*/ 116681 w 1316831"/>
              <a:gd name="connsiteY36" fmla="*/ 273844 h 1414462"/>
              <a:gd name="connsiteX37" fmla="*/ 88106 w 1316831"/>
              <a:gd name="connsiteY37" fmla="*/ 264319 h 1414462"/>
              <a:gd name="connsiteX38" fmla="*/ 95250 w 1316831"/>
              <a:gd name="connsiteY38" fmla="*/ 223837 h 1414462"/>
              <a:gd name="connsiteX39" fmla="*/ 130968 w 1316831"/>
              <a:gd name="connsiteY39" fmla="*/ 216694 h 1414462"/>
              <a:gd name="connsiteX40" fmla="*/ 109537 w 1316831"/>
              <a:gd name="connsiteY40" fmla="*/ 178594 h 1414462"/>
              <a:gd name="connsiteX41" fmla="*/ 69056 w 1316831"/>
              <a:gd name="connsiteY41" fmla="*/ 178594 h 1414462"/>
              <a:gd name="connsiteX42" fmla="*/ 61912 w 1316831"/>
              <a:gd name="connsiteY42" fmla="*/ 133350 h 1414462"/>
              <a:gd name="connsiteX43" fmla="*/ 21431 w 1316831"/>
              <a:gd name="connsiteY43" fmla="*/ 100012 h 1414462"/>
              <a:gd name="connsiteX44" fmla="*/ 0 w 1316831"/>
              <a:gd name="connsiteY44" fmla="*/ 61912 h 1414462"/>
              <a:gd name="connsiteX45" fmla="*/ 42862 w 1316831"/>
              <a:gd name="connsiteY45" fmla="*/ 40481 h 1414462"/>
              <a:gd name="connsiteX46" fmla="*/ 64293 w 1316831"/>
              <a:gd name="connsiteY46" fmla="*/ 0 h 1414462"/>
              <a:gd name="connsiteX47" fmla="*/ 147637 w 1316831"/>
              <a:gd name="connsiteY47" fmla="*/ 7144 h 1414462"/>
              <a:gd name="connsiteX48" fmla="*/ 152400 w 1316831"/>
              <a:gd name="connsiteY48" fmla="*/ 45244 h 1414462"/>
              <a:gd name="connsiteX49" fmla="*/ 171450 w 1316831"/>
              <a:gd name="connsiteY49" fmla="*/ 83344 h 1414462"/>
              <a:gd name="connsiteX50" fmla="*/ 276225 w 1316831"/>
              <a:gd name="connsiteY50" fmla="*/ 130969 h 1414462"/>
              <a:gd name="connsiteX51" fmla="*/ 316706 w 1316831"/>
              <a:gd name="connsiteY51" fmla="*/ 140494 h 1414462"/>
              <a:gd name="connsiteX52" fmla="*/ 350043 w 1316831"/>
              <a:gd name="connsiteY52" fmla="*/ 169069 h 1414462"/>
              <a:gd name="connsiteX53" fmla="*/ 390525 w 1316831"/>
              <a:gd name="connsiteY53" fmla="*/ 192881 h 1414462"/>
              <a:gd name="connsiteX54" fmla="*/ 411956 w 1316831"/>
              <a:gd name="connsiteY54" fmla="*/ 223837 h 1414462"/>
              <a:gd name="connsiteX55" fmla="*/ 416718 w 1316831"/>
              <a:gd name="connsiteY55" fmla="*/ 230981 h 1414462"/>
              <a:gd name="connsiteX56" fmla="*/ 423862 w 1316831"/>
              <a:gd name="connsiteY56" fmla="*/ 240506 h 1414462"/>
              <a:gd name="connsiteX57" fmla="*/ 431006 w 1316831"/>
              <a:gd name="connsiteY57" fmla="*/ 247650 h 1414462"/>
              <a:gd name="connsiteX58" fmla="*/ 431006 w 1316831"/>
              <a:gd name="connsiteY58" fmla="*/ 247650 h 1414462"/>
              <a:gd name="connsiteX59" fmla="*/ 490537 w 1316831"/>
              <a:gd name="connsiteY59" fmla="*/ 233362 h 1414462"/>
              <a:gd name="connsiteX60" fmla="*/ 540543 w 1316831"/>
              <a:gd name="connsiteY60" fmla="*/ 259556 h 1414462"/>
              <a:gd name="connsiteX61" fmla="*/ 588168 w 1316831"/>
              <a:gd name="connsiteY61" fmla="*/ 292894 h 1414462"/>
              <a:gd name="connsiteX62" fmla="*/ 602456 w 1316831"/>
              <a:gd name="connsiteY62" fmla="*/ 297656 h 1414462"/>
              <a:gd name="connsiteX63" fmla="*/ 635793 w 1316831"/>
              <a:gd name="connsiteY63" fmla="*/ 245269 h 1414462"/>
              <a:gd name="connsiteX64" fmla="*/ 685800 w 1316831"/>
              <a:gd name="connsiteY64" fmla="*/ 280987 h 1414462"/>
              <a:gd name="connsiteX65" fmla="*/ 733425 w 1316831"/>
              <a:gd name="connsiteY65" fmla="*/ 271462 h 1414462"/>
              <a:gd name="connsiteX66" fmla="*/ 766762 w 1316831"/>
              <a:gd name="connsiteY66" fmla="*/ 280987 h 1414462"/>
              <a:gd name="connsiteX67" fmla="*/ 750093 w 1316831"/>
              <a:gd name="connsiteY67" fmla="*/ 250031 h 1414462"/>
              <a:gd name="connsiteX68" fmla="*/ 790575 w 1316831"/>
              <a:gd name="connsiteY68" fmla="*/ 228600 h 1414462"/>
              <a:gd name="connsiteX69" fmla="*/ 826293 w 1316831"/>
              <a:gd name="connsiteY69" fmla="*/ 192881 h 1414462"/>
              <a:gd name="connsiteX70" fmla="*/ 862012 w 1316831"/>
              <a:gd name="connsiteY70" fmla="*/ 209550 h 1414462"/>
              <a:gd name="connsiteX71" fmla="*/ 885825 w 1316831"/>
              <a:gd name="connsiteY71" fmla="*/ 245269 h 1414462"/>
              <a:gd name="connsiteX72" fmla="*/ 945356 w 1316831"/>
              <a:gd name="connsiteY72" fmla="*/ 240506 h 1414462"/>
              <a:gd name="connsiteX73" fmla="*/ 938212 w 1316831"/>
              <a:gd name="connsiteY73" fmla="*/ 280987 h 1414462"/>
              <a:gd name="connsiteX74" fmla="*/ 1012031 w 1316831"/>
              <a:gd name="connsiteY74" fmla="*/ 278606 h 1414462"/>
              <a:gd name="connsiteX75" fmla="*/ 981075 w 1316831"/>
              <a:gd name="connsiteY75" fmla="*/ 347662 h 1414462"/>
              <a:gd name="connsiteX76" fmla="*/ 966787 w 1316831"/>
              <a:gd name="connsiteY76" fmla="*/ 378619 h 1414462"/>
              <a:gd name="connsiteX77" fmla="*/ 988218 w 1316831"/>
              <a:gd name="connsiteY77" fmla="*/ 400050 h 1414462"/>
              <a:gd name="connsiteX78" fmla="*/ 985837 w 1316831"/>
              <a:gd name="connsiteY78" fmla="*/ 442912 h 1414462"/>
              <a:gd name="connsiteX79" fmla="*/ 1085850 w 1316831"/>
              <a:gd name="connsiteY79" fmla="*/ 488156 h 1414462"/>
              <a:gd name="connsiteX80" fmla="*/ 1143000 w 1316831"/>
              <a:gd name="connsiteY80" fmla="*/ 523875 h 1414462"/>
              <a:gd name="connsiteX81" fmla="*/ 1181100 w 1316831"/>
              <a:gd name="connsiteY81" fmla="*/ 528637 h 1414462"/>
              <a:gd name="connsiteX82" fmla="*/ 1281112 w 1316831"/>
              <a:gd name="connsiteY82" fmla="*/ 516731 h 1414462"/>
              <a:gd name="connsiteX83" fmla="*/ 1316831 w 1316831"/>
              <a:gd name="connsiteY83" fmla="*/ 545306 h 1414462"/>
              <a:gd name="connsiteX84" fmla="*/ 1202531 w 1316831"/>
              <a:gd name="connsiteY84" fmla="*/ 609600 h 1414462"/>
              <a:gd name="connsiteX85" fmla="*/ 1221581 w 1316831"/>
              <a:gd name="connsiteY85" fmla="*/ 633412 h 1414462"/>
              <a:gd name="connsiteX86" fmla="*/ 1183481 w 1316831"/>
              <a:gd name="connsiteY86" fmla="*/ 683419 h 1414462"/>
              <a:gd name="connsiteX87" fmla="*/ 1166812 w 1316831"/>
              <a:gd name="connsiteY87" fmla="*/ 683419 h 1414462"/>
              <a:gd name="connsiteX88" fmla="*/ 1195387 w 1316831"/>
              <a:gd name="connsiteY88" fmla="*/ 711994 h 1414462"/>
              <a:gd name="connsiteX89" fmla="*/ 1150143 w 1316831"/>
              <a:gd name="connsiteY89" fmla="*/ 723900 h 1414462"/>
              <a:gd name="connsiteX90" fmla="*/ 1123950 w 1316831"/>
              <a:gd name="connsiteY90" fmla="*/ 745331 h 1414462"/>
              <a:gd name="connsiteX91" fmla="*/ 1154906 w 1316831"/>
              <a:gd name="connsiteY91" fmla="*/ 745331 h 1414462"/>
              <a:gd name="connsiteX92" fmla="*/ 1183481 w 1316831"/>
              <a:gd name="connsiteY92" fmla="*/ 790575 h 1414462"/>
              <a:gd name="connsiteX93" fmla="*/ 1223962 w 1316831"/>
              <a:gd name="connsiteY93" fmla="*/ 828675 h 1414462"/>
              <a:gd name="connsiteX94" fmla="*/ 1216818 w 1316831"/>
              <a:gd name="connsiteY94" fmla="*/ 840581 h 1414462"/>
              <a:gd name="connsiteX95" fmla="*/ 1154906 w 1316831"/>
              <a:gd name="connsiteY95" fmla="*/ 864394 h 1414462"/>
              <a:gd name="connsiteX96" fmla="*/ 1147762 w 1316831"/>
              <a:gd name="connsiteY96" fmla="*/ 847725 h 1414462"/>
              <a:gd name="connsiteX97" fmla="*/ 1102518 w 1316831"/>
              <a:gd name="connsiteY97" fmla="*/ 895350 h 1414462"/>
              <a:gd name="connsiteX98" fmla="*/ 1052512 w 1316831"/>
              <a:gd name="connsiteY98" fmla="*/ 945356 h 1414462"/>
              <a:gd name="connsiteX99" fmla="*/ 1071562 w 1316831"/>
              <a:gd name="connsiteY99" fmla="*/ 990600 h 1414462"/>
              <a:gd name="connsiteX100" fmla="*/ 1100137 w 1316831"/>
              <a:gd name="connsiteY100" fmla="*/ 1000125 h 1414462"/>
              <a:gd name="connsiteX101" fmla="*/ 1092993 w 1316831"/>
              <a:gd name="connsiteY101" fmla="*/ 1062037 h 1414462"/>
              <a:gd name="connsiteX102" fmla="*/ 1071562 w 1316831"/>
              <a:gd name="connsiteY102" fmla="*/ 1112044 h 1414462"/>
              <a:gd name="connsiteX103" fmla="*/ 1057275 w 1316831"/>
              <a:gd name="connsiteY103" fmla="*/ 1116806 h 1414462"/>
              <a:gd name="connsiteX104" fmla="*/ 992981 w 1316831"/>
              <a:gd name="connsiteY104" fmla="*/ 1131094 h 1414462"/>
              <a:gd name="connsiteX105" fmla="*/ 1002506 w 1316831"/>
              <a:gd name="connsiteY105" fmla="*/ 1243012 h 1414462"/>
              <a:gd name="connsiteX106" fmla="*/ 966787 w 1316831"/>
              <a:gd name="connsiteY106" fmla="*/ 1250156 h 1414462"/>
              <a:gd name="connsiteX107" fmla="*/ 928687 w 1316831"/>
              <a:gd name="connsiteY107" fmla="*/ 1278731 h 1414462"/>
              <a:gd name="connsiteX108" fmla="*/ 890587 w 1316831"/>
              <a:gd name="connsiteY108" fmla="*/ 1271587 h 1414462"/>
              <a:gd name="connsiteX109" fmla="*/ 873918 w 1316831"/>
              <a:gd name="connsiteY109" fmla="*/ 1328737 h 1414462"/>
              <a:gd name="connsiteX110" fmla="*/ 909637 w 1316831"/>
              <a:gd name="connsiteY110" fmla="*/ 1345406 h 1414462"/>
              <a:gd name="connsiteX111" fmla="*/ 897731 w 1316831"/>
              <a:gd name="connsiteY111" fmla="*/ 1369219 h 1414462"/>
              <a:gd name="connsiteX112" fmla="*/ 788193 w 1316831"/>
              <a:gd name="connsiteY112" fmla="*/ 1402556 h 14144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</a:cxnLst>
            <a:rect l="l" t="t" r="r" b="b"/>
            <a:pathLst>
              <a:path w="1316831" h="1414462">
                <a:moveTo>
                  <a:pt x="788193" y="1402556"/>
                </a:moveTo>
                <a:lnTo>
                  <a:pt x="738187" y="1373981"/>
                </a:lnTo>
                <a:lnTo>
                  <a:pt x="704850" y="1390650"/>
                </a:lnTo>
                <a:lnTo>
                  <a:pt x="685800" y="1409700"/>
                </a:lnTo>
                <a:lnTo>
                  <a:pt x="657225" y="1414462"/>
                </a:lnTo>
                <a:lnTo>
                  <a:pt x="638175" y="1385887"/>
                </a:lnTo>
                <a:lnTo>
                  <a:pt x="650081" y="1354931"/>
                </a:lnTo>
                <a:lnTo>
                  <a:pt x="664368" y="1371600"/>
                </a:lnTo>
                <a:lnTo>
                  <a:pt x="690562" y="1359694"/>
                </a:lnTo>
                <a:lnTo>
                  <a:pt x="690562" y="1331119"/>
                </a:lnTo>
                <a:lnTo>
                  <a:pt x="673893" y="1281112"/>
                </a:lnTo>
                <a:lnTo>
                  <a:pt x="631031" y="1238250"/>
                </a:lnTo>
                <a:lnTo>
                  <a:pt x="595312" y="1223962"/>
                </a:lnTo>
                <a:lnTo>
                  <a:pt x="559593" y="1159669"/>
                </a:lnTo>
                <a:lnTo>
                  <a:pt x="471487" y="1126331"/>
                </a:lnTo>
                <a:lnTo>
                  <a:pt x="471487" y="1085850"/>
                </a:lnTo>
                <a:lnTo>
                  <a:pt x="485775" y="1031081"/>
                </a:lnTo>
                <a:lnTo>
                  <a:pt x="431006" y="1021556"/>
                </a:lnTo>
                <a:lnTo>
                  <a:pt x="376237" y="1021556"/>
                </a:lnTo>
                <a:lnTo>
                  <a:pt x="371475" y="1045369"/>
                </a:lnTo>
                <a:lnTo>
                  <a:pt x="347662" y="1023937"/>
                </a:lnTo>
                <a:lnTo>
                  <a:pt x="354806" y="992981"/>
                </a:lnTo>
                <a:lnTo>
                  <a:pt x="347662" y="938212"/>
                </a:lnTo>
                <a:lnTo>
                  <a:pt x="371475" y="912019"/>
                </a:lnTo>
                <a:lnTo>
                  <a:pt x="371475" y="888206"/>
                </a:lnTo>
                <a:lnTo>
                  <a:pt x="381000" y="821531"/>
                </a:lnTo>
                <a:lnTo>
                  <a:pt x="364331" y="771525"/>
                </a:lnTo>
                <a:lnTo>
                  <a:pt x="314325" y="692944"/>
                </a:lnTo>
                <a:lnTo>
                  <a:pt x="280987" y="654844"/>
                </a:lnTo>
                <a:lnTo>
                  <a:pt x="257175" y="585787"/>
                </a:lnTo>
                <a:lnTo>
                  <a:pt x="264318" y="419100"/>
                </a:lnTo>
                <a:lnTo>
                  <a:pt x="235743" y="371475"/>
                </a:lnTo>
                <a:lnTo>
                  <a:pt x="204787" y="350044"/>
                </a:lnTo>
                <a:lnTo>
                  <a:pt x="190500" y="304800"/>
                </a:lnTo>
                <a:lnTo>
                  <a:pt x="164306" y="280987"/>
                </a:lnTo>
                <a:lnTo>
                  <a:pt x="138112" y="264319"/>
                </a:lnTo>
                <a:lnTo>
                  <a:pt x="116681" y="273844"/>
                </a:lnTo>
                <a:lnTo>
                  <a:pt x="88106" y="264319"/>
                </a:lnTo>
                <a:lnTo>
                  <a:pt x="95250" y="223837"/>
                </a:lnTo>
                <a:lnTo>
                  <a:pt x="130968" y="216694"/>
                </a:lnTo>
                <a:lnTo>
                  <a:pt x="109537" y="178594"/>
                </a:lnTo>
                <a:lnTo>
                  <a:pt x="69056" y="178594"/>
                </a:lnTo>
                <a:lnTo>
                  <a:pt x="61912" y="133350"/>
                </a:lnTo>
                <a:lnTo>
                  <a:pt x="21431" y="100012"/>
                </a:lnTo>
                <a:lnTo>
                  <a:pt x="0" y="61912"/>
                </a:lnTo>
                <a:lnTo>
                  <a:pt x="42862" y="40481"/>
                </a:lnTo>
                <a:lnTo>
                  <a:pt x="64293" y="0"/>
                </a:lnTo>
                <a:lnTo>
                  <a:pt x="147637" y="7144"/>
                </a:lnTo>
                <a:lnTo>
                  <a:pt x="152400" y="45244"/>
                </a:lnTo>
                <a:lnTo>
                  <a:pt x="171450" y="83344"/>
                </a:lnTo>
                <a:lnTo>
                  <a:pt x="276225" y="130969"/>
                </a:lnTo>
                <a:lnTo>
                  <a:pt x="316706" y="140494"/>
                </a:lnTo>
                <a:lnTo>
                  <a:pt x="350043" y="169069"/>
                </a:lnTo>
                <a:lnTo>
                  <a:pt x="390525" y="192881"/>
                </a:lnTo>
                <a:lnTo>
                  <a:pt x="411956" y="223837"/>
                </a:lnTo>
                <a:cubicBezTo>
                  <a:pt x="413577" y="226195"/>
                  <a:pt x="415001" y="228692"/>
                  <a:pt x="416718" y="230981"/>
                </a:cubicBezTo>
                <a:cubicBezTo>
                  <a:pt x="419099" y="234156"/>
                  <a:pt x="421279" y="237493"/>
                  <a:pt x="423862" y="240506"/>
                </a:cubicBezTo>
                <a:cubicBezTo>
                  <a:pt x="426054" y="243063"/>
                  <a:pt x="431006" y="247650"/>
                  <a:pt x="431006" y="247650"/>
                </a:cubicBezTo>
                <a:lnTo>
                  <a:pt x="431006" y="247650"/>
                </a:lnTo>
                <a:lnTo>
                  <a:pt x="490537" y="233362"/>
                </a:lnTo>
                <a:lnTo>
                  <a:pt x="540543" y="259556"/>
                </a:lnTo>
                <a:lnTo>
                  <a:pt x="588168" y="292894"/>
                </a:lnTo>
                <a:lnTo>
                  <a:pt x="602456" y="297656"/>
                </a:lnTo>
                <a:lnTo>
                  <a:pt x="635793" y="245269"/>
                </a:lnTo>
                <a:lnTo>
                  <a:pt x="685800" y="280987"/>
                </a:lnTo>
                <a:lnTo>
                  <a:pt x="733425" y="271462"/>
                </a:lnTo>
                <a:lnTo>
                  <a:pt x="766762" y="280987"/>
                </a:lnTo>
                <a:lnTo>
                  <a:pt x="750093" y="250031"/>
                </a:lnTo>
                <a:lnTo>
                  <a:pt x="790575" y="228600"/>
                </a:lnTo>
                <a:lnTo>
                  <a:pt x="826293" y="192881"/>
                </a:lnTo>
                <a:lnTo>
                  <a:pt x="862012" y="209550"/>
                </a:lnTo>
                <a:lnTo>
                  <a:pt x="885825" y="245269"/>
                </a:lnTo>
                <a:lnTo>
                  <a:pt x="945356" y="240506"/>
                </a:lnTo>
                <a:lnTo>
                  <a:pt x="938212" y="280987"/>
                </a:lnTo>
                <a:lnTo>
                  <a:pt x="1012031" y="278606"/>
                </a:lnTo>
                <a:lnTo>
                  <a:pt x="981075" y="347662"/>
                </a:lnTo>
                <a:lnTo>
                  <a:pt x="966787" y="378619"/>
                </a:lnTo>
                <a:lnTo>
                  <a:pt x="988218" y="400050"/>
                </a:lnTo>
                <a:lnTo>
                  <a:pt x="985837" y="442912"/>
                </a:lnTo>
                <a:lnTo>
                  <a:pt x="1085850" y="488156"/>
                </a:lnTo>
                <a:lnTo>
                  <a:pt x="1143000" y="523875"/>
                </a:lnTo>
                <a:lnTo>
                  <a:pt x="1181100" y="528637"/>
                </a:lnTo>
                <a:lnTo>
                  <a:pt x="1281112" y="516731"/>
                </a:lnTo>
                <a:lnTo>
                  <a:pt x="1316831" y="545306"/>
                </a:lnTo>
                <a:lnTo>
                  <a:pt x="1202531" y="609600"/>
                </a:lnTo>
                <a:lnTo>
                  <a:pt x="1221581" y="633412"/>
                </a:lnTo>
                <a:lnTo>
                  <a:pt x="1183481" y="683419"/>
                </a:lnTo>
                <a:lnTo>
                  <a:pt x="1166812" y="683419"/>
                </a:lnTo>
                <a:lnTo>
                  <a:pt x="1195387" y="711994"/>
                </a:lnTo>
                <a:lnTo>
                  <a:pt x="1150143" y="723900"/>
                </a:lnTo>
                <a:lnTo>
                  <a:pt x="1123950" y="745331"/>
                </a:lnTo>
                <a:lnTo>
                  <a:pt x="1154906" y="745331"/>
                </a:lnTo>
                <a:lnTo>
                  <a:pt x="1183481" y="790575"/>
                </a:lnTo>
                <a:lnTo>
                  <a:pt x="1223962" y="828675"/>
                </a:lnTo>
                <a:lnTo>
                  <a:pt x="1216818" y="840581"/>
                </a:lnTo>
                <a:lnTo>
                  <a:pt x="1154906" y="864394"/>
                </a:lnTo>
                <a:lnTo>
                  <a:pt x="1147762" y="847725"/>
                </a:lnTo>
                <a:lnTo>
                  <a:pt x="1102518" y="895350"/>
                </a:lnTo>
                <a:lnTo>
                  <a:pt x="1052512" y="945356"/>
                </a:lnTo>
                <a:lnTo>
                  <a:pt x="1071562" y="990600"/>
                </a:lnTo>
                <a:lnTo>
                  <a:pt x="1100137" y="1000125"/>
                </a:lnTo>
                <a:lnTo>
                  <a:pt x="1092993" y="1062037"/>
                </a:lnTo>
                <a:lnTo>
                  <a:pt x="1071562" y="1112044"/>
                </a:lnTo>
                <a:lnTo>
                  <a:pt x="1057275" y="1116806"/>
                </a:lnTo>
                <a:lnTo>
                  <a:pt x="992981" y="1131094"/>
                </a:lnTo>
                <a:lnTo>
                  <a:pt x="1002506" y="1243012"/>
                </a:lnTo>
                <a:lnTo>
                  <a:pt x="966787" y="1250156"/>
                </a:lnTo>
                <a:lnTo>
                  <a:pt x="928687" y="1278731"/>
                </a:lnTo>
                <a:lnTo>
                  <a:pt x="890587" y="1271587"/>
                </a:lnTo>
                <a:lnTo>
                  <a:pt x="873918" y="1328737"/>
                </a:lnTo>
                <a:lnTo>
                  <a:pt x="909637" y="1345406"/>
                </a:lnTo>
                <a:lnTo>
                  <a:pt x="897731" y="1369219"/>
                </a:lnTo>
                <a:lnTo>
                  <a:pt x="788193" y="1402556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217" tIns="32608" rIns="65217" bIns="32608" anchor="ctr"/>
          <a:lstStyle/>
          <a:p>
            <a:pPr algn="ctr" defTabSz="914377">
              <a:defRPr/>
            </a:pPr>
            <a:endParaRPr lang="it-IT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35" name="Figura a mano libera 234"/>
          <p:cNvSpPr/>
          <p:nvPr/>
        </p:nvSpPr>
        <p:spPr bwMode="auto">
          <a:xfrm>
            <a:off x="2121642" y="3102326"/>
            <a:ext cx="880928" cy="726153"/>
          </a:xfrm>
          <a:custGeom>
            <a:avLst/>
            <a:gdLst>
              <a:gd name="connsiteX0" fmla="*/ 1190625 w 1319213"/>
              <a:gd name="connsiteY0" fmla="*/ 1078706 h 1095375"/>
              <a:gd name="connsiteX1" fmla="*/ 1121569 w 1319213"/>
              <a:gd name="connsiteY1" fmla="*/ 1052512 h 1095375"/>
              <a:gd name="connsiteX2" fmla="*/ 1102519 w 1319213"/>
              <a:gd name="connsiteY2" fmla="*/ 1059656 h 1095375"/>
              <a:gd name="connsiteX3" fmla="*/ 1092994 w 1319213"/>
              <a:gd name="connsiteY3" fmla="*/ 1064419 h 1095375"/>
              <a:gd name="connsiteX4" fmla="*/ 1090613 w 1319213"/>
              <a:gd name="connsiteY4" fmla="*/ 1095375 h 1095375"/>
              <a:gd name="connsiteX5" fmla="*/ 1090613 w 1319213"/>
              <a:gd name="connsiteY5" fmla="*/ 1095375 h 1095375"/>
              <a:gd name="connsiteX6" fmla="*/ 990600 w 1319213"/>
              <a:gd name="connsiteY6" fmla="*/ 1045369 h 1095375"/>
              <a:gd name="connsiteX7" fmla="*/ 942975 w 1319213"/>
              <a:gd name="connsiteY7" fmla="*/ 1045369 h 1095375"/>
              <a:gd name="connsiteX8" fmla="*/ 904875 w 1319213"/>
              <a:gd name="connsiteY8" fmla="*/ 1038225 h 1095375"/>
              <a:gd name="connsiteX9" fmla="*/ 866775 w 1319213"/>
              <a:gd name="connsiteY9" fmla="*/ 1062037 h 1095375"/>
              <a:gd name="connsiteX10" fmla="*/ 823913 w 1319213"/>
              <a:gd name="connsiteY10" fmla="*/ 1092994 h 1095375"/>
              <a:gd name="connsiteX11" fmla="*/ 802481 w 1319213"/>
              <a:gd name="connsiteY11" fmla="*/ 1062037 h 1095375"/>
              <a:gd name="connsiteX12" fmla="*/ 781050 w 1319213"/>
              <a:gd name="connsiteY12" fmla="*/ 997744 h 1095375"/>
              <a:gd name="connsiteX13" fmla="*/ 711994 w 1319213"/>
              <a:gd name="connsiteY13" fmla="*/ 954881 h 1095375"/>
              <a:gd name="connsiteX14" fmla="*/ 685800 w 1319213"/>
              <a:gd name="connsiteY14" fmla="*/ 950119 h 1095375"/>
              <a:gd name="connsiteX15" fmla="*/ 664369 w 1319213"/>
              <a:gd name="connsiteY15" fmla="*/ 971550 h 1095375"/>
              <a:gd name="connsiteX16" fmla="*/ 621506 w 1319213"/>
              <a:gd name="connsiteY16" fmla="*/ 919162 h 1095375"/>
              <a:gd name="connsiteX17" fmla="*/ 592931 w 1319213"/>
              <a:gd name="connsiteY17" fmla="*/ 933450 h 1095375"/>
              <a:gd name="connsiteX18" fmla="*/ 542925 w 1319213"/>
              <a:gd name="connsiteY18" fmla="*/ 852487 h 1095375"/>
              <a:gd name="connsiteX19" fmla="*/ 457200 w 1319213"/>
              <a:gd name="connsiteY19" fmla="*/ 754856 h 1095375"/>
              <a:gd name="connsiteX20" fmla="*/ 383381 w 1319213"/>
              <a:gd name="connsiteY20" fmla="*/ 726281 h 1095375"/>
              <a:gd name="connsiteX21" fmla="*/ 395288 w 1319213"/>
              <a:gd name="connsiteY21" fmla="*/ 690562 h 1095375"/>
              <a:gd name="connsiteX22" fmla="*/ 378619 w 1319213"/>
              <a:gd name="connsiteY22" fmla="*/ 652462 h 1095375"/>
              <a:gd name="connsiteX23" fmla="*/ 342900 w 1319213"/>
              <a:gd name="connsiteY23" fmla="*/ 602456 h 1095375"/>
              <a:gd name="connsiteX24" fmla="*/ 266700 w 1319213"/>
              <a:gd name="connsiteY24" fmla="*/ 545306 h 1095375"/>
              <a:gd name="connsiteX25" fmla="*/ 226219 w 1319213"/>
              <a:gd name="connsiteY25" fmla="*/ 521494 h 1095375"/>
              <a:gd name="connsiteX26" fmla="*/ 197644 w 1319213"/>
              <a:gd name="connsiteY26" fmla="*/ 545306 h 1095375"/>
              <a:gd name="connsiteX27" fmla="*/ 152400 w 1319213"/>
              <a:gd name="connsiteY27" fmla="*/ 431006 h 1095375"/>
              <a:gd name="connsiteX28" fmla="*/ 142875 w 1319213"/>
              <a:gd name="connsiteY28" fmla="*/ 395287 h 1095375"/>
              <a:gd name="connsiteX29" fmla="*/ 85725 w 1319213"/>
              <a:gd name="connsiteY29" fmla="*/ 328612 h 1095375"/>
              <a:gd name="connsiteX30" fmla="*/ 11906 w 1319213"/>
              <a:gd name="connsiteY30" fmla="*/ 304800 h 1095375"/>
              <a:gd name="connsiteX31" fmla="*/ 0 w 1319213"/>
              <a:gd name="connsiteY31" fmla="*/ 283369 h 1095375"/>
              <a:gd name="connsiteX32" fmla="*/ 23813 w 1319213"/>
              <a:gd name="connsiteY32" fmla="*/ 259556 h 1095375"/>
              <a:gd name="connsiteX33" fmla="*/ 83344 w 1319213"/>
              <a:gd name="connsiteY33" fmla="*/ 264319 h 1095375"/>
              <a:gd name="connsiteX34" fmla="*/ 95250 w 1319213"/>
              <a:gd name="connsiteY34" fmla="*/ 247650 h 1095375"/>
              <a:gd name="connsiteX35" fmla="*/ 104775 w 1319213"/>
              <a:gd name="connsiteY35" fmla="*/ 226219 h 1095375"/>
              <a:gd name="connsiteX36" fmla="*/ 73819 w 1319213"/>
              <a:gd name="connsiteY36" fmla="*/ 204787 h 1095375"/>
              <a:gd name="connsiteX37" fmla="*/ 78581 w 1319213"/>
              <a:gd name="connsiteY37" fmla="*/ 171450 h 1095375"/>
              <a:gd name="connsiteX38" fmla="*/ 119063 w 1319213"/>
              <a:gd name="connsiteY38" fmla="*/ 171450 h 1095375"/>
              <a:gd name="connsiteX39" fmla="*/ 161925 w 1319213"/>
              <a:gd name="connsiteY39" fmla="*/ 142875 h 1095375"/>
              <a:gd name="connsiteX40" fmla="*/ 173831 w 1319213"/>
              <a:gd name="connsiteY40" fmla="*/ 133350 h 1095375"/>
              <a:gd name="connsiteX41" fmla="*/ 200025 w 1319213"/>
              <a:gd name="connsiteY41" fmla="*/ 133350 h 1095375"/>
              <a:gd name="connsiteX42" fmla="*/ 190500 w 1319213"/>
              <a:gd name="connsiteY42" fmla="*/ 78581 h 1095375"/>
              <a:gd name="connsiteX43" fmla="*/ 180975 w 1319213"/>
              <a:gd name="connsiteY43" fmla="*/ 45244 h 1095375"/>
              <a:gd name="connsiteX44" fmla="*/ 180975 w 1319213"/>
              <a:gd name="connsiteY44" fmla="*/ 14287 h 1095375"/>
              <a:gd name="connsiteX45" fmla="*/ 226219 w 1319213"/>
              <a:gd name="connsiteY45" fmla="*/ 4762 h 1095375"/>
              <a:gd name="connsiteX46" fmla="*/ 259556 w 1319213"/>
              <a:gd name="connsiteY46" fmla="*/ 0 h 1095375"/>
              <a:gd name="connsiteX47" fmla="*/ 264319 w 1319213"/>
              <a:gd name="connsiteY47" fmla="*/ 28575 h 1095375"/>
              <a:gd name="connsiteX48" fmla="*/ 273844 w 1319213"/>
              <a:gd name="connsiteY48" fmla="*/ 64294 h 1095375"/>
              <a:gd name="connsiteX49" fmla="*/ 292894 w 1319213"/>
              <a:gd name="connsiteY49" fmla="*/ 66675 h 1095375"/>
              <a:gd name="connsiteX50" fmla="*/ 264319 w 1319213"/>
              <a:gd name="connsiteY50" fmla="*/ 97631 h 1095375"/>
              <a:gd name="connsiteX51" fmla="*/ 307181 w 1319213"/>
              <a:gd name="connsiteY51" fmla="*/ 114300 h 1095375"/>
              <a:gd name="connsiteX52" fmla="*/ 314325 w 1319213"/>
              <a:gd name="connsiteY52" fmla="*/ 138112 h 1095375"/>
              <a:gd name="connsiteX53" fmla="*/ 342900 w 1319213"/>
              <a:gd name="connsiteY53" fmla="*/ 119062 h 1095375"/>
              <a:gd name="connsiteX54" fmla="*/ 373856 w 1319213"/>
              <a:gd name="connsiteY54" fmla="*/ 126206 h 1095375"/>
              <a:gd name="connsiteX55" fmla="*/ 392906 w 1319213"/>
              <a:gd name="connsiteY55" fmla="*/ 97631 h 1095375"/>
              <a:gd name="connsiteX56" fmla="*/ 419100 w 1319213"/>
              <a:gd name="connsiteY56" fmla="*/ 126206 h 1095375"/>
              <a:gd name="connsiteX57" fmla="*/ 416719 w 1319213"/>
              <a:gd name="connsiteY57" fmla="*/ 150019 h 1095375"/>
              <a:gd name="connsiteX58" fmla="*/ 457200 w 1319213"/>
              <a:gd name="connsiteY58" fmla="*/ 216694 h 1095375"/>
              <a:gd name="connsiteX59" fmla="*/ 488156 w 1319213"/>
              <a:gd name="connsiteY59" fmla="*/ 259556 h 1095375"/>
              <a:gd name="connsiteX60" fmla="*/ 497681 w 1319213"/>
              <a:gd name="connsiteY60" fmla="*/ 235744 h 1095375"/>
              <a:gd name="connsiteX61" fmla="*/ 519113 w 1319213"/>
              <a:gd name="connsiteY61" fmla="*/ 273844 h 1095375"/>
              <a:gd name="connsiteX62" fmla="*/ 538163 w 1319213"/>
              <a:gd name="connsiteY62" fmla="*/ 292894 h 1095375"/>
              <a:gd name="connsiteX63" fmla="*/ 557213 w 1319213"/>
              <a:gd name="connsiteY63" fmla="*/ 309562 h 1095375"/>
              <a:gd name="connsiteX64" fmla="*/ 561975 w 1319213"/>
              <a:gd name="connsiteY64" fmla="*/ 333375 h 1095375"/>
              <a:gd name="connsiteX65" fmla="*/ 592931 w 1319213"/>
              <a:gd name="connsiteY65" fmla="*/ 302419 h 1095375"/>
              <a:gd name="connsiteX66" fmla="*/ 602456 w 1319213"/>
              <a:gd name="connsiteY66" fmla="*/ 261937 h 1095375"/>
              <a:gd name="connsiteX67" fmla="*/ 631031 w 1319213"/>
              <a:gd name="connsiteY67" fmla="*/ 278606 h 1095375"/>
              <a:gd name="connsiteX68" fmla="*/ 661988 w 1319213"/>
              <a:gd name="connsiteY68" fmla="*/ 259556 h 1095375"/>
              <a:gd name="connsiteX69" fmla="*/ 652463 w 1319213"/>
              <a:gd name="connsiteY69" fmla="*/ 238125 h 1095375"/>
              <a:gd name="connsiteX70" fmla="*/ 676275 w 1319213"/>
              <a:gd name="connsiteY70" fmla="*/ 233362 h 1095375"/>
              <a:gd name="connsiteX71" fmla="*/ 692944 w 1319213"/>
              <a:gd name="connsiteY71" fmla="*/ 209550 h 1095375"/>
              <a:gd name="connsiteX72" fmla="*/ 719138 w 1319213"/>
              <a:gd name="connsiteY72" fmla="*/ 223837 h 1095375"/>
              <a:gd name="connsiteX73" fmla="*/ 745331 w 1319213"/>
              <a:gd name="connsiteY73" fmla="*/ 183356 h 1095375"/>
              <a:gd name="connsiteX74" fmla="*/ 742950 w 1319213"/>
              <a:gd name="connsiteY74" fmla="*/ 161925 h 1095375"/>
              <a:gd name="connsiteX75" fmla="*/ 781050 w 1319213"/>
              <a:gd name="connsiteY75" fmla="*/ 164306 h 1095375"/>
              <a:gd name="connsiteX76" fmla="*/ 859631 w 1319213"/>
              <a:gd name="connsiteY76" fmla="*/ 152400 h 1095375"/>
              <a:gd name="connsiteX77" fmla="*/ 890588 w 1319213"/>
              <a:gd name="connsiteY77" fmla="*/ 145256 h 1095375"/>
              <a:gd name="connsiteX78" fmla="*/ 904875 w 1319213"/>
              <a:gd name="connsiteY78" fmla="*/ 119062 h 1095375"/>
              <a:gd name="connsiteX79" fmla="*/ 895350 w 1319213"/>
              <a:gd name="connsiteY79" fmla="*/ 83344 h 1095375"/>
              <a:gd name="connsiteX80" fmla="*/ 921544 w 1319213"/>
              <a:gd name="connsiteY80" fmla="*/ 61912 h 1095375"/>
              <a:gd name="connsiteX81" fmla="*/ 950119 w 1319213"/>
              <a:gd name="connsiteY81" fmla="*/ 92869 h 1095375"/>
              <a:gd name="connsiteX82" fmla="*/ 981075 w 1319213"/>
              <a:gd name="connsiteY82" fmla="*/ 126206 h 1095375"/>
              <a:gd name="connsiteX83" fmla="*/ 1000125 w 1319213"/>
              <a:gd name="connsiteY83" fmla="*/ 157162 h 1095375"/>
              <a:gd name="connsiteX84" fmla="*/ 1004888 w 1319213"/>
              <a:gd name="connsiteY84" fmla="*/ 190500 h 1095375"/>
              <a:gd name="connsiteX85" fmla="*/ 959644 w 1319213"/>
              <a:gd name="connsiteY85" fmla="*/ 190500 h 1095375"/>
              <a:gd name="connsiteX86" fmla="*/ 914400 w 1319213"/>
              <a:gd name="connsiteY86" fmla="*/ 180975 h 1095375"/>
              <a:gd name="connsiteX87" fmla="*/ 914400 w 1319213"/>
              <a:gd name="connsiteY87" fmla="*/ 180975 h 1095375"/>
              <a:gd name="connsiteX88" fmla="*/ 895350 w 1319213"/>
              <a:gd name="connsiteY88" fmla="*/ 214312 h 1095375"/>
              <a:gd name="connsiteX89" fmla="*/ 885825 w 1319213"/>
              <a:gd name="connsiteY89" fmla="*/ 250031 h 1095375"/>
              <a:gd name="connsiteX90" fmla="*/ 852488 w 1319213"/>
              <a:gd name="connsiteY90" fmla="*/ 290512 h 1095375"/>
              <a:gd name="connsiteX91" fmla="*/ 888206 w 1319213"/>
              <a:gd name="connsiteY91" fmla="*/ 316706 h 1095375"/>
              <a:gd name="connsiteX92" fmla="*/ 897731 w 1319213"/>
              <a:gd name="connsiteY92" fmla="*/ 369094 h 1095375"/>
              <a:gd name="connsiteX93" fmla="*/ 947738 w 1319213"/>
              <a:gd name="connsiteY93" fmla="*/ 416719 h 1095375"/>
              <a:gd name="connsiteX94" fmla="*/ 985838 w 1319213"/>
              <a:gd name="connsiteY94" fmla="*/ 440531 h 1095375"/>
              <a:gd name="connsiteX95" fmla="*/ 985838 w 1319213"/>
              <a:gd name="connsiteY95" fmla="*/ 464344 h 1095375"/>
              <a:gd name="connsiteX96" fmla="*/ 964406 w 1319213"/>
              <a:gd name="connsiteY96" fmla="*/ 469106 h 1095375"/>
              <a:gd name="connsiteX97" fmla="*/ 954881 w 1319213"/>
              <a:gd name="connsiteY97" fmla="*/ 488156 h 1095375"/>
              <a:gd name="connsiteX98" fmla="*/ 954881 w 1319213"/>
              <a:gd name="connsiteY98" fmla="*/ 488156 h 1095375"/>
              <a:gd name="connsiteX99" fmla="*/ 892969 w 1319213"/>
              <a:gd name="connsiteY99" fmla="*/ 471487 h 1095375"/>
              <a:gd name="connsiteX100" fmla="*/ 838200 w 1319213"/>
              <a:gd name="connsiteY100" fmla="*/ 445294 h 1095375"/>
              <a:gd name="connsiteX101" fmla="*/ 823913 w 1319213"/>
              <a:gd name="connsiteY101" fmla="*/ 485775 h 1095375"/>
              <a:gd name="connsiteX102" fmla="*/ 802481 w 1319213"/>
              <a:gd name="connsiteY102" fmla="*/ 490537 h 1095375"/>
              <a:gd name="connsiteX103" fmla="*/ 826294 w 1319213"/>
              <a:gd name="connsiteY103" fmla="*/ 547687 h 1095375"/>
              <a:gd name="connsiteX104" fmla="*/ 912019 w 1319213"/>
              <a:gd name="connsiteY104" fmla="*/ 578644 h 1095375"/>
              <a:gd name="connsiteX105" fmla="*/ 997744 w 1319213"/>
              <a:gd name="connsiteY105" fmla="*/ 623887 h 1095375"/>
              <a:gd name="connsiteX106" fmla="*/ 995363 w 1319213"/>
              <a:gd name="connsiteY106" fmla="*/ 704850 h 1095375"/>
              <a:gd name="connsiteX107" fmla="*/ 1028700 w 1319213"/>
              <a:gd name="connsiteY107" fmla="*/ 690562 h 1095375"/>
              <a:gd name="connsiteX108" fmla="*/ 1083469 w 1319213"/>
              <a:gd name="connsiteY108" fmla="*/ 735806 h 1095375"/>
              <a:gd name="connsiteX109" fmla="*/ 1145381 w 1319213"/>
              <a:gd name="connsiteY109" fmla="*/ 697706 h 1095375"/>
              <a:gd name="connsiteX110" fmla="*/ 1207294 w 1319213"/>
              <a:gd name="connsiteY110" fmla="*/ 750094 h 1095375"/>
              <a:gd name="connsiteX111" fmla="*/ 1262063 w 1319213"/>
              <a:gd name="connsiteY111" fmla="*/ 785812 h 1095375"/>
              <a:gd name="connsiteX112" fmla="*/ 1283494 w 1319213"/>
              <a:gd name="connsiteY112" fmla="*/ 788194 h 1095375"/>
              <a:gd name="connsiteX113" fmla="*/ 1319213 w 1319213"/>
              <a:gd name="connsiteY113" fmla="*/ 897731 h 1095375"/>
              <a:gd name="connsiteX114" fmla="*/ 1297781 w 1319213"/>
              <a:gd name="connsiteY114" fmla="*/ 914400 h 1095375"/>
              <a:gd name="connsiteX115" fmla="*/ 1293019 w 1319213"/>
              <a:gd name="connsiteY115" fmla="*/ 933450 h 1095375"/>
              <a:gd name="connsiteX116" fmla="*/ 1293019 w 1319213"/>
              <a:gd name="connsiteY116" fmla="*/ 933450 h 1095375"/>
              <a:gd name="connsiteX117" fmla="*/ 1243013 w 1319213"/>
              <a:gd name="connsiteY117" fmla="*/ 947737 h 1095375"/>
              <a:gd name="connsiteX118" fmla="*/ 1245394 w 1319213"/>
              <a:gd name="connsiteY118" fmla="*/ 1031081 h 1095375"/>
              <a:gd name="connsiteX119" fmla="*/ 1190625 w 1319213"/>
              <a:gd name="connsiteY119" fmla="*/ 1078706 h 1095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</a:cxnLst>
            <a:rect l="l" t="t" r="r" b="b"/>
            <a:pathLst>
              <a:path w="1319213" h="1095375">
                <a:moveTo>
                  <a:pt x="1190625" y="1078706"/>
                </a:moveTo>
                <a:lnTo>
                  <a:pt x="1121569" y="1052512"/>
                </a:lnTo>
                <a:lnTo>
                  <a:pt x="1102519" y="1059656"/>
                </a:lnTo>
                <a:cubicBezTo>
                  <a:pt x="1093919" y="1062783"/>
                  <a:pt x="1097325" y="1060087"/>
                  <a:pt x="1092994" y="1064419"/>
                </a:cubicBezTo>
                <a:lnTo>
                  <a:pt x="1090613" y="1095375"/>
                </a:lnTo>
                <a:lnTo>
                  <a:pt x="1090613" y="1095375"/>
                </a:lnTo>
                <a:lnTo>
                  <a:pt x="990600" y="1045369"/>
                </a:lnTo>
                <a:lnTo>
                  <a:pt x="942975" y="1045369"/>
                </a:lnTo>
                <a:lnTo>
                  <a:pt x="904875" y="1038225"/>
                </a:lnTo>
                <a:lnTo>
                  <a:pt x="866775" y="1062037"/>
                </a:lnTo>
                <a:lnTo>
                  <a:pt x="823913" y="1092994"/>
                </a:lnTo>
                <a:lnTo>
                  <a:pt x="802481" y="1062037"/>
                </a:lnTo>
                <a:lnTo>
                  <a:pt x="781050" y="997744"/>
                </a:lnTo>
                <a:lnTo>
                  <a:pt x="711994" y="954881"/>
                </a:lnTo>
                <a:lnTo>
                  <a:pt x="685800" y="950119"/>
                </a:lnTo>
                <a:lnTo>
                  <a:pt x="664369" y="971550"/>
                </a:lnTo>
                <a:lnTo>
                  <a:pt x="621506" y="919162"/>
                </a:lnTo>
                <a:lnTo>
                  <a:pt x="592931" y="933450"/>
                </a:lnTo>
                <a:lnTo>
                  <a:pt x="542925" y="852487"/>
                </a:lnTo>
                <a:lnTo>
                  <a:pt x="457200" y="754856"/>
                </a:lnTo>
                <a:lnTo>
                  <a:pt x="383381" y="726281"/>
                </a:lnTo>
                <a:lnTo>
                  <a:pt x="395288" y="690562"/>
                </a:lnTo>
                <a:lnTo>
                  <a:pt x="378619" y="652462"/>
                </a:lnTo>
                <a:lnTo>
                  <a:pt x="342900" y="602456"/>
                </a:lnTo>
                <a:lnTo>
                  <a:pt x="266700" y="545306"/>
                </a:lnTo>
                <a:lnTo>
                  <a:pt x="226219" y="521494"/>
                </a:lnTo>
                <a:lnTo>
                  <a:pt x="197644" y="545306"/>
                </a:lnTo>
                <a:lnTo>
                  <a:pt x="152400" y="431006"/>
                </a:lnTo>
                <a:lnTo>
                  <a:pt x="142875" y="395287"/>
                </a:lnTo>
                <a:lnTo>
                  <a:pt x="85725" y="328612"/>
                </a:lnTo>
                <a:lnTo>
                  <a:pt x="11906" y="304800"/>
                </a:lnTo>
                <a:lnTo>
                  <a:pt x="0" y="283369"/>
                </a:lnTo>
                <a:lnTo>
                  <a:pt x="23813" y="259556"/>
                </a:lnTo>
                <a:lnTo>
                  <a:pt x="83344" y="264319"/>
                </a:lnTo>
                <a:lnTo>
                  <a:pt x="95250" y="247650"/>
                </a:lnTo>
                <a:lnTo>
                  <a:pt x="104775" y="226219"/>
                </a:lnTo>
                <a:lnTo>
                  <a:pt x="73819" y="204787"/>
                </a:lnTo>
                <a:lnTo>
                  <a:pt x="78581" y="171450"/>
                </a:lnTo>
                <a:lnTo>
                  <a:pt x="119063" y="171450"/>
                </a:lnTo>
                <a:lnTo>
                  <a:pt x="161925" y="142875"/>
                </a:lnTo>
                <a:lnTo>
                  <a:pt x="173831" y="133350"/>
                </a:lnTo>
                <a:lnTo>
                  <a:pt x="200025" y="133350"/>
                </a:lnTo>
                <a:lnTo>
                  <a:pt x="190500" y="78581"/>
                </a:lnTo>
                <a:lnTo>
                  <a:pt x="180975" y="45244"/>
                </a:lnTo>
                <a:lnTo>
                  <a:pt x="180975" y="14287"/>
                </a:lnTo>
                <a:lnTo>
                  <a:pt x="226219" y="4762"/>
                </a:lnTo>
                <a:lnTo>
                  <a:pt x="259556" y="0"/>
                </a:lnTo>
                <a:lnTo>
                  <a:pt x="264319" y="28575"/>
                </a:lnTo>
                <a:lnTo>
                  <a:pt x="273844" y="64294"/>
                </a:lnTo>
                <a:lnTo>
                  <a:pt x="292894" y="66675"/>
                </a:lnTo>
                <a:lnTo>
                  <a:pt x="264319" y="97631"/>
                </a:lnTo>
                <a:lnTo>
                  <a:pt x="307181" y="114300"/>
                </a:lnTo>
                <a:lnTo>
                  <a:pt x="314325" y="138112"/>
                </a:lnTo>
                <a:lnTo>
                  <a:pt x="342900" y="119062"/>
                </a:lnTo>
                <a:lnTo>
                  <a:pt x="373856" y="126206"/>
                </a:lnTo>
                <a:lnTo>
                  <a:pt x="392906" y="97631"/>
                </a:lnTo>
                <a:lnTo>
                  <a:pt x="419100" y="126206"/>
                </a:lnTo>
                <a:lnTo>
                  <a:pt x="416719" y="150019"/>
                </a:lnTo>
                <a:lnTo>
                  <a:pt x="457200" y="216694"/>
                </a:lnTo>
                <a:lnTo>
                  <a:pt x="488156" y="259556"/>
                </a:lnTo>
                <a:lnTo>
                  <a:pt x="497681" y="235744"/>
                </a:lnTo>
                <a:lnTo>
                  <a:pt x="519113" y="273844"/>
                </a:lnTo>
                <a:lnTo>
                  <a:pt x="538163" y="292894"/>
                </a:lnTo>
                <a:lnTo>
                  <a:pt x="557213" y="309562"/>
                </a:lnTo>
                <a:lnTo>
                  <a:pt x="561975" y="333375"/>
                </a:lnTo>
                <a:lnTo>
                  <a:pt x="592931" y="302419"/>
                </a:lnTo>
                <a:lnTo>
                  <a:pt x="602456" y="261937"/>
                </a:lnTo>
                <a:lnTo>
                  <a:pt x="631031" y="278606"/>
                </a:lnTo>
                <a:lnTo>
                  <a:pt x="661988" y="259556"/>
                </a:lnTo>
                <a:lnTo>
                  <a:pt x="652463" y="238125"/>
                </a:lnTo>
                <a:lnTo>
                  <a:pt x="676275" y="233362"/>
                </a:lnTo>
                <a:lnTo>
                  <a:pt x="692944" y="209550"/>
                </a:lnTo>
                <a:lnTo>
                  <a:pt x="719138" y="223837"/>
                </a:lnTo>
                <a:lnTo>
                  <a:pt x="745331" y="183356"/>
                </a:lnTo>
                <a:lnTo>
                  <a:pt x="742950" y="161925"/>
                </a:lnTo>
                <a:lnTo>
                  <a:pt x="781050" y="164306"/>
                </a:lnTo>
                <a:lnTo>
                  <a:pt x="859631" y="152400"/>
                </a:lnTo>
                <a:lnTo>
                  <a:pt x="890588" y="145256"/>
                </a:lnTo>
                <a:lnTo>
                  <a:pt x="904875" y="119062"/>
                </a:lnTo>
                <a:lnTo>
                  <a:pt x="895350" y="83344"/>
                </a:lnTo>
                <a:lnTo>
                  <a:pt x="921544" y="61912"/>
                </a:lnTo>
                <a:lnTo>
                  <a:pt x="950119" y="92869"/>
                </a:lnTo>
                <a:lnTo>
                  <a:pt x="981075" y="126206"/>
                </a:lnTo>
                <a:lnTo>
                  <a:pt x="1000125" y="157162"/>
                </a:lnTo>
                <a:lnTo>
                  <a:pt x="1004888" y="190500"/>
                </a:lnTo>
                <a:lnTo>
                  <a:pt x="959644" y="190500"/>
                </a:lnTo>
                <a:lnTo>
                  <a:pt x="914400" y="180975"/>
                </a:lnTo>
                <a:lnTo>
                  <a:pt x="914400" y="180975"/>
                </a:lnTo>
                <a:lnTo>
                  <a:pt x="895350" y="214312"/>
                </a:lnTo>
                <a:lnTo>
                  <a:pt x="885825" y="250031"/>
                </a:lnTo>
                <a:lnTo>
                  <a:pt x="852488" y="290512"/>
                </a:lnTo>
                <a:lnTo>
                  <a:pt x="888206" y="316706"/>
                </a:lnTo>
                <a:lnTo>
                  <a:pt x="897731" y="369094"/>
                </a:lnTo>
                <a:lnTo>
                  <a:pt x="947738" y="416719"/>
                </a:lnTo>
                <a:lnTo>
                  <a:pt x="985838" y="440531"/>
                </a:lnTo>
                <a:lnTo>
                  <a:pt x="985838" y="464344"/>
                </a:lnTo>
                <a:cubicBezTo>
                  <a:pt x="978694" y="465931"/>
                  <a:pt x="970639" y="465271"/>
                  <a:pt x="964406" y="469106"/>
                </a:cubicBezTo>
                <a:cubicBezTo>
                  <a:pt x="954001" y="475509"/>
                  <a:pt x="954881" y="480223"/>
                  <a:pt x="954881" y="488156"/>
                </a:cubicBezTo>
                <a:lnTo>
                  <a:pt x="954881" y="488156"/>
                </a:lnTo>
                <a:lnTo>
                  <a:pt x="892969" y="471487"/>
                </a:lnTo>
                <a:lnTo>
                  <a:pt x="838200" y="445294"/>
                </a:lnTo>
                <a:lnTo>
                  <a:pt x="823913" y="485775"/>
                </a:lnTo>
                <a:lnTo>
                  <a:pt x="802481" y="490537"/>
                </a:lnTo>
                <a:lnTo>
                  <a:pt x="826294" y="547687"/>
                </a:lnTo>
                <a:lnTo>
                  <a:pt x="912019" y="578644"/>
                </a:lnTo>
                <a:lnTo>
                  <a:pt x="997744" y="623887"/>
                </a:lnTo>
                <a:cubicBezTo>
                  <a:pt x="996950" y="650875"/>
                  <a:pt x="996157" y="677862"/>
                  <a:pt x="995363" y="704850"/>
                </a:cubicBezTo>
                <a:lnTo>
                  <a:pt x="1028700" y="690562"/>
                </a:lnTo>
                <a:lnTo>
                  <a:pt x="1083469" y="735806"/>
                </a:lnTo>
                <a:lnTo>
                  <a:pt x="1145381" y="697706"/>
                </a:lnTo>
                <a:lnTo>
                  <a:pt x="1207294" y="750094"/>
                </a:lnTo>
                <a:lnTo>
                  <a:pt x="1262063" y="785812"/>
                </a:lnTo>
                <a:lnTo>
                  <a:pt x="1283494" y="788194"/>
                </a:lnTo>
                <a:lnTo>
                  <a:pt x="1319213" y="897731"/>
                </a:lnTo>
                <a:lnTo>
                  <a:pt x="1297781" y="914400"/>
                </a:lnTo>
                <a:lnTo>
                  <a:pt x="1293019" y="933450"/>
                </a:lnTo>
                <a:lnTo>
                  <a:pt x="1293019" y="933450"/>
                </a:lnTo>
                <a:lnTo>
                  <a:pt x="1243013" y="947737"/>
                </a:lnTo>
                <a:cubicBezTo>
                  <a:pt x="1243807" y="975518"/>
                  <a:pt x="1244600" y="1003300"/>
                  <a:pt x="1245394" y="1031081"/>
                </a:cubicBezTo>
                <a:lnTo>
                  <a:pt x="1190625" y="1078706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217" tIns="32608" rIns="65217" bIns="32608" anchor="ctr"/>
          <a:lstStyle/>
          <a:p>
            <a:pPr algn="ctr" defTabSz="914377">
              <a:defRPr/>
            </a:pPr>
            <a:endParaRPr lang="it-IT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36" name="Figura a mano libera 235"/>
          <p:cNvSpPr/>
          <p:nvPr/>
        </p:nvSpPr>
        <p:spPr bwMode="auto">
          <a:xfrm>
            <a:off x="2299059" y="2770336"/>
            <a:ext cx="464489" cy="559535"/>
          </a:xfrm>
          <a:custGeom>
            <a:avLst/>
            <a:gdLst>
              <a:gd name="connsiteX0" fmla="*/ 673894 w 692944"/>
              <a:gd name="connsiteY0" fmla="*/ 564357 h 845344"/>
              <a:gd name="connsiteX1" fmla="*/ 692944 w 692944"/>
              <a:gd name="connsiteY1" fmla="*/ 535782 h 845344"/>
              <a:gd name="connsiteX2" fmla="*/ 681037 w 692944"/>
              <a:gd name="connsiteY2" fmla="*/ 509588 h 845344"/>
              <a:gd name="connsiteX3" fmla="*/ 626269 w 692944"/>
              <a:gd name="connsiteY3" fmla="*/ 531019 h 845344"/>
              <a:gd name="connsiteX4" fmla="*/ 595312 w 692944"/>
              <a:gd name="connsiteY4" fmla="*/ 490538 h 845344"/>
              <a:gd name="connsiteX5" fmla="*/ 564356 w 692944"/>
              <a:gd name="connsiteY5" fmla="*/ 478632 h 845344"/>
              <a:gd name="connsiteX6" fmla="*/ 554831 w 692944"/>
              <a:gd name="connsiteY6" fmla="*/ 492919 h 845344"/>
              <a:gd name="connsiteX7" fmla="*/ 554831 w 692944"/>
              <a:gd name="connsiteY7" fmla="*/ 492919 h 845344"/>
              <a:gd name="connsiteX8" fmla="*/ 528637 w 692944"/>
              <a:gd name="connsiteY8" fmla="*/ 478632 h 845344"/>
              <a:gd name="connsiteX9" fmla="*/ 507206 w 692944"/>
              <a:gd name="connsiteY9" fmla="*/ 445294 h 845344"/>
              <a:gd name="connsiteX10" fmla="*/ 509587 w 692944"/>
              <a:gd name="connsiteY10" fmla="*/ 409575 h 845344"/>
              <a:gd name="connsiteX11" fmla="*/ 504825 w 692944"/>
              <a:gd name="connsiteY11" fmla="*/ 369094 h 845344"/>
              <a:gd name="connsiteX12" fmla="*/ 490537 w 692944"/>
              <a:gd name="connsiteY12" fmla="*/ 328613 h 845344"/>
              <a:gd name="connsiteX13" fmla="*/ 490537 w 692944"/>
              <a:gd name="connsiteY13" fmla="*/ 328613 h 845344"/>
              <a:gd name="connsiteX14" fmla="*/ 481012 w 692944"/>
              <a:gd name="connsiteY14" fmla="*/ 300038 h 845344"/>
              <a:gd name="connsiteX15" fmla="*/ 478631 w 692944"/>
              <a:gd name="connsiteY15" fmla="*/ 273844 h 845344"/>
              <a:gd name="connsiteX16" fmla="*/ 454819 w 692944"/>
              <a:gd name="connsiteY16" fmla="*/ 252413 h 845344"/>
              <a:gd name="connsiteX17" fmla="*/ 457200 w 692944"/>
              <a:gd name="connsiteY17" fmla="*/ 235744 h 845344"/>
              <a:gd name="connsiteX18" fmla="*/ 452437 w 692944"/>
              <a:gd name="connsiteY18" fmla="*/ 204788 h 845344"/>
              <a:gd name="connsiteX19" fmla="*/ 452437 w 692944"/>
              <a:gd name="connsiteY19" fmla="*/ 190500 h 845344"/>
              <a:gd name="connsiteX20" fmla="*/ 428625 w 692944"/>
              <a:gd name="connsiteY20" fmla="*/ 166688 h 845344"/>
              <a:gd name="connsiteX21" fmla="*/ 428625 w 692944"/>
              <a:gd name="connsiteY21" fmla="*/ 166688 h 845344"/>
              <a:gd name="connsiteX22" fmla="*/ 445294 w 692944"/>
              <a:gd name="connsiteY22" fmla="*/ 142875 h 845344"/>
              <a:gd name="connsiteX23" fmla="*/ 440531 w 692944"/>
              <a:gd name="connsiteY23" fmla="*/ 123825 h 845344"/>
              <a:gd name="connsiteX24" fmla="*/ 383381 w 692944"/>
              <a:gd name="connsiteY24" fmla="*/ 126207 h 845344"/>
              <a:gd name="connsiteX25" fmla="*/ 383381 w 692944"/>
              <a:gd name="connsiteY25" fmla="*/ 126207 h 845344"/>
              <a:gd name="connsiteX26" fmla="*/ 345281 w 692944"/>
              <a:gd name="connsiteY26" fmla="*/ 130969 h 845344"/>
              <a:gd name="connsiteX27" fmla="*/ 319087 w 692944"/>
              <a:gd name="connsiteY27" fmla="*/ 90488 h 845344"/>
              <a:gd name="connsiteX28" fmla="*/ 304800 w 692944"/>
              <a:gd name="connsiteY28" fmla="*/ 59532 h 845344"/>
              <a:gd name="connsiteX29" fmla="*/ 276225 w 692944"/>
              <a:gd name="connsiteY29" fmla="*/ 52388 h 845344"/>
              <a:gd name="connsiteX30" fmla="*/ 271462 w 692944"/>
              <a:gd name="connsiteY30" fmla="*/ 71438 h 845344"/>
              <a:gd name="connsiteX31" fmla="*/ 250031 w 692944"/>
              <a:gd name="connsiteY31" fmla="*/ 69057 h 845344"/>
              <a:gd name="connsiteX32" fmla="*/ 211931 w 692944"/>
              <a:gd name="connsiteY32" fmla="*/ 54769 h 845344"/>
              <a:gd name="connsiteX33" fmla="*/ 245269 w 692944"/>
              <a:gd name="connsiteY33" fmla="*/ 50007 h 845344"/>
              <a:gd name="connsiteX34" fmla="*/ 247650 w 692944"/>
              <a:gd name="connsiteY34" fmla="*/ 47625 h 845344"/>
              <a:gd name="connsiteX35" fmla="*/ 230981 w 692944"/>
              <a:gd name="connsiteY35" fmla="*/ 28575 h 845344"/>
              <a:gd name="connsiteX36" fmla="*/ 257175 w 692944"/>
              <a:gd name="connsiteY36" fmla="*/ 0 h 845344"/>
              <a:gd name="connsiteX37" fmla="*/ 200025 w 692944"/>
              <a:gd name="connsiteY37" fmla="*/ 26194 h 845344"/>
              <a:gd name="connsiteX38" fmla="*/ 166687 w 692944"/>
              <a:gd name="connsiteY38" fmla="*/ 9525 h 845344"/>
              <a:gd name="connsiteX39" fmla="*/ 150019 w 692944"/>
              <a:gd name="connsiteY39" fmla="*/ 42863 h 845344"/>
              <a:gd name="connsiteX40" fmla="*/ 121444 w 692944"/>
              <a:gd name="connsiteY40" fmla="*/ 83344 h 845344"/>
              <a:gd name="connsiteX41" fmla="*/ 107156 w 692944"/>
              <a:gd name="connsiteY41" fmla="*/ 83344 h 845344"/>
              <a:gd name="connsiteX42" fmla="*/ 119062 w 692944"/>
              <a:gd name="connsiteY42" fmla="*/ 104775 h 845344"/>
              <a:gd name="connsiteX43" fmla="*/ 126206 w 692944"/>
              <a:gd name="connsiteY43" fmla="*/ 107157 h 845344"/>
              <a:gd name="connsiteX44" fmla="*/ 97631 w 692944"/>
              <a:gd name="connsiteY44" fmla="*/ 111919 h 845344"/>
              <a:gd name="connsiteX45" fmla="*/ 69056 w 692944"/>
              <a:gd name="connsiteY45" fmla="*/ 133350 h 845344"/>
              <a:gd name="connsiteX46" fmla="*/ 100012 w 692944"/>
              <a:gd name="connsiteY46" fmla="*/ 145257 h 845344"/>
              <a:gd name="connsiteX47" fmla="*/ 114300 w 692944"/>
              <a:gd name="connsiteY47" fmla="*/ 176213 h 845344"/>
              <a:gd name="connsiteX48" fmla="*/ 133350 w 692944"/>
              <a:gd name="connsiteY48" fmla="*/ 197644 h 845344"/>
              <a:gd name="connsiteX49" fmla="*/ 154781 w 692944"/>
              <a:gd name="connsiteY49" fmla="*/ 228600 h 845344"/>
              <a:gd name="connsiteX50" fmla="*/ 133350 w 692944"/>
              <a:gd name="connsiteY50" fmla="*/ 247650 h 845344"/>
              <a:gd name="connsiteX51" fmla="*/ 95250 w 692944"/>
              <a:gd name="connsiteY51" fmla="*/ 261938 h 845344"/>
              <a:gd name="connsiteX52" fmla="*/ 83344 w 692944"/>
              <a:gd name="connsiteY52" fmla="*/ 233363 h 845344"/>
              <a:gd name="connsiteX53" fmla="*/ 45244 w 692944"/>
              <a:gd name="connsiteY53" fmla="*/ 290513 h 845344"/>
              <a:gd name="connsiteX54" fmla="*/ 0 w 692944"/>
              <a:gd name="connsiteY54" fmla="*/ 323850 h 845344"/>
              <a:gd name="connsiteX55" fmla="*/ 0 w 692944"/>
              <a:gd name="connsiteY55" fmla="*/ 338138 h 845344"/>
              <a:gd name="connsiteX56" fmla="*/ 4762 w 692944"/>
              <a:gd name="connsiteY56" fmla="*/ 361950 h 845344"/>
              <a:gd name="connsiteX57" fmla="*/ 4762 w 692944"/>
              <a:gd name="connsiteY57" fmla="*/ 361950 h 845344"/>
              <a:gd name="connsiteX58" fmla="*/ 35719 w 692944"/>
              <a:gd name="connsiteY58" fmla="*/ 392907 h 845344"/>
              <a:gd name="connsiteX59" fmla="*/ 35719 w 692944"/>
              <a:gd name="connsiteY59" fmla="*/ 423863 h 845344"/>
              <a:gd name="connsiteX60" fmla="*/ 33337 w 692944"/>
              <a:gd name="connsiteY60" fmla="*/ 473869 h 845344"/>
              <a:gd name="connsiteX61" fmla="*/ 33337 w 692944"/>
              <a:gd name="connsiteY61" fmla="*/ 473869 h 845344"/>
              <a:gd name="connsiteX62" fmla="*/ 16669 w 692944"/>
              <a:gd name="connsiteY62" fmla="*/ 507207 h 845344"/>
              <a:gd name="connsiteX63" fmla="*/ 14287 w 692944"/>
              <a:gd name="connsiteY63" fmla="*/ 528638 h 845344"/>
              <a:gd name="connsiteX64" fmla="*/ 9525 w 692944"/>
              <a:gd name="connsiteY64" fmla="*/ 566738 h 845344"/>
              <a:gd name="connsiteX65" fmla="*/ 35719 w 692944"/>
              <a:gd name="connsiteY65" fmla="*/ 573882 h 845344"/>
              <a:gd name="connsiteX66" fmla="*/ 11906 w 692944"/>
              <a:gd name="connsiteY66" fmla="*/ 614363 h 845344"/>
              <a:gd name="connsiteX67" fmla="*/ 52387 w 692944"/>
              <a:gd name="connsiteY67" fmla="*/ 616744 h 845344"/>
              <a:gd name="connsiteX68" fmla="*/ 57150 w 692944"/>
              <a:gd name="connsiteY68" fmla="*/ 645319 h 845344"/>
              <a:gd name="connsiteX69" fmla="*/ 61912 w 692944"/>
              <a:gd name="connsiteY69" fmla="*/ 628650 h 845344"/>
              <a:gd name="connsiteX70" fmla="*/ 114300 w 692944"/>
              <a:gd name="connsiteY70" fmla="*/ 640557 h 845344"/>
              <a:gd name="connsiteX71" fmla="*/ 140494 w 692944"/>
              <a:gd name="connsiteY71" fmla="*/ 607219 h 845344"/>
              <a:gd name="connsiteX72" fmla="*/ 164306 w 692944"/>
              <a:gd name="connsiteY72" fmla="*/ 640557 h 845344"/>
              <a:gd name="connsiteX73" fmla="*/ 185737 w 692944"/>
              <a:gd name="connsiteY73" fmla="*/ 716757 h 845344"/>
              <a:gd name="connsiteX74" fmla="*/ 226219 w 692944"/>
              <a:gd name="connsiteY74" fmla="*/ 771525 h 845344"/>
              <a:gd name="connsiteX75" fmla="*/ 238125 w 692944"/>
              <a:gd name="connsiteY75" fmla="*/ 745332 h 845344"/>
              <a:gd name="connsiteX76" fmla="*/ 285750 w 692944"/>
              <a:gd name="connsiteY76" fmla="*/ 807244 h 845344"/>
              <a:gd name="connsiteX77" fmla="*/ 304800 w 692944"/>
              <a:gd name="connsiteY77" fmla="*/ 819150 h 845344"/>
              <a:gd name="connsiteX78" fmla="*/ 304800 w 692944"/>
              <a:gd name="connsiteY78" fmla="*/ 845344 h 845344"/>
              <a:gd name="connsiteX79" fmla="*/ 342900 w 692944"/>
              <a:gd name="connsiteY79" fmla="*/ 812007 h 845344"/>
              <a:gd name="connsiteX80" fmla="*/ 354806 w 692944"/>
              <a:gd name="connsiteY80" fmla="*/ 762000 h 845344"/>
              <a:gd name="connsiteX81" fmla="*/ 400050 w 692944"/>
              <a:gd name="connsiteY81" fmla="*/ 790575 h 845344"/>
              <a:gd name="connsiteX82" fmla="*/ 409575 w 692944"/>
              <a:gd name="connsiteY82" fmla="*/ 773907 h 845344"/>
              <a:gd name="connsiteX83" fmla="*/ 404812 w 692944"/>
              <a:gd name="connsiteY83" fmla="*/ 740569 h 845344"/>
              <a:gd name="connsiteX84" fmla="*/ 428625 w 692944"/>
              <a:gd name="connsiteY84" fmla="*/ 733425 h 845344"/>
              <a:gd name="connsiteX85" fmla="*/ 438150 w 692944"/>
              <a:gd name="connsiteY85" fmla="*/ 721519 h 845344"/>
              <a:gd name="connsiteX86" fmla="*/ 481012 w 692944"/>
              <a:gd name="connsiteY86" fmla="*/ 735807 h 845344"/>
              <a:gd name="connsiteX87" fmla="*/ 485775 w 692944"/>
              <a:gd name="connsiteY87" fmla="*/ 669132 h 845344"/>
              <a:gd name="connsiteX88" fmla="*/ 619125 w 692944"/>
              <a:gd name="connsiteY88" fmla="*/ 669132 h 845344"/>
              <a:gd name="connsiteX89" fmla="*/ 654844 w 692944"/>
              <a:gd name="connsiteY89" fmla="*/ 652463 h 845344"/>
              <a:gd name="connsiteX90" fmla="*/ 635794 w 692944"/>
              <a:gd name="connsiteY90" fmla="*/ 626269 h 845344"/>
              <a:gd name="connsiteX91" fmla="*/ 673894 w 692944"/>
              <a:gd name="connsiteY91" fmla="*/ 564357 h 8453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692944" h="845344">
                <a:moveTo>
                  <a:pt x="673894" y="564357"/>
                </a:moveTo>
                <a:lnTo>
                  <a:pt x="692944" y="535782"/>
                </a:lnTo>
                <a:lnTo>
                  <a:pt x="681037" y="509588"/>
                </a:lnTo>
                <a:lnTo>
                  <a:pt x="626269" y="531019"/>
                </a:lnTo>
                <a:lnTo>
                  <a:pt x="595312" y="490538"/>
                </a:lnTo>
                <a:lnTo>
                  <a:pt x="564356" y="478632"/>
                </a:lnTo>
                <a:lnTo>
                  <a:pt x="554831" y="492919"/>
                </a:lnTo>
                <a:lnTo>
                  <a:pt x="554831" y="492919"/>
                </a:lnTo>
                <a:lnTo>
                  <a:pt x="528637" y="478632"/>
                </a:lnTo>
                <a:lnTo>
                  <a:pt x="507206" y="445294"/>
                </a:lnTo>
                <a:lnTo>
                  <a:pt x="509587" y="409575"/>
                </a:lnTo>
                <a:lnTo>
                  <a:pt x="504825" y="369094"/>
                </a:lnTo>
                <a:lnTo>
                  <a:pt x="490537" y="328613"/>
                </a:lnTo>
                <a:lnTo>
                  <a:pt x="490537" y="328613"/>
                </a:lnTo>
                <a:lnTo>
                  <a:pt x="481012" y="300038"/>
                </a:lnTo>
                <a:lnTo>
                  <a:pt x="478631" y="273844"/>
                </a:lnTo>
                <a:lnTo>
                  <a:pt x="454819" y="252413"/>
                </a:lnTo>
                <a:lnTo>
                  <a:pt x="457200" y="235744"/>
                </a:lnTo>
                <a:lnTo>
                  <a:pt x="452437" y="204788"/>
                </a:lnTo>
                <a:lnTo>
                  <a:pt x="452437" y="190500"/>
                </a:lnTo>
                <a:lnTo>
                  <a:pt x="428625" y="166688"/>
                </a:lnTo>
                <a:lnTo>
                  <a:pt x="428625" y="166688"/>
                </a:lnTo>
                <a:lnTo>
                  <a:pt x="445294" y="142875"/>
                </a:lnTo>
                <a:lnTo>
                  <a:pt x="440531" y="123825"/>
                </a:lnTo>
                <a:lnTo>
                  <a:pt x="383381" y="126207"/>
                </a:lnTo>
                <a:lnTo>
                  <a:pt x="383381" y="126207"/>
                </a:lnTo>
                <a:lnTo>
                  <a:pt x="345281" y="130969"/>
                </a:lnTo>
                <a:lnTo>
                  <a:pt x="319087" y="90488"/>
                </a:lnTo>
                <a:lnTo>
                  <a:pt x="304800" y="59532"/>
                </a:lnTo>
                <a:lnTo>
                  <a:pt x="276225" y="52388"/>
                </a:lnTo>
                <a:lnTo>
                  <a:pt x="271462" y="71438"/>
                </a:lnTo>
                <a:lnTo>
                  <a:pt x="250031" y="69057"/>
                </a:lnTo>
                <a:lnTo>
                  <a:pt x="211931" y="54769"/>
                </a:lnTo>
                <a:cubicBezTo>
                  <a:pt x="217953" y="54167"/>
                  <a:pt x="236640" y="53459"/>
                  <a:pt x="245269" y="50007"/>
                </a:cubicBezTo>
                <a:cubicBezTo>
                  <a:pt x="246311" y="49590"/>
                  <a:pt x="246856" y="48419"/>
                  <a:pt x="247650" y="47625"/>
                </a:cubicBezTo>
                <a:lnTo>
                  <a:pt x="230981" y="28575"/>
                </a:lnTo>
                <a:lnTo>
                  <a:pt x="257175" y="0"/>
                </a:lnTo>
                <a:lnTo>
                  <a:pt x="200025" y="26194"/>
                </a:lnTo>
                <a:lnTo>
                  <a:pt x="166687" y="9525"/>
                </a:lnTo>
                <a:lnTo>
                  <a:pt x="150019" y="42863"/>
                </a:lnTo>
                <a:lnTo>
                  <a:pt x="121444" y="83344"/>
                </a:lnTo>
                <a:lnTo>
                  <a:pt x="107156" y="83344"/>
                </a:lnTo>
                <a:cubicBezTo>
                  <a:pt x="117183" y="103398"/>
                  <a:pt x="111661" y="97374"/>
                  <a:pt x="119062" y="104775"/>
                </a:cubicBezTo>
                <a:lnTo>
                  <a:pt x="126206" y="107157"/>
                </a:lnTo>
                <a:lnTo>
                  <a:pt x="97631" y="111919"/>
                </a:lnTo>
                <a:lnTo>
                  <a:pt x="69056" y="133350"/>
                </a:lnTo>
                <a:lnTo>
                  <a:pt x="100012" y="145257"/>
                </a:lnTo>
                <a:lnTo>
                  <a:pt x="114300" y="176213"/>
                </a:lnTo>
                <a:lnTo>
                  <a:pt x="133350" y="197644"/>
                </a:lnTo>
                <a:lnTo>
                  <a:pt x="154781" y="228600"/>
                </a:lnTo>
                <a:lnTo>
                  <a:pt x="133350" y="247650"/>
                </a:lnTo>
                <a:lnTo>
                  <a:pt x="95250" y="261938"/>
                </a:lnTo>
                <a:lnTo>
                  <a:pt x="83344" y="233363"/>
                </a:lnTo>
                <a:lnTo>
                  <a:pt x="45244" y="290513"/>
                </a:lnTo>
                <a:lnTo>
                  <a:pt x="0" y="323850"/>
                </a:lnTo>
                <a:lnTo>
                  <a:pt x="0" y="338138"/>
                </a:lnTo>
                <a:lnTo>
                  <a:pt x="4762" y="361950"/>
                </a:lnTo>
                <a:lnTo>
                  <a:pt x="4762" y="361950"/>
                </a:lnTo>
                <a:lnTo>
                  <a:pt x="35719" y="392907"/>
                </a:lnTo>
                <a:lnTo>
                  <a:pt x="35719" y="423863"/>
                </a:lnTo>
                <a:lnTo>
                  <a:pt x="33337" y="473869"/>
                </a:lnTo>
                <a:lnTo>
                  <a:pt x="33337" y="473869"/>
                </a:lnTo>
                <a:lnTo>
                  <a:pt x="16669" y="507207"/>
                </a:lnTo>
                <a:lnTo>
                  <a:pt x="14287" y="528638"/>
                </a:lnTo>
                <a:lnTo>
                  <a:pt x="9525" y="566738"/>
                </a:lnTo>
                <a:lnTo>
                  <a:pt x="35719" y="573882"/>
                </a:lnTo>
                <a:lnTo>
                  <a:pt x="11906" y="614363"/>
                </a:lnTo>
                <a:lnTo>
                  <a:pt x="52387" y="616744"/>
                </a:lnTo>
                <a:lnTo>
                  <a:pt x="57150" y="645319"/>
                </a:lnTo>
                <a:lnTo>
                  <a:pt x="61912" y="628650"/>
                </a:lnTo>
                <a:lnTo>
                  <a:pt x="114300" y="640557"/>
                </a:lnTo>
                <a:lnTo>
                  <a:pt x="140494" y="607219"/>
                </a:lnTo>
                <a:lnTo>
                  <a:pt x="164306" y="640557"/>
                </a:lnTo>
                <a:lnTo>
                  <a:pt x="185737" y="716757"/>
                </a:lnTo>
                <a:lnTo>
                  <a:pt x="226219" y="771525"/>
                </a:lnTo>
                <a:lnTo>
                  <a:pt x="238125" y="745332"/>
                </a:lnTo>
                <a:lnTo>
                  <a:pt x="285750" y="807244"/>
                </a:lnTo>
                <a:lnTo>
                  <a:pt x="304800" y="819150"/>
                </a:lnTo>
                <a:lnTo>
                  <a:pt x="304800" y="845344"/>
                </a:lnTo>
                <a:lnTo>
                  <a:pt x="342900" y="812007"/>
                </a:lnTo>
                <a:lnTo>
                  <a:pt x="354806" y="762000"/>
                </a:lnTo>
                <a:lnTo>
                  <a:pt x="400050" y="790575"/>
                </a:lnTo>
                <a:lnTo>
                  <a:pt x="409575" y="773907"/>
                </a:lnTo>
                <a:lnTo>
                  <a:pt x="404812" y="740569"/>
                </a:lnTo>
                <a:lnTo>
                  <a:pt x="428625" y="733425"/>
                </a:lnTo>
                <a:lnTo>
                  <a:pt x="438150" y="721519"/>
                </a:lnTo>
                <a:lnTo>
                  <a:pt x="481012" y="735807"/>
                </a:lnTo>
                <a:lnTo>
                  <a:pt x="485775" y="669132"/>
                </a:lnTo>
                <a:lnTo>
                  <a:pt x="619125" y="669132"/>
                </a:lnTo>
                <a:lnTo>
                  <a:pt x="654844" y="652463"/>
                </a:lnTo>
                <a:lnTo>
                  <a:pt x="635794" y="626269"/>
                </a:lnTo>
                <a:lnTo>
                  <a:pt x="673894" y="564357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217" tIns="32608" rIns="65217" bIns="32608" anchor="ctr"/>
          <a:lstStyle/>
          <a:p>
            <a:pPr algn="ctr" defTabSz="914377">
              <a:defRPr/>
            </a:pPr>
            <a:endParaRPr lang="it-IT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37" name="Figura a mano libera 236"/>
          <p:cNvSpPr/>
          <p:nvPr/>
        </p:nvSpPr>
        <p:spPr bwMode="auto">
          <a:xfrm>
            <a:off x="2369287" y="2619882"/>
            <a:ext cx="603713" cy="564509"/>
          </a:xfrm>
          <a:custGeom>
            <a:avLst/>
            <a:gdLst>
              <a:gd name="connsiteX0" fmla="*/ 40481 w 902494"/>
              <a:gd name="connsiteY0" fmla="*/ 221456 h 852487"/>
              <a:gd name="connsiteX1" fmla="*/ 71437 w 902494"/>
              <a:gd name="connsiteY1" fmla="*/ 200025 h 852487"/>
              <a:gd name="connsiteX2" fmla="*/ 121444 w 902494"/>
              <a:gd name="connsiteY2" fmla="*/ 176212 h 852487"/>
              <a:gd name="connsiteX3" fmla="*/ 145256 w 902494"/>
              <a:gd name="connsiteY3" fmla="*/ 166687 h 852487"/>
              <a:gd name="connsiteX4" fmla="*/ 116681 w 902494"/>
              <a:gd name="connsiteY4" fmla="*/ 130968 h 852487"/>
              <a:gd name="connsiteX5" fmla="*/ 66675 w 902494"/>
              <a:gd name="connsiteY5" fmla="*/ 135731 h 852487"/>
              <a:gd name="connsiteX6" fmla="*/ 42862 w 902494"/>
              <a:gd name="connsiteY6" fmla="*/ 138112 h 852487"/>
              <a:gd name="connsiteX7" fmla="*/ 0 w 902494"/>
              <a:gd name="connsiteY7" fmla="*/ 138112 h 852487"/>
              <a:gd name="connsiteX8" fmla="*/ 23812 w 902494"/>
              <a:gd name="connsiteY8" fmla="*/ 88106 h 852487"/>
              <a:gd name="connsiteX9" fmla="*/ 47625 w 902494"/>
              <a:gd name="connsiteY9" fmla="*/ 23812 h 852487"/>
              <a:gd name="connsiteX10" fmla="*/ 80962 w 902494"/>
              <a:gd name="connsiteY10" fmla="*/ 28575 h 852487"/>
              <a:gd name="connsiteX11" fmla="*/ 123825 w 902494"/>
              <a:gd name="connsiteY11" fmla="*/ 11906 h 852487"/>
              <a:gd name="connsiteX12" fmla="*/ 161925 w 902494"/>
              <a:gd name="connsiteY12" fmla="*/ 0 h 852487"/>
              <a:gd name="connsiteX13" fmla="*/ 190500 w 902494"/>
              <a:gd name="connsiteY13" fmla="*/ 33337 h 852487"/>
              <a:gd name="connsiteX14" fmla="*/ 216694 w 902494"/>
              <a:gd name="connsiteY14" fmla="*/ 28575 h 852487"/>
              <a:gd name="connsiteX15" fmla="*/ 235744 w 902494"/>
              <a:gd name="connsiteY15" fmla="*/ 61912 h 852487"/>
              <a:gd name="connsiteX16" fmla="*/ 235744 w 902494"/>
              <a:gd name="connsiteY16" fmla="*/ 61912 h 852487"/>
              <a:gd name="connsiteX17" fmla="*/ 273844 w 902494"/>
              <a:gd name="connsiteY17" fmla="*/ 97631 h 852487"/>
              <a:gd name="connsiteX18" fmla="*/ 302419 w 902494"/>
              <a:gd name="connsiteY18" fmla="*/ 95250 h 852487"/>
              <a:gd name="connsiteX19" fmla="*/ 316706 w 902494"/>
              <a:gd name="connsiteY19" fmla="*/ 59531 h 852487"/>
              <a:gd name="connsiteX20" fmla="*/ 340519 w 902494"/>
              <a:gd name="connsiteY20" fmla="*/ 50006 h 852487"/>
              <a:gd name="connsiteX21" fmla="*/ 359569 w 902494"/>
              <a:gd name="connsiteY21" fmla="*/ 23812 h 852487"/>
              <a:gd name="connsiteX22" fmla="*/ 352425 w 902494"/>
              <a:gd name="connsiteY22" fmla="*/ 0 h 852487"/>
              <a:gd name="connsiteX23" fmla="*/ 378619 w 902494"/>
              <a:gd name="connsiteY23" fmla="*/ 9525 h 852487"/>
              <a:gd name="connsiteX24" fmla="*/ 402431 w 902494"/>
              <a:gd name="connsiteY24" fmla="*/ 19050 h 852487"/>
              <a:gd name="connsiteX25" fmla="*/ 461962 w 902494"/>
              <a:gd name="connsiteY25" fmla="*/ 71437 h 852487"/>
              <a:gd name="connsiteX26" fmla="*/ 521494 w 902494"/>
              <a:gd name="connsiteY26" fmla="*/ 126206 h 852487"/>
              <a:gd name="connsiteX27" fmla="*/ 590550 w 902494"/>
              <a:gd name="connsiteY27" fmla="*/ 169068 h 852487"/>
              <a:gd name="connsiteX28" fmla="*/ 635794 w 902494"/>
              <a:gd name="connsiteY28" fmla="*/ 211931 h 852487"/>
              <a:gd name="connsiteX29" fmla="*/ 707231 w 902494"/>
              <a:gd name="connsiteY29" fmla="*/ 226218 h 852487"/>
              <a:gd name="connsiteX30" fmla="*/ 738187 w 902494"/>
              <a:gd name="connsiteY30" fmla="*/ 252412 h 852487"/>
              <a:gd name="connsiteX31" fmla="*/ 781050 w 902494"/>
              <a:gd name="connsiteY31" fmla="*/ 273843 h 852487"/>
              <a:gd name="connsiteX32" fmla="*/ 778669 w 902494"/>
              <a:gd name="connsiteY32" fmla="*/ 345281 h 852487"/>
              <a:gd name="connsiteX33" fmla="*/ 823912 w 902494"/>
              <a:gd name="connsiteY33" fmla="*/ 431006 h 852487"/>
              <a:gd name="connsiteX34" fmla="*/ 859631 w 902494"/>
              <a:gd name="connsiteY34" fmla="*/ 531018 h 852487"/>
              <a:gd name="connsiteX35" fmla="*/ 883444 w 902494"/>
              <a:gd name="connsiteY35" fmla="*/ 597693 h 852487"/>
              <a:gd name="connsiteX36" fmla="*/ 902494 w 902494"/>
              <a:gd name="connsiteY36" fmla="*/ 692943 h 852487"/>
              <a:gd name="connsiteX37" fmla="*/ 895350 w 902494"/>
              <a:gd name="connsiteY37" fmla="*/ 723900 h 852487"/>
              <a:gd name="connsiteX38" fmla="*/ 833437 w 902494"/>
              <a:gd name="connsiteY38" fmla="*/ 735806 h 852487"/>
              <a:gd name="connsiteX39" fmla="*/ 788194 w 902494"/>
              <a:gd name="connsiteY39" fmla="*/ 762000 h 852487"/>
              <a:gd name="connsiteX40" fmla="*/ 742950 w 902494"/>
              <a:gd name="connsiteY40" fmla="*/ 776287 h 852487"/>
              <a:gd name="connsiteX41" fmla="*/ 716756 w 902494"/>
              <a:gd name="connsiteY41" fmla="*/ 773906 h 852487"/>
              <a:gd name="connsiteX42" fmla="*/ 690562 w 902494"/>
              <a:gd name="connsiteY42" fmla="*/ 812006 h 852487"/>
              <a:gd name="connsiteX43" fmla="*/ 652462 w 902494"/>
              <a:gd name="connsiteY43" fmla="*/ 835818 h 852487"/>
              <a:gd name="connsiteX44" fmla="*/ 616744 w 902494"/>
              <a:gd name="connsiteY44" fmla="*/ 852487 h 852487"/>
              <a:gd name="connsiteX45" fmla="*/ 571500 w 902494"/>
              <a:gd name="connsiteY45" fmla="*/ 788193 h 852487"/>
              <a:gd name="connsiteX46" fmla="*/ 590550 w 902494"/>
              <a:gd name="connsiteY46" fmla="*/ 762000 h 852487"/>
              <a:gd name="connsiteX47" fmla="*/ 571500 w 902494"/>
              <a:gd name="connsiteY47" fmla="*/ 721518 h 852487"/>
              <a:gd name="connsiteX48" fmla="*/ 528637 w 902494"/>
              <a:gd name="connsiteY48" fmla="*/ 742950 h 852487"/>
              <a:gd name="connsiteX49" fmla="*/ 495300 w 902494"/>
              <a:gd name="connsiteY49" fmla="*/ 716756 h 852487"/>
              <a:gd name="connsiteX50" fmla="*/ 454819 w 902494"/>
              <a:gd name="connsiteY50" fmla="*/ 692943 h 852487"/>
              <a:gd name="connsiteX51" fmla="*/ 438150 w 902494"/>
              <a:gd name="connsiteY51" fmla="*/ 709612 h 852487"/>
              <a:gd name="connsiteX52" fmla="*/ 407194 w 902494"/>
              <a:gd name="connsiteY52" fmla="*/ 669131 h 852487"/>
              <a:gd name="connsiteX53" fmla="*/ 411956 w 902494"/>
              <a:gd name="connsiteY53" fmla="*/ 592931 h 852487"/>
              <a:gd name="connsiteX54" fmla="*/ 378619 w 902494"/>
              <a:gd name="connsiteY54" fmla="*/ 519112 h 852487"/>
              <a:gd name="connsiteX55" fmla="*/ 385762 w 902494"/>
              <a:gd name="connsiteY55" fmla="*/ 483393 h 852487"/>
              <a:gd name="connsiteX56" fmla="*/ 357187 w 902494"/>
              <a:gd name="connsiteY56" fmla="*/ 469106 h 852487"/>
              <a:gd name="connsiteX57" fmla="*/ 357187 w 902494"/>
              <a:gd name="connsiteY57" fmla="*/ 409575 h 852487"/>
              <a:gd name="connsiteX58" fmla="*/ 330994 w 902494"/>
              <a:gd name="connsiteY58" fmla="*/ 378618 h 852487"/>
              <a:gd name="connsiteX59" fmla="*/ 350044 w 902494"/>
              <a:gd name="connsiteY59" fmla="*/ 347662 h 852487"/>
              <a:gd name="connsiteX60" fmla="*/ 340519 w 902494"/>
              <a:gd name="connsiteY60" fmla="*/ 330993 h 852487"/>
              <a:gd name="connsiteX61" fmla="*/ 314325 w 902494"/>
              <a:gd name="connsiteY61" fmla="*/ 340518 h 852487"/>
              <a:gd name="connsiteX62" fmla="*/ 238125 w 902494"/>
              <a:gd name="connsiteY62" fmla="*/ 342900 h 852487"/>
              <a:gd name="connsiteX63" fmla="*/ 207169 w 902494"/>
              <a:gd name="connsiteY63" fmla="*/ 280987 h 852487"/>
              <a:gd name="connsiteX64" fmla="*/ 169069 w 902494"/>
              <a:gd name="connsiteY64" fmla="*/ 261937 h 852487"/>
              <a:gd name="connsiteX65" fmla="*/ 169069 w 902494"/>
              <a:gd name="connsiteY65" fmla="*/ 280987 h 852487"/>
              <a:gd name="connsiteX66" fmla="*/ 142875 w 902494"/>
              <a:gd name="connsiteY66" fmla="*/ 288131 h 852487"/>
              <a:gd name="connsiteX67" fmla="*/ 102394 w 902494"/>
              <a:gd name="connsiteY67" fmla="*/ 271462 h 852487"/>
              <a:gd name="connsiteX68" fmla="*/ 150019 w 902494"/>
              <a:gd name="connsiteY68" fmla="*/ 271462 h 852487"/>
              <a:gd name="connsiteX69" fmla="*/ 140494 w 902494"/>
              <a:gd name="connsiteY69" fmla="*/ 247650 h 852487"/>
              <a:gd name="connsiteX70" fmla="*/ 147637 w 902494"/>
              <a:gd name="connsiteY70" fmla="*/ 214312 h 852487"/>
              <a:gd name="connsiteX71" fmla="*/ 128587 w 902494"/>
              <a:gd name="connsiteY71" fmla="*/ 235743 h 852487"/>
              <a:gd name="connsiteX72" fmla="*/ 92869 w 902494"/>
              <a:gd name="connsiteY72" fmla="*/ 238125 h 852487"/>
              <a:gd name="connsiteX73" fmla="*/ 40481 w 902494"/>
              <a:gd name="connsiteY73" fmla="*/ 221456 h 852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</a:cxnLst>
            <a:rect l="l" t="t" r="r" b="b"/>
            <a:pathLst>
              <a:path w="902494" h="852487">
                <a:moveTo>
                  <a:pt x="40481" y="221456"/>
                </a:moveTo>
                <a:lnTo>
                  <a:pt x="71437" y="200025"/>
                </a:lnTo>
                <a:lnTo>
                  <a:pt x="121444" y="176212"/>
                </a:lnTo>
                <a:lnTo>
                  <a:pt x="145256" y="166687"/>
                </a:lnTo>
                <a:lnTo>
                  <a:pt x="116681" y="130968"/>
                </a:lnTo>
                <a:lnTo>
                  <a:pt x="66675" y="135731"/>
                </a:lnTo>
                <a:lnTo>
                  <a:pt x="42862" y="138112"/>
                </a:lnTo>
                <a:lnTo>
                  <a:pt x="0" y="138112"/>
                </a:lnTo>
                <a:lnTo>
                  <a:pt x="23812" y="88106"/>
                </a:lnTo>
                <a:lnTo>
                  <a:pt x="47625" y="23812"/>
                </a:lnTo>
                <a:lnTo>
                  <a:pt x="80962" y="28575"/>
                </a:lnTo>
                <a:lnTo>
                  <a:pt x="123825" y="11906"/>
                </a:lnTo>
                <a:lnTo>
                  <a:pt x="161925" y="0"/>
                </a:lnTo>
                <a:lnTo>
                  <a:pt x="190500" y="33337"/>
                </a:lnTo>
                <a:lnTo>
                  <a:pt x="216694" y="28575"/>
                </a:lnTo>
                <a:lnTo>
                  <a:pt x="235744" y="61912"/>
                </a:lnTo>
                <a:lnTo>
                  <a:pt x="235744" y="61912"/>
                </a:lnTo>
                <a:lnTo>
                  <a:pt x="273844" y="97631"/>
                </a:lnTo>
                <a:lnTo>
                  <a:pt x="302419" y="95250"/>
                </a:lnTo>
                <a:lnTo>
                  <a:pt x="316706" y="59531"/>
                </a:lnTo>
                <a:cubicBezTo>
                  <a:pt x="337418" y="51764"/>
                  <a:pt x="329690" y="55419"/>
                  <a:pt x="340519" y="50006"/>
                </a:cubicBezTo>
                <a:lnTo>
                  <a:pt x="359569" y="23812"/>
                </a:lnTo>
                <a:lnTo>
                  <a:pt x="352425" y="0"/>
                </a:lnTo>
                <a:lnTo>
                  <a:pt x="378619" y="9525"/>
                </a:lnTo>
                <a:lnTo>
                  <a:pt x="402431" y="19050"/>
                </a:lnTo>
                <a:lnTo>
                  <a:pt x="461962" y="71437"/>
                </a:lnTo>
                <a:lnTo>
                  <a:pt x="521494" y="126206"/>
                </a:lnTo>
                <a:lnTo>
                  <a:pt x="590550" y="169068"/>
                </a:lnTo>
                <a:lnTo>
                  <a:pt x="635794" y="211931"/>
                </a:lnTo>
                <a:lnTo>
                  <a:pt x="707231" y="226218"/>
                </a:lnTo>
                <a:lnTo>
                  <a:pt x="738187" y="252412"/>
                </a:lnTo>
                <a:lnTo>
                  <a:pt x="781050" y="273843"/>
                </a:lnTo>
                <a:cubicBezTo>
                  <a:pt x="780256" y="297656"/>
                  <a:pt x="779463" y="321468"/>
                  <a:pt x="778669" y="345281"/>
                </a:cubicBezTo>
                <a:lnTo>
                  <a:pt x="823912" y="431006"/>
                </a:lnTo>
                <a:lnTo>
                  <a:pt x="859631" y="531018"/>
                </a:lnTo>
                <a:lnTo>
                  <a:pt x="883444" y="597693"/>
                </a:lnTo>
                <a:lnTo>
                  <a:pt x="902494" y="692943"/>
                </a:lnTo>
                <a:lnTo>
                  <a:pt x="895350" y="723900"/>
                </a:lnTo>
                <a:lnTo>
                  <a:pt x="833437" y="735806"/>
                </a:lnTo>
                <a:lnTo>
                  <a:pt x="788194" y="762000"/>
                </a:lnTo>
                <a:lnTo>
                  <a:pt x="742950" y="776287"/>
                </a:lnTo>
                <a:lnTo>
                  <a:pt x="716756" y="773906"/>
                </a:lnTo>
                <a:lnTo>
                  <a:pt x="690562" y="812006"/>
                </a:lnTo>
                <a:lnTo>
                  <a:pt x="652462" y="835818"/>
                </a:lnTo>
                <a:lnTo>
                  <a:pt x="616744" y="852487"/>
                </a:lnTo>
                <a:lnTo>
                  <a:pt x="571500" y="788193"/>
                </a:lnTo>
                <a:lnTo>
                  <a:pt x="590550" y="762000"/>
                </a:lnTo>
                <a:lnTo>
                  <a:pt x="571500" y="721518"/>
                </a:lnTo>
                <a:lnTo>
                  <a:pt x="528637" y="742950"/>
                </a:lnTo>
                <a:lnTo>
                  <a:pt x="495300" y="716756"/>
                </a:lnTo>
                <a:lnTo>
                  <a:pt x="454819" y="692943"/>
                </a:lnTo>
                <a:lnTo>
                  <a:pt x="438150" y="709612"/>
                </a:lnTo>
                <a:lnTo>
                  <a:pt x="407194" y="669131"/>
                </a:lnTo>
                <a:lnTo>
                  <a:pt x="411956" y="592931"/>
                </a:lnTo>
                <a:lnTo>
                  <a:pt x="378619" y="519112"/>
                </a:lnTo>
                <a:lnTo>
                  <a:pt x="385762" y="483393"/>
                </a:lnTo>
                <a:lnTo>
                  <a:pt x="357187" y="469106"/>
                </a:lnTo>
                <a:lnTo>
                  <a:pt x="357187" y="409575"/>
                </a:lnTo>
                <a:lnTo>
                  <a:pt x="330994" y="378618"/>
                </a:lnTo>
                <a:lnTo>
                  <a:pt x="350044" y="347662"/>
                </a:lnTo>
                <a:lnTo>
                  <a:pt x="340519" y="330993"/>
                </a:lnTo>
                <a:cubicBezTo>
                  <a:pt x="315631" y="338460"/>
                  <a:pt x="322566" y="332277"/>
                  <a:pt x="314325" y="340518"/>
                </a:cubicBezTo>
                <a:lnTo>
                  <a:pt x="238125" y="342900"/>
                </a:lnTo>
                <a:lnTo>
                  <a:pt x="207169" y="280987"/>
                </a:lnTo>
                <a:lnTo>
                  <a:pt x="169069" y="261937"/>
                </a:lnTo>
                <a:lnTo>
                  <a:pt x="169069" y="280987"/>
                </a:lnTo>
                <a:lnTo>
                  <a:pt x="142875" y="288131"/>
                </a:lnTo>
                <a:lnTo>
                  <a:pt x="102394" y="271462"/>
                </a:lnTo>
                <a:lnTo>
                  <a:pt x="150019" y="271462"/>
                </a:lnTo>
                <a:lnTo>
                  <a:pt x="140494" y="247650"/>
                </a:lnTo>
                <a:lnTo>
                  <a:pt x="147637" y="214312"/>
                </a:lnTo>
                <a:lnTo>
                  <a:pt x="128587" y="235743"/>
                </a:lnTo>
                <a:lnTo>
                  <a:pt x="92869" y="238125"/>
                </a:lnTo>
                <a:lnTo>
                  <a:pt x="40481" y="221456"/>
                </a:lnTo>
                <a:close/>
              </a:path>
            </a:pathLst>
          </a:cu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5217" tIns="32608" rIns="65217" bIns="32608" anchor="ctr"/>
          <a:lstStyle/>
          <a:p>
            <a:pPr algn="ctr" defTabSz="914377">
              <a:defRPr/>
            </a:pPr>
            <a:endParaRPr lang="it-IT">
              <a:solidFill>
                <a:srgbClr val="FFFFFF"/>
              </a:solidFill>
              <a:latin typeface="Calibri"/>
            </a:endParaRPr>
          </a:p>
        </p:txBody>
      </p:sp>
      <p:sp>
        <p:nvSpPr>
          <p:cNvPr id="238" name="CasellaDiTesto 1"/>
          <p:cNvSpPr txBox="1">
            <a:spLocks noChangeArrowheads="1"/>
          </p:cNvSpPr>
          <p:nvPr/>
        </p:nvSpPr>
        <p:spPr bwMode="auto">
          <a:xfrm>
            <a:off x="2601624" y="3960443"/>
            <a:ext cx="533539" cy="245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52" tIns="45577" rIns="91152" bIns="45577">
            <a:spAutoFit/>
          </a:bodyPr>
          <a:lstStyle/>
          <a:p>
            <a:pPr defTabSz="914377" eaLnBrk="0" hangingPunct="0"/>
            <a:r>
              <a:rPr lang="it-IT" altLang="it-IT" sz="997" b="1">
                <a:solidFill>
                  <a:srgbClr val="000000"/>
                </a:solidFill>
                <a:latin typeface="Calibri"/>
              </a:rPr>
              <a:t>Napoli</a:t>
            </a:r>
          </a:p>
        </p:txBody>
      </p:sp>
      <p:sp>
        <p:nvSpPr>
          <p:cNvPr id="243" name="CasellaDiTesto 3"/>
          <p:cNvSpPr txBox="1">
            <a:spLocks noChangeArrowheads="1"/>
          </p:cNvSpPr>
          <p:nvPr/>
        </p:nvSpPr>
        <p:spPr bwMode="auto">
          <a:xfrm>
            <a:off x="507599" y="2229057"/>
            <a:ext cx="903499" cy="245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152" tIns="45577" rIns="91152" bIns="45577">
            <a:spAutoFit/>
          </a:bodyPr>
          <a:lstStyle/>
          <a:p>
            <a:pPr algn="ctr" defTabSz="914377" eaLnBrk="0" hangingPunct="0"/>
            <a:r>
              <a:rPr lang="it-IT" altLang="it-IT" sz="997" b="1" kern="0">
                <a:solidFill>
                  <a:srgbClr val="000000"/>
                </a:solidFill>
                <a:latin typeface="Calibri"/>
              </a:rPr>
              <a:t>GE Voltri</a:t>
            </a:r>
          </a:p>
        </p:txBody>
      </p:sp>
      <p:sp>
        <p:nvSpPr>
          <p:cNvPr id="244" name="CasellaDiTesto 519"/>
          <p:cNvSpPr txBox="1">
            <a:spLocks noChangeArrowheads="1"/>
          </p:cNvSpPr>
          <p:nvPr/>
        </p:nvSpPr>
        <p:spPr bwMode="auto">
          <a:xfrm>
            <a:off x="1172304" y="2669392"/>
            <a:ext cx="583233" cy="245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52" tIns="45577" rIns="91152" bIns="45577">
            <a:spAutoFit/>
          </a:bodyPr>
          <a:lstStyle/>
          <a:p>
            <a:pPr defTabSz="914377" eaLnBrk="0" hangingPunct="0"/>
            <a:r>
              <a:rPr lang="it-IT" altLang="it-IT" sz="997" b="1">
                <a:solidFill>
                  <a:srgbClr val="000000"/>
                </a:solidFill>
                <a:latin typeface="Calibri"/>
              </a:rPr>
              <a:t>Livorno</a:t>
            </a:r>
          </a:p>
        </p:txBody>
      </p:sp>
      <p:sp>
        <p:nvSpPr>
          <p:cNvPr id="245" name="CasellaDiTesto 562"/>
          <p:cNvSpPr txBox="1">
            <a:spLocks noChangeArrowheads="1"/>
          </p:cNvSpPr>
          <p:nvPr/>
        </p:nvSpPr>
        <p:spPr bwMode="auto">
          <a:xfrm>
            <a:off x="1380039" y="2185689"/>
            <a:ext cx="894215" cy="245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52" tIns="45577" rIns="91152" bIns="45577">
            <a:spAutoFit/>
          </a:bodyPr>
          <a:lstStyle/>
          <a:p>
            <a:pPr defTabSz="914377" eaLnBrk="0" hangingPunct="0"/>
            <a:r>
              <a:rPr lang="it-IT" altLang="it-IT" sz="997" b="1">
                <a:solidFill>
                  <a:srgbClr val="000000"/>
                </a:solidFill>
                <a:latin typeface="Calibri"/>
              </a:rPr>
              <a:t>GE Campasso</a:t>
            </a:r>
          </a:p>
        </p:txBody>
      </p:sp>
      <p:sp>
        <p:nvSpPr>
          <p:cNvPr id="249" name="CasellaDiTesto 567"/>
          <p:cNvSpPr txBox="1">
            <a:spLocks noChangeArrowheads="1"/>
          </p:cNvSpPr>
          <p:nvPr/>
        </p:nvSpPr>
        <p:spPr bwMode="auto">
          <a:xfrm>
            <a:off x="3006198" y="1885172"/>
            <a:ext cx="547966" cy="245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52" tIns="45577" rIns="91152" bIns="45577">
            <a:spAutoFit/>
          </a:bodyPr>
          <a:lstStyle/>
          <a:p>
            <a:pPr defTabSz="914377" eaLnBrk="0" hangingPunct="0"/>
            <a:r>
              <a:rPr lang="it-IT" altLang="it-IT" sz="997" b="1">
                <a:solidFill>
                  <a:srgbClr val="000000"/>
                </a:solidFill>
                <a:latin typeface="Calibri"/>
              </a:rPr>
              <a:t>Trieste</a:t>
            </a:r>
          </a:p>
        </p:txBody>
      </p:sp>
      <p:sp>
        <p:nvSpPr>
          <p:cNvPr id="250" name="CasellaDiTesto 557"/>
          <p:cNvSpPr txBox="1">
            <a:spLocks noChangeArrowheads="1"/>
          </p:cNvSpPr>
          <p:nvPr/>
        </p:nvSpPr>
        <p:spPr bwMode="auto">
          <a:xfrm>
            <a:off x="3864725" y="4228320"/>
            <a:ext cx="599263" cy="245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52" tIns="45577" rIns="91152" bIns="45577">
            <a:spAutoFit/>
          </a:bodyPr>
          <a:lstStyle/>
          <a:p>
            <a:pPr defTabSz="914377" eaLnBrk="0" hangingPunct="0"/>
            <a:r>
              <a:rPr lang="it-IT" altLang="it-IT" sz="997" b="1">
                <a:solidFill>
                  <a:srgbClr val="000000"/>
                </a:solidFill>
                <a:latin typeface="Calibri"/>
              </a:rPr>
              <a:t>Taranto</a:t>
            </a:r>
          </a:p>
        </p:txBody>
      </p:sp>
      <p:sp>
        <p:nvSpPr>
          <p:cNvPr id="350" name="CasellaDiTesto 1"/>
          <p:cNvSpPr txBox="1">
            <a:spLocks noChangeArrowheads="1"/>
          </p:cNvSpPr>
          <p:nvPr/>
        </p:nvSpPr>
        <p:spPr bwMode="auto">
          <a:xfrm>
            <a:off x="3551229" y="5364704"/>
            <a:ext cx="618499" cy="245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52" tIns="45577" rIns="91152" bIns="45577">
            <a:spAutoFit/>
          </a:bodyPr>
          <a:lstStyle/>
          <a:p>
            <a:pPr defTabSz="914377" eaLnBrk="0" hangingPunct="0"/>
            <a:r>
              <a:rPr lang="it-IT" altLang="it-IT" sz="997" b="1">
                <a:solidFill>
                  <a:srgbClr val="000000"/>
                </a:solidFill>
                <a:latin typeface="Calibri"/>
              </a:rPr>
              <a:t>Augusta</a:t>
            </a:r>
          </a:p>
        </p:txBody>
      </p:sp>
      <p:sp>
        <p:nvSpPr>
          <p:cNvPr id="354" name="CasellaDiTesto 556"/>
          <p:cNvSpPr txBox="1">
            <a:spLocks noChangeArrowheads="1"/>
          </p:cNvSpPr>
          <p:nvPr/>
        </p:nvSpPr>
        <p:spPr bwMode="auto">
          <a:xfrm>
            <a:off x="1307969" y="3263826"/>
            <a:ext cx="878185" cy="245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52" tIns="45577" rIns="91152" bIns="45577">
            <a:spAutoFit/>
          </a:bodyPr>
          <a:lstStyle/>
          <a:p>
            <a:pPr defTabSz="914377" eaLnBrk="0" hangingPunct="0"/>
            <a:r>
              <a:rPr lang="it-IT" altLang="it-IT" sz="997" b="1" kern="0">
                <a:solidFill>
                  <a:srgbClr val="000000"/>
                </a:solidFill>
                <a:latin typeface="Calibri"/>
              </a:rPr>
              <a:t>Civitavecchia</a:t>
            </a:r>
          </a:p>
        </p:txBody>
      </p:sp>
      <p:cxnSp>
        <p:nvCxnSpPr>
          <p:cNvPr id="360" name="Straight Connector 145">
            <a:extLst>
              <a:ext uri="{FF2B5EF4-FFF2-40B4-BE49-F238E27FC236}">
                <a16:creationId xmlns:a16="http://schemas.microsoft.com/office/drawing/2014/main" id="{CDB45A7F-E6EC-4DF8-9C7F-E75C4036A090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gray">
          <a:xfrm>
            <a:off x="6198141" y="5570072"/>
            <a:ext cx="56520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sp>
        <p:nvSpPr>
          <p:cNvPr id="361" name="TextBox 129">
            <a:extLst>
              <a:ext uri="{FF2B5EF4-FFF2-40B4-BE49-F238E27FC236}">
                <a16:creationId xmlns:a16="http://schemas.microsoft.com/office/drawing/2014/main" id="{2F096F5E-7BDB-4DEB-8BBC-B465FBD9AB6D}"/>
              </a:ext>
            </a:extLst>
          </p:cNvPr>
          <p:cNvSpPr txBox="1"/>
          <p:nvPr/>
        </p:nvSpPr>
        <p:spPr>
          <a:xfrm>
            <a:off x="6213383" y="5359226"/>
            <a:ext cx="3335676" cy="1560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defTabSz="895328">
              <a:buClr>
                <a:srgbClr val="D90000"/>
              </a:buClr>
              <a:defRPr/>
            </a:pPr>
            <a:r>
              <a:rPr lang="it-IT" sz="1067" b="1" kern="0">
                <a:solidFill>
                  <a:srgbClr val="000000"/>
                </a:solidFill>
              </a:rPr>
              <a:t>Taranto</a:t>
            </a:r>
          </a:p>
        </p:txBody>
      </p:sp>
      <p:sp>
        <p:nvSpPr>
          <p:cNvPr id="365" name="TextBox 129">
            <a:extLst>
              <a:ext uri="{FF2B5EF4-FFF2-40B4-BE49-F238E27FC236}">
                <a16:creationId xmlns:a16="http://schemas.microsoft.com/office/drawing/2014/main" id="{2F096F5E-7BDB-4DEB-8BBC-B465FBD9AB6D}"/>
              </a:ext>
            </a:extLst>
          </p:cNvPr>
          <p:cNvSpPr txBox="1"/>
          <p:nvPr/>
        </p:nvSpPr>
        <p:spPr>
          <a:xfrm>
            <a:off x="6213383" y="5842836"/>
            <a:ext cx="3335676" cy="1560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defTabSz="895328">
              <a:buClr>
                <a:srgbClr val="D90000"/>
              </a:buClr>
              <a:defRPr/>
            </a:pPr>
            <a:r>
              <a:rPr lang="it-IT" sz="1067" b="1" kern="0">
                <a:solidFill>
                  <a:srgbClr val="000000"/>
                </a:solidFill>
              </a:rPr>
              <a:t>Augusta</a:t>
            </a:r>
          </a:p>
        </p:txBody>
      </p:sp>
      <p:sp>
        <p:nvSpPr>
          <p:cNvPr id="95" name="Segnaposto contenuto 1"/>
          <p:cNvSpPr>
            <a:spLocks noGrp="1"/>
          </p:cNvSpPr>
          <p:nvPr>
            <p:ph idx="13"/>
          </p:nvPr>
        </p:nvSpPr>
        <p:spPr>
          <a:xfrm>
            <a:off x="379107" y="742048"/>
            <a:ext cx="11176620" cy="390933"/>
          </a:xfrm>
        </p:spPr>
        <p:txBody>
          <a:bodyPr>
            <a:normAutofit/>
          </a:bodyPr>
          <a:lstStyle/>
          <a:p>
            <a:r>
              <a:rPr lang="it-IT"/>
              <a:t>Ultimo/Penultimo miglio e potenziamenti infrastrutturali</a:t>
            </a:r>
          </a:p>
        </p:txBody>
      </p:sp>
      <p:sp>
        <p:nvSpPr>
          <p:cNvPr id="99" name="CasellaDiTesto 567"/>
          <p:cNvSpPr txBox="1">
            <a:spLocks noChangeArrowheads="1"/>
          </p:cNvSpPr>
          <p:nvPr/>
        </p:nvSpPr>
        <p:spPr bwMode="auto">
          <a:xfrm>
            <a:off x="2518590" y="2329111"/>
            <a:ext cx="644147" cy="245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52" tIns="45577" rIns="91152" bIns="45577">
            <a:spAutoFit/>
          </a:bodyPr>
          <a:lstStyle/>
          <a:p>
            <a:pPr defTabSz="914377" eaLnBrk="0" hangingPunct="0"/>
            <a:r>
              <a:rPr lang="it-IT" altLang="it-IT" sz="997" b="1">
                <a:solidFill>
                  <a:srgbClr val="000000"/>
                </a:solidFill>
                <a:latin typeface="Calibri"/>
              </a:rPr>
              <a:t>Ravenna</a:t>
            </a:r>
          </a:p>
        </p:txBody>
      </p:sp>
      <p:sp>
        <p:nvSpPr>
          <p:cNvPr id="100" name="TextBox 7">
            <a:extLst>
              <a:ext uri="{FF2B5EF4-FFF2-40B4-BE49-F238E27FC236}">
                <a16:creationId xmlns:a16="http://schemas.microsoft.com/office/drawing/2014/main" id="{790F10E7-3795-4C2E-8EA7-5B269383AABE}"/>
              </a:ext>
            </a:extLst>
          </p:cNvPr>
          <p:cNvSpPr txBox="1"/>
          <p:nvPr/>
        </p:nvSpPr>
        <p:spPr>
          <a:xfrm>
            <a:off x="6215159" y="3609016"/>
            <a:ext cx="3335676" cy="1560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defTabSz="895328">
              <a:buClr>
                <a:srgbClr val="D90000"/>
              </a:buClr>
              <a:defRPr/>
            </a:pPr>
            <a:r>
              <a:rPr lang="it-IT" sz="1067" b="1" kern="0">
                <a:solidFill>
                  <a:srgbClr val="000000"/>
                </a:solidFill>
              </a:rPr>
              <a:t>Ravenna</a:t>
            </a:r>
          </a:p>
        </p:txBody>
      </p:sp>
      <p:cxnSp>
        <p:nvCxnSpPr>
          <p:cNvPr id="101" name="Straight Connector 150">
            <a:extLst>
              <a:ext uri="{FF2B5EF4-FFF2-40B4-BE49-F238E27FC236}">
                <a16:creationId xmlns:a16="http://schemas.microsoft.com/office/drawing/2014/main" id="{B3C047B3-93E2-414C-8249-C48C4C741389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gray">
          <a:xfrm>
            <a:off x="6199260" y="3255383"/>
            <a:ext cx="56520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sp>
        <p:nvSpPr>
          <p:cNvPr id="108" name="TextBox 162">
            <a:extLst>
              <a:ext uri="{FF2B5EF4-FFF2-40B4-BE49-F238E27FC236}">
                <a16:creationId xmlns:a16="http://schemas.microsoft.com/office/drawing/2014/main" id="{EB624E87-FB82-43D8-B298-FA3E916B796E}"/>
              </a:ext>
            </a:extLst>
          </p:cNvPr>
          <p:cNvSpPr txBox="1"/>
          <p:nvPr/>
        </p:nvSpPr>
        <p:spPr>
          <a:xfrm>
            <a:off x="7458403" y="2522382"/>
            <a:ext cx="2496000" cy="3120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Allungamento modulo </a:t>
            </a:r>
          </a:p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Potenziamento linee di collegamento</a:t>
            </a:r>
          </a:p>
        </p:txBody>
      </p:sp>
      <p:sp>
        <p:nvSpPr>
          <p:cNvPr id="114" name="TextBox 173">
            <a:extLst>
              <a:ext uri="{FF2B5EF4-FFF2-40B4-BE49-F238E27FC236}">
                <a16:creationId xmlns:a16="http://schemas.microsoft.com/office/drawing/2014/main" id="{0B7C1F53-58AE-4B77-ACCA-49ED04191894}"/>
              </a:ext>
            </a:extLst>
          </p:cNvPr>
          <p:cNvSpPr txBox="1"/>
          <p:nvPr/>
        </p:nvSpPr>
        <p:spPr>
          <a:xfrm>
            <a:off x="10230853" y="2600353"/>
            <a:ext cx="1602135" cy="1560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algn="ctr" defTabSz="895328">
              <a:buClr>
                <a:srgbClr val="D90000"/>
              </a:buClr>
              <a:defRPr/>
            </a:pPr>
            <a:r>
              <a:rPr lang="it-IT" sz="1067" kern="0"/>
              <a:t>Realizzazione</a:t>
            </a:r>
            <a:endParaRPr lang="it-IT" sz="1067" b="1" kern="0"/>
          </a:p>
        </p:txBody>
      </p:sp>
      <p:sp>
        <p:nvSpPr>
          <p:cNvPr id="115" name="TextBox 162">
            <a:extLst>
              <a:ext uri="{FF2B5EF4-FFF2-40B4-BE49-F238E27FC236}">
                <a16:creationId xmlns:a16="http://schemas.microsoft.com/office/drawing/2014/main" id="{EB624E87-FB82-43D8-B298-FA3E916B796E}"/>
              </a:ext>
            </a:extLst>
          </p:cNvPr>
          <p:cNvSpPr txBox="1"/>
          <p:nvPr/>
        </p:nvSpPr>
        <p:spPr>
          <a:xfrm>
            <a:off x="7458403" y="2897617"/>
            <a:ext cx="2496000" cy="3120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Upgrading linee di collegamento</a:t>
            </a:r>
          </a:p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Potenziamento impianti </a:t>
            </a:r>
          </a:p>
        </p:txBody>
      </p:sp>
      <p:sp>
        <p:nvSpPr>
          <p:cNvPr id="116" name="TextBox 173">
            <a:extLst>
              <a:ext uri="{FF2B5EF4-FFF2-40B4-BE49-F238E27FC236}">
                <a16:creationId xmlns:a16="http://schemas.microsoft.com/office/drawing/2014/main" id="{0B7C1F53-58AE-4B77-ACCA-49ED04191894}"/>
              </a:ext>
            </a:extLst>
          </p:cNvPr>
          <p:cNvSpPr txBox="1"/>
          <p:nvPr/>
        </p:nvSpPr>
        <p:spPr>
          <a:xfrm>
            <a:off x="10230853" y="2975587"/>
            <a:ext cx="1602135" cy="1560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algn="ctr" defTabSz="895328">
              <a:buClr>
                <a:srgbClr val="D90000"/>
              </a:buClr>
              <a:defRPr/>
            </a:pPr>
            <a:r>
              <a:rPr lang="it-IT" sz="1067" kern="0"/>
              <a:t>Realizzazione (1^ fase)</a:t>
            </a:r>
            <a:endParaRPr lang="it-IT" sz="1067" b="1" kern="0"/>
          </a:p>
        </p:txBody>
      </p:sp>
      <p:sp>
        <p:nvSpPr>
          <p:cNvPr id="119" name="TextBox 162">
            <a:extLst>
              <a:ext uri="{FF2B5EF4-FFF2-40B4-BE49-F238E27FC236}">
                <a16:creationId xmlns:a16="http://schemas.microsoft.com/office/drawing/2014/main" id="{EB624E87-FB82-43D8-B298-FA3E916B796E}"/>
              </a:ext>
            </a:extLst>
          </p:cNvPr>
          <p:cNvSpPr txBox="1"/>
          <p:nvPr/>
        </p:nvSpPr>
        <p:spPr>
          <a:xfrm>
            <a:off x="7458403" y="3483141"/>
            <a:ext cx="2666719" cy="46801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Adeguamento a sagoma e soppressione PL</a:t>
            </a:r>
          </a:p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Prolungamento dorsale destra </a:t>
            </a:r>
            <a:r>
              <a:rPr lang="it-IT" sz="1067" kern="0" err="1"/>
              <a:t>Candiano</a:t>
            </a:r>
            <a:endParaRPr lang="it-IT" sz="1067" kern="0"/>
          </a:p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Potenziamento destra e sinistra Candiano</a:t>
            </a:r>
          </a:p>
        </p:txBody>
      </p:sp>
      <p:sp>
        <p:nvSpPr>
          <p:cNvPr id="120" name="TextBox 173">
            <a:extLst>
              <a:ext uri="{FF2B5EF4-FFF2-40B4-BE49-F238E27FC236}">
                <a16:creationId xmlns:a16="http://schemas.microsoft.com/office/drawing/2014/main" id="{0B7C1F53-58AE-4B77-ACCA-49ED04191894}"/>
              </a:ext>
            </a:extLst>
          </p:cNvPr>
          <p:cNvSpPr txBox="1"/>
          <p:nvPr/>
        </p:nvSpPr>
        <p:spPr>
          <a:xfrm>
            <a:off x="10230853" y="3546071"/>
            <a:ext cx="1602135" cy="1560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algn="ctr" defTabSz="895328">
              <a:buClr>
                <a:srgbClr val="D90000"/>
              </a:buClr>
              <a:defRPr/>
            </a:pPr>
            <a:r>
              <a:rPr lang="it-IT" sz="1067" kern="0" dirty="0"/>
              <a:t>Realizzazione</a:t>
            </a:r>
          </a:p>
        </p:txBody>
      </p:sp>
      <p:sp>
        <p:nvSpPr>
          <p:cNvPr id="121" name="TextBox 162">
            <a:extLst>
              <a:ext uri="{FF2B5EF4-FFF2-40B4-BE49-F238E27FC236}">
                <a16:creationId xmlns:a16="http://schemas.microsoft.com/office/drawing/2014/main" id="{EB624E87-FB82-43D8-B298-FA3E916B796E}"/>
              </a:ext>
            </a:extLst>
          </p:cNvPr>
          <p:cNvSpPr txBox="1"/>
          <p:nvPr/>
        </p:nvSpPr>
        <p:spPr>
          <a:xfrm>
            <a:off x="7458403" y="3983795"/>
            <a:ext cx="2666719" cy="468013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Collegamento diretto porto-interporto</a:t>
            </a:r>
          </a:p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Collegamento interporto – linea Pisa/Vada</a:t>
            </a:r>
          </a:p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By-pass di Pisa</a:t>
            </a:r>
          </a:p>
        </p:txBody>
      </p:sp>
      <p:sp>
        <p:nvSpPr>
          <p:cNvPr id="122" name="TextBox 173">
            <a:extLst>
              <a:ext uri="{FF2B5EF4-FFF2-40B4-BE49-F238E27FC236}">
                <a16:creationId xmlns:a16="http://schemas.microsoft.com/office/drawing/2014/main" id="{0B7C1F53-58AE-4B77-ACCA-49ED04191894}"/>
              </a:ext>
            </a:extLst>
          </p:cNvPr>
          <p:cNvSpPr txBox="1"/>
          <p:nvPr/>
        </p:nvSpPr>
        <p:spPr>
          <a:xfrm>
            <a:off x="10210496" y="4254735"/>
            <a:ext cx="1602135" cy="1560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algn="ctr" defTabSz="895328">
              <a:buClr>
                <a:srgbClr val="D90000"/>
              </a:buClr>
              <a:defRPr/>
            </a:pPr>
            <a:r>
              <a:rPr lang="it-IT" sz="1067" kern="0" dirty="0"/>
              <a:t>Progettazione</a:t>
            </a:r>
            <a:endParaRPr lang="it-IT" sz="1067" b="1" kern="0" dirty="0"/>
          </a:p>
        </p:txBody>
      </p:sp>
      <p:sp>
        <p:nvSpPr>
          <p:cNvPr id="123" name="Freeform 581"/>
          <p:cNvSpPr>
            <a:spLocks noEditPoints="1"/>
          </p:cNvSpPr>
          <p:nvPr/>
        </p:nvSpPr>
        <p:spPr bwMode="auto">
          <a:xfrm>
            <a:off x="1724063" y="2663852"/>
            <a:ext cx="184865" cy="196945"/>
          </a:xfrm>
          <a:custGeom>
            <a:avLst/>
            <a:gdLst>
              <a:gd name="T0" fmla="*/ 363 w 642"/>
              <a:gd name="T1" fmla="*/ 721 h 811"/>
              <a:gd name="T2" fmla="*/ 427 w 642"/>
              <a:gd name="T3" fmla="*/ 750 h 811"/>
              <a:gd name="T4" fmla="*/ 491 w 642"/>
              <a:gd name="T5" fmla="*/ 721 h 811"/>
              <a:gd name="T6" fmla="*/ 558 w 642"/>
              <a:gd name="T7" fmla="*/ 712 h 811"/>
              <a:gd name="T8" fmla="*/ 587 w 642"/>
              <a:gd name="T9" fmla="*/ 740 h 811"/>
              <a:gd name="T10" fmla="*/ 583 w 642"/>
              <a:gd name="T11" fmla="*/ 782 h 811"/>
              <a:gd name="T12" fmla="*/ 558 w 642"/>
              <a:gd name="T13" fmla="*/ 773 h 811"/>
              <a:gd name="T14" fmla="*/ 491 w 642"/>
              <a:gd name="T15" fmla="*/ 782 h 811"/>
              <a:gd name="T16" fmla="*/ 427 w 642"/>
              <a:gd name="T17" fmla="*/ 811 h 811"/>
              <a:gd name="T18" fmla="*/ 363 w 642"/>
              <a:gd name="T19" fmla="*/ 782 h 811"/>
              <a:gd name="T20" fmla="*/ 307 w 642"/>
              <a:gd name="T21" fmla="*/ 769 h 811"/>
              <a:gd name="T22" fmla="*/ 246 w 642"/>
              <a:gd name="T23" fmla="*/ 801 h 811"/>
              <a:gd name="T24" fmla="*/ 183 w 642"/>
              <a:gd name="T25" fmla="*/ 801 h 811"/>
              <a:gd name="T26" fmla="*/ 118 w 642"/>
              <a:gd name="T27" fmla="*/ 768 h 811"/>
              <a:gd name="T28" fmla="*/ 64 w 642"/>
              <a:gd name="T29" fmla="*/ 783 h 811"/>
              <a:gd name="T30" fmla="*/ 54 w 642"/>
              <a:gd name="T31" fmla="*/ 778 h 811"/>
              <a:gd name="T32" fmla="*/ 60 w 642"/>
              <a:gd name="T33" fmla="*/ 725 h 811"/>
              <a:gd name="T34" fmla="*/ 118 w 642"/>
              <a:gd name="T35" fmla="*/ 707 h 811"/>
              <a:gd name="T36" fmla="*/ 183 w 642"/>
              <a:gd name="T37" fmla="*/ 740 h 811"/>
              <a:gd name="T38" fmla="*/ 246 w 642"/>
              <a:gd name="T39" fmla="*/ 740 h 811"/>
              <a:gd name="T40" fmla="*/ 307 w 642"/>
              <a:gd name="T41" fmla="*/ 707 h 811"/>
              <a:gd name="T42" fmla="*/ 165 w 642"/>
              <a:gd name="T43" fmla="*/ 107 h 811"/>
              <a:gd name="T44" fmla="*/ 159 w 642"/>
              <a:gd name="T45" fmla="*/ 167 h 811"/>
              <a:gd name="T46" fmla="*/ 149 w 642"/>
              <a:gd name="T47" fmla="*/ 182 h 811"/>
              <a:gd name="T48" fmla="*/ 98 w 642"/>
              <a:gd name="T49" fmla="*/ 182 h 811"/>
              <a:gd name="T50" fmla="*/ 550 w 642"/>
              <a:gd name="T51" fmla="*/ 258 h 811"/>
              <a:gd name="T52" fmla="*/ 515 w 642"/>
              <a:gd name="T53" fmla="*/ 182 h 811"/>
              <a:gd name="T54" fmla="*/ 486 w 642"/>
              <a:gd name="T55" fmla="*/ 176 h 811"/>
              <a:gd name="T56" fmla="*/ 482 w 642"/>
              <a:gd name="T57" fmla="*/ 115 h 811"/>
              <a:gd name="T58" fmla="*/ 469 w 642"/>
              <a:gd name="T59" fmla="*/ 105 h 811"/>
              <a:gd name="T60" fmla="*/ 366 w 642"/>
              <a:gd name="T61" fmla="*/ 2 h 811"/>
              <a:gd name="T62" fmla="*/ 388 w 642"/>
              <a:gd name="T63" fmla="*/ 57 h 811"/>
              <a:gd name="T64" fmla="*/ 511 w 642"/>
              <a:gd name="T65" fmla="*/ 79 h 811"/>
              <a:gd name="T66" fmla="*/ 566 w 642"/>
              <a:gd name="T67" fmla="*/ 153 h 811"/>
              <a:gd name="T68" fmla="*/ 588 w 642"/>
              <a:gd name="T69" fmla="*/ 264 h 811"/>
              <a:gd name="T70" fmla="*/ 642 w 642"/>
              <a:gd name="T71" fmla="*/ 296 h 811"/>
              <a:gd name="T72" fmla="*/ 498 w 642"/>
              <a:gd name="T73" fmla="*/ 690 h 811"/>
              <a:gd name="T74" fmla="*/ 439 w 642"/>
              <a:gd name="T75" fmla="*/ 724 h 811"/>
              <a:gd name="T76" fmla="*/ 388 w 642"/>
              <a:gd name="T77" fmla="*/ 708 h 811"/>
              <a:gd name="T78" fmla="*/ 321 w 642"/>
              <a:gd name="T79" fmla="*/ 684 h 811"/>
              <a:gd name="T80" fmla="*/ 253 w 642"/>
              <a:gd name="T81" fmla="*/ 708 h 811"/>
              <a:gd name="T82" fmla="*/ 202 w 642"/>
              <a:gd name="T83" fmla="*/ 724 h 811"/>
              <a:gd name="T84" fmla="*/ 145 w 642"/>
              <a:gd name="T85" fmla="*/ 690 h 811"/>
              <a:gd name="T86" fmla="*/ 0 w 642"/>
              <a:gd name="T87" fmla="*/ 296 h 811"/>
              <a:gd name="T88" fmla="*/ 53 w 642"/>
              <a:gd name="T89" fmla="*/ 264 h 811"/>
              <a:gd name="T90" fmla="*/ 76 w 642"/>
              <a:gd name="T91" fmla="*/ 153 h 811"/>
              <a:gd name="T92" fmla="*/ 130 w 642"/>
              <a:gd name="T93" fmla="*/ 79 h 811"/>
              <a:gd name="T94" fmla="*/ 253 w 642"/>
              <a:gd name="T95" fmla="*/ 57 h 811"/>
              <a:gd name="T96" fmla="*/ 277 w 642"/>
              <a:gd name="T97" fmla="*/ 2 h 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2" h="811">
                <a:moveTo>
                  <a:pt x="321" y="707"/>
                </a:moveTo>
                <a:lnTo>
                  <a:pt x="334" y="707"/>
                </a:lnTo>
                <a:lnTo>
                  <a:pt x="348" y="711"/>
                </a:lnTo>
                <a:lnTo>
                  <a:pt x="363" y="721"/>
                </a:lnTo>
                <a:lnTo>
                  <a:pt x="379" y="730"/>
                </a:lnTo>
                <a:lnTo>
                  <a:pt x="395" y="740"/>
                </a:lnTo>
                <a:lnTo>
                  <a:pt x="411" y="747"/>
                </a:lnTo>
                <a:lnTo>
                  <a:pt x="427" y="750"/>
                </a:lnTo>
                <a:lnTo>
                  <a:pt x="443" y="747"/>
                </a:lnTo>
                <a:lnTo>
                  <a:pt x="459" y="740"/>
                </a:lnTo>
                <a:lnTo>
                  <a:pt x="475" y="730"/>
                </a:lnTo>
                <a:lnTo>
                  <a:pt x="491" y="721"/>
                </a:lnTo>
                <a:lnTo>
                  <a:pt x="508" y="711"/>
                </a:lnTo>
                <a:lnTo>
                  <a:pt x="524" y="707"/>
                </a:lnTo>
                <a:lnTo>
                  <a:pt x="541" y="707"/>
                </a:lnTo>
                <a:lnTo>
                  <a:pt x="558" y="712"/>
                </a:lnTo>
                <a:lnTo>
                  <a:pt x="575" y="719"/>
                </a:lnTo>
                <a:lnTo>
                  <a:pt x="582" y="725"/>
                </a:lnTo>
                <a:lnTo>
                  <a:pt x="586" y="733"/>
                </a:lnTo>
                <a:lnTo>
                  <a:pt x="587" y="740"/>
                </a:lnTo>
                <a:lnTo>
                  <a:pt x="587" y="776"/>
                </a:lnTo>
                <a:lnTo>
                  <a:pt x="587" y="778"/>
                </a:lnTo>
                <a:lnTo>
                  <a:pt x="586" y="780"/>
                </a:lnTo>
                <a:lnTo>
                  <a:pt x="583" y="782"/>
                </a:lnTo>
                <a:lnTo>
                  <a:pt x="581" y="783"/>
                </a:lnTo>
                <a:lnTo>
                  <a:pt x="579" y="783"/>
                </a:lnTo>
                <a:lnTo>
                  <a:pt x="575" y="782"/>
                </a:lnTo>
                <a:lnTo>
                  <a:pt x="558" y="773"/>
                </a:lnTo>
                <a:lnTo>
                  <a:pt x="541" y="769"/>
                </a:lnTo>
                <a:lnTo>
                  <a:pt x="524" y="768"/>
                </a:lnTo>
                <a:lnTo>
                  <a:pt x="508" y="773"/>
                </a:lnTo>
                <a:lnTo>
                  <a:pt x="491" y="782"/>
                </a:lnTo>
                <a:lnTo>
                  <a:pt x="475" y="793"/>
                </a:lnTo>
                <a:lnTo>
                  <a:pt x="459" y="801"/>
                </a:lnTo>
                <a:lnTo>
                  <a:pt x="443" y="809"/>
                </a:lnTo>
                <a:lnTo>
                  <a:pt x="427" y="811"/>
                </a:lnTo>
                <a:lnTo>
                  <a:pt x="411" y="809"/>
                </a:lnTo>
                <a:lnTo>
                  <a:pt x="395" y="801"/>
                </a:lnTo>
                <a:lnTo>
                  <a:pt x="379" y="793"/>
                </a:lnTo>
                <a:lnTo>
                  <a:pt x="363" y="782"/>
                </a:lnTo>
                <a:lnTo>
                  <a:pt x="348" y="773"/>
                </a:lnTo>
                <a:lnTo>
                  <a:pt x="334" y="769"/>
                </a:lnTo>
                <a:lnTo>
                  <a:pt x="321" y="768"/>
                </a:lnTo>
                <a:lnTo>
                  <a:pt x="307" y="769"/>
                </a:lnTo>
                <a:lnTo>
                  <a:pt x="295" y="773"/>
                </a:lnTo>
                <a:lnTo>
                  <a:pt x="278" y="782"/>
                </a:lnTo>
                <a:lnTo>
                  <a:pt x="262" y="793"/>
                </a:lnTo>
                <a:lnTo>
                  <a:pt x="246" y="801"/>
                </a:lnTo>
                <a:lnTo>
                  <a:pt x="231" y="809"/>
                </a:lnTo>
                <a:lnTo>
                  <a:pt x="214" y="811"/>
                </a:lnTo>
                <a:lnTo>
                  <a:pt x="198" y="809"/>
                </a:lnTo>
                <a:lnTo>
                  <a:pt x="183" y="801"/>
                </a:lnTo>
                <a:lnTo>
                  <a:pt x="167" y="793"/>
                </a:lnTo>
                <a:lnTo>
                  <a:pt x="151" y="782"/>
                </a:lnTo>
                <a:lnTo>
                  <a:pt x="135" y="773"/>
                </a:lnTo>
                <a:lnTo>
                  <a:pt x="118" y="768"/>
                </a:lnTo>
                <a:lnTo>
                  <a:pt x="101" y="769"/>
                </a:lnTo>
                <a:lnTo>
                  <a:pt x="83" y="773"/>
                </a:lnTo>
                <a:lnTo>
                  <a:pt x="66" y="782"/>
                </a:lnTo>
                <a:lnTo>
                  <a:pt x="64" y="783"/>
                </a:lnTo>
                <a:lnTo>
                  <a:pt x="61" y="783"/>
                </a:lnTo>
                <a:lnTo>
                  <a:pt x="58" y="782"/>
                </a:lnTo>
                <a:lnTo>
                  <a:pt x="57" y="780"/>
                </a:lnTo>
                <a:lnTo>
                  <a:pt x="54" y="778"/>
                </a:lnTo>
                <a:lnTo>
                  <a:pt x="54" y="776"/>
                </a:lnTo>
                <a:lnTo>
                  <a:pt x="54" y="740"/>
                </a:lnTo>
                <a:lnTo>
                  <a:pt x="55" y="733"/>
                </a:lnTo>
                <a:lnTo>
                  <a:pt x="60" y="725"/>
                </a:lnTo>
                <a:lnTo>
                  <a:pt x="66" y="719"/>
                </a:lnTo>
                <a:lnTo>
                  <a:pt x="83" y="712"/>
                </a:lnTo>
                <a:lnTo>
                  <a:pt x="101" y="707"/>
                </a:lnTo>
                <a:lnTo>
                  <a:pt x="118" y="707"/>
                </a:lnTo>
                <a:lnTo>
                  <a:pt x="135" y="711"/>
                </a:lnTo>
                <a:lnTo>
                  <a:pt x="151" y="721"/>
                </a:lnTo>
                <a:lnTo>
                  <a:pt x="167" y="730"/>
                </a:lnTo>
                <a:lnTo>
                  <a:pt x="183" y="740"/>
                </a:lnTo>
                <a:lnTo>
                  <a:pt x="198" y="747"/>
                </a:lnTo>
                <a:lnTo>
                  <a:pt x="214" y="750"/>
                </a:lnTo>
                <a:lnTo>
                  <a:pt x="231" y="747"/>
                </a:lnTo>
                <a:lnTo>
                  <a:pt x="246" y="740"/>
                </a:lnTo>
                <a:lnTo>
                  <a:pt x="262" y="730"/>
                </a:lnTo>
                <a:lnTo>
                  <a:pt x="278" y="721"/>
                </a:lnTo>
                <a:lnTo>
                  <a:pt x="295" y="711"/>
                </a:lnTo>
                <a:lnTo>
                  <a:pt x="307" y="707"/>
                </a:lnTo>
                <a:lnTo>
                  <a:pt x="321" y="707"/>
                </a:lnTo>
                <a:close/>
                <a:moveTo>
                  <a:pt x="174" y="105"/>
                </a:moveTo>
                <a:lnTo>
                  <a:pt x="169" y="105"/>
                </a:lnTo>
                <a:lnTo>
                  <a:pt x="165" y="107"/>
                </a:lnTo>
                <a:lnTo>
                  <a:pt x="162" y="111"/>
                </a:lnTo>
                <a:lnTo>
                  <a:pt x="159" y="115"/>
                </a:lnTo>
                <a:lnTo>
                  <a:pt x="159" y="120"/>
                </a:lnTo>
                <a:lnTo>
                  <a:pt x="159" y="167"/>
                </a:lnTo>
                <a:lnTo>
                  <a:pt x="158" y="172"/>
                </a:lnTo>
                <a:lnTo>
                  <a:pt x="157" y="176"/>
                </a:lnTo>
                <a:lnTo>
                  <a:pt x="153" y="179"/>
                </a:lnTo>
                <a:lnTo>
                  <a:pt x="149" y="182"/>
                </a:lnTo>
                <a:lnTo>
                  <a:pt x="145" y="182"/>
                </a:lnTo>
                <a:lnTo>
                  <a:pt x="126" y="182"/>
                </a:lnTo>
                <a:lnTo>
                  <a:pt x="110" y="182"/>
                </a:lnTo>
                <a:lnTo>
                  <a:pt x="98" y="182"/>
                </a:lnTo>
                <a:lnTo>
                  <a:pt x="92" y="182"/>
                </a:lnTo>
                <a:lnTo>
                  <a:pt x="92" y="258"/>
                </a:lnTo>
                <a:lnTo>
                  <a:pt x="321" y="227"/>
                </a:lnTo>
                <a:lnTo>
                  <a:pt x="550" y="258"/>
                </a:lnTo>
                <a:lnTo>
                  <a:pt x="550" y="182"/>
                </a:lnTo>
                <a:lnTo>
                  <a:pt x="544" y="182"/>
                </a:lnTo>
                <a:lnTo>
                  <a:pt x="532" y="182"/>
                </a:lnTo>
                <a:lnTo>
                  <a:pt x="515" y="182"/>
                </a:lnTo>
                <a:lnTo>
                  <a:pt x="497" y="182"/>
                </a:lnTo>
                <a:lnTo>
                  <a:pt x="493" y="182"/>
                </a:lnTo>
                <a:lnTo>
                  <a:pt x="488" y="179"/>
                </a:lnTo>
                <a:lnTo>
                  <a:pt x="486" y="176"/>
                </a:lnTo>
                <a:lnTo>
                  <a:pt x="483" y="172"/>
                </a:lnTo>
                <a:lnTo>
                  <a:pt x="483" y="167"/>
                </a:lnTo>
                <a:lnTo>
                  <a:pt x="483" y="120"/>
                </a:lnTo>
                <a:lnTo>
                  <a:pt x="482" y="115"/>
                </a:lnTo>
                <a:lnTo>
                  <a:pt x="480" y="111"/>
                </a:lnTo>
                <a:lnTo>
                  <a:pt x="477" y="107"/>
                </a:lnTo>
                <a:lnTo>
                  <a:pt x="472" y="105"/>
                </a:lnTo>
                <a:lnTo>
                  <a:pt x="469" y="105"/>
                </a:lnTo>
                <a:lnTo>
                  <a:pt x="174" y="105"/>
                </a:lnTo>
                <a:close/>
                <a:moveTo>
                  <a:pt x="290" y="0"/>
                </a:moveTo>
                <a:lnTo>
                  <a:pt x="351" y="0"/>
                </a:lnTo>
                <a:lnTo>
                  <a:pt x="366" y="2"/>
                </a:lnTo>
                <a:lnTo>
                  <a:pt x="378" y="11"/>
                </a:lnTo>
                <a:lnTo>
                  <a:pt x="385" y="23"/>
                </a:lnTo>
                <a:lnTo>
                  <a:pt x="388" y="37"/>
                </a:lnTo>
                <a:lnTo>
                  <a:pt x="388" y="57"/>
                </a:lnTo>
                <a:lnTo>
                  <a:pt x="477" y="57"/>
                </a:lnTo>
                <a:lnTo>
                  <a:pt x="492" y="60"/>
                </a:lnTo>
                <a:lnTo>
                  <a:pt x="503" y="68"/>
                </a:lnTo>
                <a:lnTo>
                  <a:pt x="511" y="79"/>
                </a:lnTo>
                <a:lnTo>
                  <a:pt x="514" y="94"/>
                </a:lnTo>
                <a:lnTo>
                  <a:pt x="514" y="150"/>
                </a:lnTo>
                <a:lnTo>
                  <a:pt x="552" y="150"/>
                </a:lnTo>
                <a:lnTo>
                  <a:pt x="566" y="153"/>
                </a:lnTo>
                <a:lnTo>
                  <a:pt x="577" y="161"/>
                </a:lnTo>
                <a:lnTo>
                  <a:pt x="586" y="172"/>
                </a:lnTo>
                <a:lnTo>
                  <a:pt x="588" y="187"/>
                </a:lnTo>
                <a:lnTo>
                  <a:pt x="588" y="264"/>
                </a:lnTo>
                <a:lnTo>
                  <a:pt x="614" y="267"/>
                </a:lnTo>
                <a:lnTo>
                  <a:pt x="627" y="272"/>
                </a:lnTo>
                <a:lnTo>
                  <a:pt x="637" y="282"/>
                </a:lnTo>
                <a:lnTo>
                  <a:pt x="642" y="296"/>
                </a:lnTo>
                <a:lnTo>
                  <a:pt x="641" y="310"/>
                </a:lnTo>
                <a:lnTo>
                  <a:pt x="526" y="684"/>
                </a:lnTo>
                <a:lnTo>
                  <a:pt x="511" y="685"/>
                </a:lnTo>
                <a:lnTo>
                  <a:pt x="498" y="690"/>
                </a:lnTo>
                <a:lnTo>
                  <a:pt x="482" y="699"/>
                </a:lnTo>
                <a:lnTo>
                  <a:pt x="466" y="708"/>
                </a:lnTo>
                <a:lnTo>
                  <a:pt x="453" y="717"/>
                </a:lnTo>
                <a:lnTo>
                  <a:pt x="439" y="724"/>
                </a:lnTo>
                <a:lnTo>
                  <a:pt x="427" y="727"/>
                </a:lnTo>
                <a:lnTo>
                  <a:pt x="415" y="724"/>
                </a:lnTo>
                <a:lnTo>
                  <a:pt x="403" y="717"/>
                </a:lnTo>
                <a:lnTo>
                  <a:pt x="388" y="708"/>
                </a:lnTo>
                <a:lnTo>
                  <a:pt x="373" y="699"/>
                </a:lnTo>
                <a:lnTo>
                  <a:pt x="357" y="690"/>
                </a:lnTo>
                <a:lnTo>
                  <a:pt x="339" y="685"/>
                </a:lnTo>
                <a:lnTo>
                  <a:pt x="321" y="684"/>
                </a:lnTo>
                <a:lnTo>
                  <a:pt x="302" y="685"/>
                </a:lnTo>
                <a:lnTo>
                  <a:pt x="285" y="690"/>
                </a:lnTo>
                <a:lnTo>
                  <a:pt x="269" y="699"/>
                </a:lnTo>
                <a:lnTo>
                  <a:pt x="253" y="708"/>
                </a:lnTo>
                <a:lnTo>
                  <a:pt x="240" y="717"/>
                </a:lnTo>
                <a:lnTo>
                  <a:pt x="227" y="724"/>
                </a:lnTo>
                <a:lnTo>
                  <a:pt x="214" y="727"/>
                </a:lnTo>
                <a:lnTo>
                  <a:pt x="202" y="724"/>
                </a:lnTo>
                <a:lnTo>
                  <a:pt x="190" y="717"/>
                </a:lnTo>
                <a:lnTo>
                  <a:pt x="175" y="708"/>
                </a:lnTo>
                <a:lnTo>
                  <a:pt x="160" y="699"/>
                </a:lnTo>
                <a:lnTo>
                  <a:pt x="145" y="690"/>
                </a:lnTo>
                <a:lnTo>
                  <a:pt x="131" y="685"/>
                </a:lnTo>
                <a:lnTo>
                  <a:pt x="116" y="684"/>
                </a:lnTo>
                <a:lnTo>
                  <a:pt x="2" y="310"/>
                </a:lnTo>
                <a:lnTo>
                  <a:pt x="0" y="296"/>
                </a:lnTo>
                <a:lnTo>
                  <a:pt x="5" y="282"/>
                </a:lnTo>
                <a:lnTo>
                  <a:pt x="15" y="272"/>
                </a:lnTo>
                <a:lnTo>
                  <a:pt x="28" y="267"/>
                </a:lnTo>
                <a:lnTo>
                  <a:pt x="53" y="264"/>
                </a:lnTo>
                <a:lnTo>
                  <a:pt x="53" y="187"/>
                </a:lnTo>
                <a:lnTo>
                  <a:pt x="57" y="172"/>
                </a:lnTo>
                <a:lnTo>
                  <a:pt x="64" y="161"/>
                </a:lnTo>
                <a:lnTo>
                  <a:pt x="76" y="153"/>
                </a:lnTo>
                <a:lnTo>
                  <a:pt x="91" y="150"/>
                </a:lnTo>
                <a:lnTo>
                  <a:pt x="127" y="150"/>
                </a:lnTo>
                <a:lnTo>
                  <a:pt x="127" y="94"/>
                </a:lnTo>
                <a:lnTo>
                  <a:pt x="130" y="79"/>
                </a:lnTo>
                <a:lnTo>
                  <a:pt x="138" y="68"/>
                </a:lnTo>
                <a:lnTo>
                  <a:pt x="151" y="60"/>
                </a:lnTo>
                <a:lnTo>
                  <a:pt x="164" y="57"/>
                </a:lnTo>
                <a:lnTo>
                  <a:pt x="253" y="57"/>
                </a:lnTo>
                <a:lnTo>
                  <a:pt x="253" y="37"/>
                </a:lnTo>
                <a:lnTo>
                  <a:pt x="256" y="23"/>
                </a:lnTo>
                <a:lnTo>
                  <a:pt x="264" y="11"/>
                </a:lnTo>
                <a:lnTo>
                  <a:pt x="277" y="2"/>
                </a:lnTo>
                <a:lnTo>
                  <a:pt x="290" y="0"/>
                </a:ln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24" name="TextBox 162">
            <a:extLst>
              <a:ext uri="{FF2B5EF4-FFF2-40B4-BE49-F238E27FC236}">
                <a16:creationId xmlns:a16="http://schemas.microsoft.com/office/drawing/2014/main" id="{EB624E87-FB82-43D8-B298-FA3E916B796E}"/>
              </a:ext>
            </a:extLst>
          </p:cNvPr>
          <p:cNvSpPr txBox="1"/>
          <p:nvPr/>
        </p:nvSpPr>
        <p:spPr>
          <a:xfrm>
            <a:off x="7458403" y="4514869"/>
            <a:ext cx="2666719" cy="3120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Nuova fermata passeggeri</a:t>
            </a:r>
          </a:p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Upgrading tecnologico linea di collegamento</a:t>
            </a:r>
          </a:p>
        </p:txBody>
      </p:sp>
      <p:sp>
        <p:nvSpPr>
          <p:cNvPr id="125" name="TextBox 173">
            <a:extLst>
              <a:ext uri="{FF2B5EF4-FFF2-40B4-BE49-F238E27FC236}">
                <a16:creationId xmlns:a16="http://schemas.microsoft.com/office/drawing/2014/main" id="{0B7C1F53-58AE-4B77-ACCA-49ED04191894}"/>
              </a:ext>
            </a:extLst>
          </p:cNvPr>
          <p:cNvSpPr txBox="1"/>
          <p:nvPr/>
        </p:nvSpPr>
        <p:spPr>
          <a:xfrm>
            <a:off x="10232224" y="4607378"/>
            <a:ext cx="1602135" cy="1560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algn="ctr" defTabSz="895328">
              <a:buClr>
                <a:srgbClr val="D90000"/>
              </a:buClr>
              <a:defRPr/>
            </a:pPr>
            <a:r>
              <a:rPr lang="it-IT" sz="1067" kern="0"/>
              <a:t>Progettazione</a:t>
            </a:r>
            <a:endParaRPr lang="it-IT" sz="1067" b="1" kern="0"/>
          </a:p>
        </p:txBody>
      </p:sp>
      <p:sp>
        <p:nvSpPr>
          <p:cNvPr id="126" name="TextBox 162">
            <a:extLst>
              <a:ext uri="{FF2B5EF4-FFF2-40B4-BE49-F238E27FC236}">
                <a16:creationId xmlns:a16="http://schemas.microsoft.com/office/drawing/2014/main" id="{EB624E87-FB82-43D8-B298-FA3E916B796E}"/>
              </a:ext>
            </a:extLst>
          </p:cNvPr>
          <p:cNvSpPr txBox="1"/>
          <p:nvPr/>
        </p:nvSpPr>
        <p:spPr>
          <a:xfrm>
            <a:off x="7458403" y="4897584"/>
            <a:ext cx="2666719" cy="3120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Eliminazione interferenze con viabilità</a:t>
            </a:r>
          </a:p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Nuova stazione</a:t>
            </a:r>
          </a:p>
        </p:txBody>
      </p:sp>
      <p:sp>
        <p:nvSpPr>
          <p:cNvPr id="127" name="TextBox 173">
            <a:extLst>
              <a:ext uri="{FF2B5EF4-FFF2-40B4-BE49-F238E27FC236}">
                <a16:creationId xmlns:a16="http://schemas.microsoft.com/office/drawing/2014/main" id="{0B7C1F53-58AE-4B77-ACCA-49ED04191894}"/>
              </a:ext>
            </a:extLst>
          </p:cNvPr>
          <p:cNvSpPr txBox="1"/>
          <p:nvPr/>
        </p:nvSpPr>
        <p:spPr>
          <a:xfrm>
            <a:off x="10230853" y="4990514"/>
            <a:ext cx="1602135" cy="1560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algn="ctr" defTabSz="895328">
              <a:buClr>
                <a:srgbClr val="D90000"/>
              </a:buClr>
              <a:defRPr/>
            </a:pPr>
            <a:r>
              <a:rPr lang="it-IT" sz="1067" kern="0"/>
              <a:t>Fattibilità</a:t>
            </a:r>
            <a:endParaRPr lang="it-IT" sz="1067" b="1" kern="0"/>
          </a:p>
        </p:txBody>
      </p:sp>
      <p:sp>
        <p:nvSpPr>
          <p:cNvPr id="128" name="TextBox 162">
            <a:extLst>
              <a:ext uri="{FF2B5EF4-FFF2-40B4-BE49-F238E27FC236}">
                <a16:creationId xmlns:a16="http://schemas.microsoft.com/office/drawing/2014/main" id="{EB624E87-FB82-43D8-B298-FA3E916B796E}"/>
              </a:ext>
            </a:extLst>
          </p:cNvPr>
          <p:cNvSpPr txBox="1"/>
          <p:nvPr/>
        </p:nvSpPr>
        <p:spPr>
          <a:xfrm>
            <a:off x="7458403" y="5272818"/>
            <a:ext cx="2666719" cy="3120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Potenziamento stazione Cagioni</a:t>
            </a:r>
          </a:p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Collegamento a nuova piastra logistica</a:t>
            </a:r>
          </a:p>
        </p:txBody>
      </p:sp>
      <p:sp>
        <p:nvSpPr>
          <p:cNvPr id="129" name="TextBox 173">
            <a:extLst>
              <a:ext uri="{FF2B5EF4-FFF2-40B4-BE49-F238E27FC236}">
                <a16:creationId xmlns:a16="http://schemas.microsoft.com/office/drawing/2014/main" id="{0B7C1F53-58AE-4B77-ACCA-49ED04191894}"/>
              </a:ext>
            </a:extLst>
          </p:cNvPr>
          <p:cNvSpPr txBox="1"/>
          <p:nvPr/>
        </p:nvSpPr>
        <p:spPr>
          <a:xfrm>
            <a:off x="10230853" y="5365749"/>
            <a:ext cx="1602135" cy="1560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algn="ctr" defTabSz="895328">
              <a:buClr>
                <a:srgbClr val="D90000"/>
              </a:buClr>
              <a:defRPr/>
            </a:pPr>
            <a:r>
              <a:rPr lang="it-IT" sz="1067" kern="0"/>
              <a:t>Realizzazione</a:t>
            </a:r>
            <a:endParaRPr lang="it-IT" sz="1067" b="1" kern="0"/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2F096F5E-7BDB-4DEB-8BBC-B465FBD9AB6D}"/>
              </a:ext>
            </a:extLst>
          </p:cNvPr>
          <p:cNvSpPr txBox="1"/>
          <p:nvPr/>
        </p:nvSpPr>
        <p:spPr>
          <a:xfrm>
            <a:off x="6229590" y="5620161"/>
            <a:ext cx="3335676" cy="1560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defTabSz="895328">
              <a:buClr>
                <a:srgbClr val="D90000"/>
              </a:buClr>
              <a:defRPr/>
            </a:pPr>
            <a:r>
              <a:rPr lang="it-IT" sz="1067" b="1" kern="0">
                <a:solidFill>
                  <a:srgbClr val="000000"/>
                </a:solidFill>
              </a:rPr>
              <a:t>Vasto</a:t>
            </a:r>
          </a:p>
        </p:txBody>
      </p:sp>
      <p:sp>
        <p:nvSpPr>
          <p:cNvPr id="131" name="TextBox 162">
            <a:extLst>
              <a:ext uri="{FF2B5EF4-FFF2-40B4-BE49-F238E27FC236}">
                <a16:creationId xmlns:a16="http://schemas.microsoft.com/office/drawing/2014/main" id="{EB624E87-FB82-43D8-B298-FA3E916B796E}"/>
              </a:ext>
            </a:extLst>
          </p:cNvPr>
          <p:cNvSpPr txBox="1"/>
          <p:nvPr/>
        </p:nvSpPr>
        <p:spPr>
          <a:xfrm>
            <a:off x="7458403" y="5608553"/>
            <a:ext cx="2666719" cy="1560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Nuovo collegamento</a:t>
            </a:r>
          </a:p>
        </p:txBody>
      </p:sp>
      <p:sp>
        <p:nvSpPr>
          <p:cNvPr id="132" name="TextBox 173">
            <a:extLst>
              <a:ext uri="{FF2B5EF4-FFF2-40B4-BE49-F238E27FC236}">
                <a16:creationId xmlns:a16="http://schemas.microsoft.com/office/drawing/2014/main" id="{0B7C1F53-58AE-4B77-ACCA-49ED04191894}"/>
              </a:ext>
            </a:extLst>
          </p:cNvPr>
          <p:cNvSpPr txBox="1"/>
          <p:nvPr/>
        </p:nvSpPr>
        <p:spPr>
          <a:xfrm>
            <a:off x="10230853" y="5626683"/>
            <a:ext cx="1602135" cy="1560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algn="ctr" defTabSz="895328">
              <a:buClr>
                <a:srgbClr val="D90000"/>
              </a:buClr>
              <a:defRPr/>
            </a:pPr>
            <a:r>
              <a:rPr lang="it-IT" sz="1067" kern="0"/>
              <a:t>Fattibilità</a:t>
            </a:r>
            <a:endParaRPr lang="it-IT" sz="1067" b="1" kern="0"/>
          </a:p>
        </p:txBody>
      </p:sp>
      <p:cxnSp>
        <p:nvCxnSpPr>
          <p:cNvPr id="133" name="Straight Connector 145">
            <a:extLst>
              <a:ext uri="{FF2B5EF4-FFF2-40B4-BE49-F238E27FC236}">
                <a16:creationId xmlns:a16="http://schemas.microsoft.com/office/drawing/2014/main" id="{CDB45A7F-E6EC-4DF8-9C7F-E75C4036A090}"/>
              </a:ext>
            </a:extLst>
          </p:cNvPr>
          <p:cNvCxnSpPr>
            <a:cxnSpLocks/>
          </p:cNvCxnSpPr>
          <p:nvPr>
            <p:custDataLst>
              <p:tags r:id="rId10"/>
            </p:custDataLst>
          </p:nvPr>
        </p:nvCxnSpPr>
        <p:spPr bwMode="gray">
          <a:xfrm>
            <a:off x="6199260" y="5774071"/>
            <a:ext cx="56520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sp>
        <p:nvSpPr>
          <p:cNvPr id="134" name="TextBox 162">
            <a:extLst>
              <a:ext uri="{FF2B5EF4-FFF2-40B4-BE49-F238E27FC236}">
                <a16:creationId xmlns:a16="http://schemas.microsoft.com/office/drawing/2014/main" id="{EB624E87-FB82-43D8-B298-FA3E916B796E}"/>
              </a:ext>
            </a:extLst>
          </p:cNvPr>
          <p:cNvSpPr txBox="1"/>
          <p:nvPr/>
        </p:nvSpPr>
        <p:spPr>
          <a:xfrm>
            <a:off x="7458403" y="5847643"/>
            <a:ext cx="2666719" cy="1560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Nuovo collegamento a porto commerciale</a:t>
            </a:r>
          </a:p>
        </p:txBody>
      </p:sp>
      <p:sp>
        <p:nvSpPr>
          <p:cNvPr id="135" name="TextBox 173">
            <a:extLst>
              <a:ext uri="{FF2B5EF4-FFF2-40B4-BE49-F238E27FC236}">
                <a16:creationId xmlns:a16="http://schemas.microsoft.com/office/drawing/2014/main" id="{0B7C1F53-58AE-4B77-ACCA-49ED04191894}"/>
              </a:ext>
            </a:extLst>
          </p:cNvPr>
          <p:cNvSpPr txBox="1"/>
          <p:nvPr/>
        </p:nvSpPr>
        <p:spPr>
          <a:xfrm>
            <a:off x="10224603" y="5839039"/>
            <a:ext cx="1602135" cy="1560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algn="ctr" defTabSz="895328">
              <a:buClr>
                <a:srgbClr val="D90000"/>
              </a:buClr>
              <a:defRPr/>
            </a:pPr>
            <a:r>
              <a:rPr lang="it-IT" sz="1067" kern="0"/>
              <a:t>Fattibilità</a:t>
            </a:r>
            <a:endParaRPr lang="it-IT" sz="1067" b="1" kern="0"/>
          </a:p>
        </p:txBody>
      </p:sp>
      <p:sp>
        <p:nvSpPr>
          <p:cNvPr id="136" name="Freeform 581"/>
          <p:cNvSpPr>
            <a:spLocks noEditPoints="1"/>
          </p:cNvSpPr>
          <p:nvPr/>
        </p:nvSpPr>
        <p:spPr bwMode="auto">
          <a:xfrm>
            <a:off x="2405555" y="1954130"/>
            <a:ext cx="184865" cy="196945"/>
          </a:xfrm>
          <a:custGeom>
            <a:avLst/>
            <a:gdLst>
              <a:gd name="T0" fmla="*/ 363 w 642"/>
              <a:gd name="T1" fmla="*/ 721 h 811"/>
              <a:gd name="T2" fmla="*/ 427 w 642"/>
              <a:gd name="T3" fmla="*/ 750 h 811"/>
              <a:gd name="T4" fmla="*/ 491 w 642"/>
              <a:gd name="T5" fmla="*/ 721 h 811"/>
              <a:gd name="T6" fmla="*/ 558 w 642"/>
              <a:gd name="T7" fmla="*/ 712 h 811"/>
              <a:gd name="T8" fmla="*/ 587 w 642"/>
              <a:gd name="T9" fmla="*/ 740 h 811"/>
              <a:gd name="T10" fmla="*/ 583 w 642"/>
              <a:gd name="T11" fmla="*/ 782 h 811"/>
              <a:gd name="T12" fmla="*/ 558 w 642"/>
              <a:gd name="T13" fmla="*/ 773 h 811"/>
              <a:gd name="T14" fmla="*/ 491 w 642"/>
              <a:gd name="T15" fmla="*/ 782 h 811"/>
              <a:gd name="T16" fmla="*/ 427 w 642"/>
              <a:gd name="T17" fmla="*/ 811 h 811"/>
              <a:gd name="T18" fmla="*/ 363 w 642"/>
              <a:gd name="T19" fmla="*/ 782 h 811"/>
              <a:gd name="T20" fmla="*/ 307 w 642"/>
              <a:gd name="T21" fmla="*/ 769 h 811"/>
              <a:gd name="T22" fmla="*/ 246 w 642"/>
              <a:gd name="T23" fmla="*/ 801 h 811"/>
              <a:gd name="T24" fmla="*/ 183 w 642"/>
              <a:gd name="T25" fmla="*/ 801 h 811"/>
              <a:gd name="T26" fmla="*/ 118 w 642"/>
              <a:gd name="T27" fmla="*/ 768 h 811"/>
              <a:gd name="T28" fmla="*/ 64 w 642"/>
              <a:gd name="T29" fmla="*/ 783 h 811"/>
              <a:gd name="T30" fmla="*/ 54 w 642"/>
              <a:gd name="T31" fmla="*/ 778 h 811"/>
              <a:gd name="T32" fmla="*/ 60 w 642"/>
              <a:gd name="T33" fmla="*/ 725 h 811"/>
              <a:gd name="T34" fmla="*/ 118 w 642"/>
              <a:gd name="T35" fmla="*/ 707 h 811"/>
              <a:gd name="T36" fmla="*/ 183 w 642"/>
              <a:gd name="T37" fmla="*/ 740 h 811"/>
              <a:gd name="T38" fmla="*/ 246 w 642"/>
              <a:gd name="T39" fmla="*/ 740 h 811"/>
              <a:gd name="T40" fmla="*/ 307 w 642"/>
              <a:gd name="T41" fmla="*/ 707 h 811"/>
              <a:gd name="T42" fmla="*/ 165 w 642"/>
              <a:gd name="T43" fmla="*/ 107 h 811"/>
              <a:gd name="T44" fmla="*/ 159 w 642"/>
              <a:gd name="T45" fmla="*/ 167 h 811"/>
              <a:gd name="T46" fmla="*/ 149 w 642"/>
              <a:gd name="T47" fmla="*/ 182 h 811"/>
              <a:gd name="T48" fmla="*/ 98 w 642"/>
              <a:gd name="T49" fmla="*/ 182 h 811"/>
              <a:gd name="T50" fmla="*/ 550 w 642"/>
              <a:gd name="T51" fmla="*/ 258 h 811"/>
              <a:gd name="T52" fmla="*/ 515 w 642"/>
              <a:gd name="T53" fmla="*/ 182 h 811"/>
              <a:gd name="T54" fmla="*/ 486 w 642"/>
              <a:gd name="T55" fmla="*/ 176 h 811"/>
              <a:gd name="T56" fmla="*/ 482 w 642"/>
              <a:gd name="T57" fmla="*/ 115 h 811"/>
              <a:gd name="T58" fmla="*/ 469 w 642"/>
              <a:gd name="T59" fmla="*/ 105 h 811"/>
              <a:gd name="T60" fmla="*/ 366 w 642"/>
              <a:gd name="T61" fmla="*/ 2 h 811"/>
              <a:gd name="T62" fmla="*/ 388 w 642"/>
              <a:gd name="T63" fmla="*/ 57 h 811"/>
              <a:gd name="T64" fmla="*/ 511 w 642"/>
              <a:gd name="T65" fmla="*/ 79 h 811"/>
              <a:gd name="T66" fmla="*/ 566 w 642"/>
              <a:gd name="T67" fmla="*/ 153 h 811"/>
              <a:gd name="T68" fmla="*/ 588 w 642"/>
              <a:gd name="T69" fmla="*/ 264 h 811"/>
              <a:gd name="T70" fmla="*/ 642 w 642"/>
              <a:gd name="T71" fmla="*/ 296 h 811"/>
              <a:gd name="T72" fmla="*/ 498 w 642"/>
              <a:gd name="T73" fmla="*/ 690 h 811"/>
              <a:gd name="T74" fmla="*/ 439 w 642"/>
              <a:gd name="T75" fmla="*/ 724 h 811"/>
              <a:gd name="T76" fmla="*/ 388 w 642"/>
              <a:gd name="T77" fmla="*/ 708 h 811"/>
              <a:gd name="T78" fmla="*/ 321 w 642"/>
              <a:gd name="T79" fmla="*/ 684 h 811"/>
              <a:gd name="T80" fmla="*/ 253 w 642"/>
              <a:gd name="T81" fmla="*/ 708 h 811"/>
              <a:gd name="T82" fmla="*/ 202 w 642"/>
              <a:gd name="T83" fmla="*/ 724 h 811"/>
              <a:gd name="T84" fmla="*/ 145 w 642"/>
              <a:gd name="T85" fmla="*/ 690 h 811"/>
              <a:gd name="T86" fmla="*/ 0 w 642"/>
              <a:gd name="T87" fmla="*/ 296 h 811"/>
              <a:gd name="T88" fmla="*/ 53 w 642"/>
              <a:gd name="T89" fmla="*/ 264 h 811"/>
              <a:gd name="T90" fmla="*/ 76 w 642"/>
              <a:gd name="T91" fmla="*/ 153 h 811"/>
              <a:gd name="T92" fmla="*/ 130 w 642"/>
              <a:gd name="T93" fmla="*/ 79 h 811"/>
              <a:gd name="T94" fmla="*/ 253 w 642"/>
              <a:gd name="T95" fmla="*/ 57 h 811"/>
              <a:gd name="T96" fmla="*/ 277 w 642"/>
              <a:gd name="T97" fmla="*/ 2 h 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2" h="811">
                <a:moveTo>
                  <a:pt x="321" y="707"/>
                </a:moveTo>
                <a:lnTo>
                  <a:pt x="334" y="707"/>
                </a:lnTo>
                <a:lnTo>
                  <a:pt x="348" y="711"/>
                </a:lnTo>
                <a:lnTo>
                  <a:pt x="363" y="721"/>
                </a:lnTo>
                <a:lnTo>
                  <a:pt x="379" y="730"/>
                </a:lnTo>
                <a:lnTo>
                  <a:pt x="395" y="740"/>
                </a:lnTo>
                <a:lnTo>
                  <a:pt x="411" y="747"/>
                </a:lnTo>
                <a:lnTo>
                  <a:pt x="427" y="750"/>
                </a:lnTo>
                <a:lnTo>
                  <a:pt x="443" y="747"/>
                </a:lnTo>
                <a:lnTo>
                  <a:pt x="459" y="740"/>
                </a:lnTo>
                <a:lnTo>
                  <a:pt x="475" y="730"/>
                </a:lnTo>
                <a:lnTo>
                  <a:pt x="491" y="721"/>
                </a:lnTo>
                <a:lnTo>
                  <a:pt x="508" y="711"/>
                </a:lnTo>
                <a:lnTo>
                  <a:pt x="524" y="707"/>
                </a:lnTo>
                <a:lnTo>
                  <a:pt x="541" y="707"/>
                </a:lnTo>
                <a:lnTo>
                  <a:pt x="558" y="712"/>
                </a:lnTo>
                <a:lnTo>
                  <a:pt x="575" y="719"/>
                </a:lnTo>
                <a:lnTo>
                  <a:pt x="582" y="725"/>
                </a:lnTo>
                <a:lnTo>
                  <a:pt x="586" y="733"/>
                </a:lnTo>
                <a:lnTo>
                  <a:pt x="587" y="740"/>
                </a:lnTo>
                <a:lnTo>
                  <a:pt x="587" y="776"/>
                </a:lnTo>
                <a:lnTo>
                  <a:pt x="587" y="778"/>
                </a:lnTo>
                <a:lnTo>
                  <a:pt x="586" y="780"/>
                </a:lnTo>
                <a:lnTo>
                  <a:pt x="583" y="782"/>
                </a:lnTo>
                <a:lnTo>
                  <a:pt x="581" y="783"/>
                </a:lnTo>
                <a:lnTo>
                  <a:pt x="579" y="783"/>
                </a:lnTo>
                <a:lnTo>
                  <a:pt x="575" y="782"/>
                </a:lnTo>
                <a:lnTo>
                  <a:pt x="558" y="773"/>
                </a:lnTo>
                <a:lnTo>
                  <a:pt x="541" y="769"/>
                </a:lnTo>
                <a:lnTo>
                  <a:pt x="524" y="768"/>
                </a:lnTo>
                <a:lnTo>
                  <a:pt x="508" y="773"/>
                </a:lnTo>
                <a:lnTo>
                  <a:pt x="491" y="782"/>
                </a:lnTo>
                <a:lnTo>
                  <a:pt x="475" y="793"/>
                </a:lnTo>
                <a:lnTo>
                  <a:pt x="459" y="801"/>
                </a:lnTo>
                <a:lnTo>
                  <a:pt x="443" y="809"/>
                </a:lnTo>
                <a:lnTo>
                  <a:pt x="427" y="811"/>
                </a:lnTo>
                <a:lnTo>
                  <a:pt x="411" y="809"/>
                </a:lnTo>
                <a:lnTo>
                  <a:pt x="395" y="801"/>
                </a:lnTo>
                <a:lnTo>
                  <a:pt x="379" y="793"/>
                </a:lnTo>
                <a:lnTo>
                  <a:pt x="363" y="782"/>
                </a:lnTo>
                <a:lnTo>
                  <a:pt x="348" y="773"/>
                </a:lnTo>
                <a:lnTo>
                  <a:pt x="334" y="769"/>
                </a:lnTo>
                <a:lnTo>
                  <a:pt x="321" y="768"/>
                </a:lnTo>
                <a:lnTo>
                  <a:pt x="307" y="769"/>
                </a:lnTo>
                <a:lnTo>
                  <a:pt x="295" y="773"/>
                </a:lnTo>
                <a:lnTo>
                  <a:pt x="278" y="782"/>
                </a:lnTo>
                <a:lnTo>
                  <a:pt x="262" y="793"/>
                </a:lnTo>
                <a:lnTo>
                  <a:pt x="246" y="801"/>
                </a:lnTo>
                <a:lnTo>
                  <a:pt x="231" y="809"/>
                </a:lnTo>
                <a:lnTo>
                  <a:pt x="214" y="811"/>
                </a:lnTo>
                <a:lnTo>
                  <a:pt x="198" y="809"/>
                </a:lnTo>
                <a:lnTo>
                  <a:pt x="183" y="801"/>
                </a:lnTo>
                <a:lnTo>
                  <a:pt x="167" y="793"/>
                </a:lnTo>
                <a:lnTo>
                  <a:pt x="151" y="782"/>
                </a:lnTo>
                <a:lnTo>
                  <a:pt x="135" y="773"/>
                </a:lnTo>
                <a:lnTo>
                  <a:pt x="118" y="768"/>
                </a:lnTo>
                <a:lnTo>
                  <a:pt x="101" y="769"/>
                </a:lnTo>
                <a:lnTo>
                  <a:pt x="83" y="773"/>
                </a:lnTo>
                <a:lnTo>
                  <a:pt x="66" y="782"/>
                </a:lnTo>
                <a:lnTo>
                  <a:pt x="64" y="783"/>
                </a:lnTo>
                <a:lnTo>
                  <a:pt x="61" y="783"/>
                </a:lnTo>
                <a:lnTo>
                  <a:pt x="58" y="782"/>
                </a:lnTo>
                <a:lnTo>
                  <a:pt x="57" y="780"/>
                </a:lnTo>
                <a:lnTo>
                  <a:pt x="54" y="778"/>
                </a:lnTo>
                <a:lnTo>
                  <a:pt x="54" y="776"/>
                </a:lnTo>
                <a:lnTo>
                  <a:pt x="54" y="740"/>
                </a:lnTo>
                <a:lnTo>
                  <a:pt x="55" y="733"/>
                </a:lnTo>
                <a:lnTo>
                  <a:pt x="60" y="725"/>
                </a:lnTo>
                <a:lnTo>
                  <a:pt x="66" y="719"/>
                </a:lnTo>
                <a:lnTo>
                  <a:pt x="83" y="712"/>
                </a:lnTo>
                <a:lnTo>
                  <a:pt x="101" y="707"/>
                </a:lnTo>
                <a:lnTo>
                  <a:pt x="118" y="707"/>
                </a:lnTo>
                <a:lnTo>
                  <a:pt x="135" y="711"/>
                </a:lnTo>
                <a:lnTo>
                  <a:pt x="151" y="721"/>
                </a:lnTo>
                <a:lnTo>
                  <a:pt x="167" y="730"/>
                </a:lnTo>
                <a:lnTo>
                  <a:pt x="183" y="740"/>
                </a:lnTo>
                <a:lnTo>
                  <a:pt x="198" y="747"/>
                </a:lnTo>
                <a:lnTo>
                  <a:pt x="214" y="750"/>
                </a:lnTo>
                <a:lnTo>
                  <a:pt x="231" y="747"/>
                </a:lnTo>
                <a:lnTo>
                  <a:pt x="246" y="740"/>
                </a:lnTo>
                <a:lnTo>
                  <a:pt x="262" y="730"/>
                </a:lnTo>
                <a:lnTo>
                  <a:pt x="278" y="721"/>
                </a:lnTo>
                <a:lnTo>
                  <a:pt x="295" y="711"/>
                </a:lnTo>
                <a:lnTo>
                  <a:pt x="307" y="707"/>
                </a:lnTo>
                <a:lnTo>
                  <a:pt x="321" y="707"/>
                </a:lnTo>
                <a:close/>
                <a:moveTo>
                  <a:pt x="174" y="105"/>
                </a:moveTo>
                <a:lnTo>
                  <a:pt x="169" y="105"/>
                </a:lnTo>
                <a:lnTo>
                  <a:pt x="165" y="107"/>
                </a:lnTo>
                <a:lnTo>
                  <a:pt x="162" y="111"/>
                </a:lnTo>
                <a:lnTo>
                  <a:pt x="159" y="115"/>
                </a:lnTo>
                <a:lnTo>
                  <a:pt x="159" y="120"/>
                </a:lnTo>
                <a:lnTo>
                  <a:pt x="159" y="167"/>
                </a:lnTo>
                <a:lnTo>
                  <a:pt x="158" y="172"/>
                </a:lnTo>
                <a:lnTo>
                  <a:pt x="157" y="176"/>
                </a:lnTo>
                <a:lnTo>
                  <a:pt x="153" y="179"/>
                </a:lnTo>
                <a:lnTo>
                  <a:pt x="149" y="182"/>
                </a:lnTo>
                <a:lnTo>
                  <a:pt x="145" y="182"/>
                </a:lnTo>
                <a:lnTo>
                  <a:pt x="126" y="182"/>
                </a:lnTo>
                <a:lnTo>
                  <a:pt x="110" y="182"/>
                </a:lnTo>
                <a:lnTo>
                  <a:pt x="98" y="182"/>
                </a:lnTo>
                <a:lnTo>
                  <a:pt x="92" y="182"/>
                </a:lnTo>
                <a:lnTo>
                  <a:pt x="92" y="258"/>
                </a:lnTo>
                <a:lnTo>
                  <a:pt x="321" y="227"/>
                </a:lnTo>
                <a:lnTo>
                  <a:pt x="550" y="258"/>
                </a:lnTo>
                <a:lnTo>
                  <a:pt x="550" y="182"/>
                </a:lnTo>
                <a:lnTo>
                  <a:pt x="544" y="182"/>
                </a:lnTo>
                <a:lnTo>
                  <a:pt x="532" y="182"/>
                </a:lnTo>
                <a:lnTo>
                  <a:pt x="515" y="182"/>
                </a:lnTo>
                <a:lnTo>
                  <a:pt x="497" y="182"/>
                </a:lnTo>
                <a:lnTo>
                  <a:pt x="493" y="182"/>
                </a:lnTo>
                <a:lnTo>
                  <a:pt x="488" y="179"/>
                </a:lnTo>
                <a:lnTo>
                  <a:pt x="486" y="176"/>
                </a:lnTo>
                <a:lnTo>
                  <a:pt x="483" y="172"/>
                </a:lnTo>
                <a:lnTo>
                  <a:pt x="483" y="167"/>
                </a:lnTo>
                <a:lnTo>
                  <a:pt x="483" y="120"/>
                </a:lnTo>
                <a:lnTo>
                  <a:pt x="482" y="115"/>
                </a:lnTo>
                <a:lnTo>
                  <a:pt x="480" y="111"/>
                </a:lnTo>
                <a:lnTo>
                  <a:pt x="477" y="107"/>
                </a:lnTo>
                <a:lnTo>
                  <a:pt x="472" y="105"/>
                </a:lnTo>
                <a:lnTo>
                  <a:pt x="469" y="105"/>
                </a:lnTo>
                <a:lnTo>
                  <a:pt x="174" y="105"/>
                </a:lnTo>
                <a:close/>
                <a:moveTo>
                  <a:pt x="290" y="0"/>
                </a:moveTo>
                <a:lnTo>
                  <a:pt x="351" y="0"/>
                </a:lnTo>
                <a:lnTo>
                  <a:pt x="366" y="2"/>
                </a:lnTo>
                <a:lnTo>
                  <a:pt x="378" y="11"/>
                </a:lnTo>
                <a:lnTo>
                  <a:pt x="385" y="23"/>
                </a:lnTo>
                <a:lnTo>
                  <a:pt x="388" y="37"/>
                </a:lnTo>
                <a:lnTo>
                  <a:pt x="388" y="57"/>
                </a:lnTo>
                <a:lnTo>
                  <a:pt x="477" y="57"/>
                </a:lnTo>
                <a:lnTo>
                  <a:pt x="492" y="60"/>
                </a:lnTo>
                <a:lnTo>
                  <a:pt x="503" y="68"/>
                </a:lnTo>
                <a:lnTo>
                  <a:pt x="511" y="79"/>
                </a:lnTo>
                <a:lnTo>
                  <a:pt x="514" y="94"/>
                </a:lnTo>
                <a:lnTo>
                  <a:pt x="514" y="150"/>
                </a:lnTo>
                <a:lnTo>
                  <a:pt x="552" y="150"/>
                </a:lnTo>
                <a:lnTo>
                  <a:pt x="566" y="153"/>
                </a:lnTo>
                <a:lnTo>
                  <a:pt x="577" y="161"/>
                </a:lnTo>
                <a:lnTo>
                  <a:pt x="586" y="172"/>
                </a:lnTo>
                <a:lnTo>
                  <a:pt x="588" y="187"/>
                </a:lnTo>
                <a:lnTo>
                  <a:pt x="588" y="264"/>
                </a:lnTo>
                <a:lnTo>
                  <a:pt x="614" y="267"/>
                </a:lnTo>
                <a:lnTo>
                  <a:pt x="627" y="272"/>
                </a:lnTo>
                <a:lnTo>
                  <a:pt x="637" y="282"/>
                </a:lnTo>
                <a:lnTo>
                  <a:pt x="642" y="296"/>
                </a:lnTo>
                <a:lnTo>
                  <a:pt x="641" y="310"/>
                </a:lnTo>
                <a:lnTo>
                  <a:pt x="526" y="684"/>
                </a:lnTo>
                <a:lnTo>
                  <a:pt x="511" y="685"/>
                </a:lnTo>
                <a:lnTo>
                  <a:pt x="498" y="690"/>
                </a:lnTo>
                <a:lnTo>
                  <a:pt x="482" y="699"/>
                </a:lnTo>
                <a:lnTo>
                  <a:pt x="466" y="708"/>
                </a:lnTo>
                <a:lnTo>
                  <a:pt x="453" y="717"/>
                </a:lnTo>
                <a:lnTo>
                  <a:pt x="439" y="724"/>
                </a:lnTo>
                <a:lnTo>
                  <a:pt x="427" y="727"/>
                </a:lnTo>
                <a:lnTo>
                  <a:pt x="415" y="724"/>
                </a:lnTo>
                <a:lnTo>
                  <a:pt x="403" y="717"/>
                </a:lnTo>
                <a:lnTo>
                  <a:pt x="388" y="708"/>
                </a:lnTo>
                <a:lnTo>
                  <a:pt x="373" y="699"/>
                </a:lnTo>
                <a:lnTo>
                  <a:pt x="357" y="690"/>
                </a:lnTo>
                <a:lnTo>
                  <a:pt x="339" y="685"/>
                </a:lnTo>
                <a:lnTo>
                  <a:pt x="321" y="684"/>
                </a:lnTo>
                <a:lnTo>
                  <a:pt x="302" y="685"/>
                </a:lnTo>
                <a:lnTo>
                  <a:pt x="285" y="690"/>
                </a:lnTo>
                <a:lnTo>
                  <a:pt x="269" y="699"/>
                </a:lnTo>
                <a:lnTo>
                  <a:pt x="253" y="708"/>
                </a:lnTo>
                <a:lnTo>
                  <a:pt x="240" y="717"/>
                </a:lnTo>
                <a:lnTo>
                  <a:pt x="227" y="724"/>
                </a:lnTo>
                <a:lnTo>
                  <a:pt x="214" y="727"/>
                </a:lnTo>
                <a:lnTo>
                  <a:pt x="202" y="724"/>
                </a:lnTo>
                <a:lnTo>
                  <a:pt x="190" y="717"/>
                </a:lnTo>
                <a:lnTo>
                  <a:pt x="175" y="708"/>
                </a:lnTo>
                <a:lnTo>
                  <a:pt x="160" y="699"/>
                </a:lnTo>
                <a:lnTo>
                  <a:pt x="145" y="690"/>
                </a:lnTo>
                <a:lnTo>
                  <a:pt x="131" y="685"/>
                </a:lnTo>
                <a:lnTo>
                  <a:pt x="116" y="684"/>
                </a:lnTo>
                <a:lnTo>
                  <a:pt x="2" y="310"/>
                </a:lnTo>
                <a:lnTo>
                  <a:pt x="0" y="296"/>
                </a:lnTo>
                <a:lnTo>
                  <a:pt x="5" y="282"/>
                </a:lnTo>
                <a:lnTo>
                  <a:pt x="15" y="272"/>
                </a:lnTo>
                <a:lnTo>
                  <a:pt x="28" y="267"/>
                </a:lnTo>
                <a:lnTo>
                  <a:pt x="53" y="264"/>
                </a:lnTo>
                <a:lnTo>
                  <a:pt x="53" y="187"/>
                </a:lnTo>
                <a:lnTo>
                  <a:pt x="57" y="172"/>
                </a:lnTo>
                <a:lnTo>
                  <a:pt x="64" y="161"/>
                </a:lnTo>
                <a:lnTo>
                  <a:pt x="76" y="153"/>
                </a:lnTo>
                <a:lnTo>
                  <a:pt x="91" y="150"/>
                </a:lnTo>
                <a:lnTo>
                  <a:pt x="127" y="150"/>
                </a:lnTo>
                <a:lnTo>
                  <a:pt x="127" y="94"/>
                </a:lnTo>
                <a:lnTo>
                  <a:pt x="130" y="79"/>
                </a:lnTo>
                <a:lnTo>
                  <a:pt x="138" y="68"/>
                </a:lnTo>
                <a:lnTo>
                  <a:pt x="151" y="60"/>
                </a:lnTo>
                <a:lnTo>
                  <a:pt x="164" y="57"/>
                </a:lnTo>
                <a:lnTo>
                  <a:pt x="253" y="57"/>
                </a:lnTo>
                <a:lnTo>
                  <a:pt x="253" y="37"/>
                </a:lnTo>
                <a:lnTo>
                  <a:pt x="256" y="23"/>
                </a:lnTo>
                <a:lnTo>
                  <a:pt x="264" y="11"/>
                </a:lnTo>
                <a:lnTo>
                  <a:pt x="277" y="2"/>
                </a:lnTo>
                <a:lnTo>
                  <a:pt x="290" y="0"/>
                </a:ln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37" name="CasellaDiTesto 1"/>
          <p:cNvSpPr txBox="1">
            <a:spLocks noChangeArrowheads="1"/>
          </p:cNvSpPr>
          <p:nvPr/>
        </p:nvSpPr>
        <p:spPr bwMode="auto">
          <a:xfrm>
            <a:off x="2551205" y="1988113"/>
            <a:ext cx="602469" cy="245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52" tIns="45577" rIns="91152" bIns="45577">
            <a:spAutoFit/>
          </a:bodyPr>
          <a:lstStyle/>
          <a:p>
            <a:pPr defTabSz="914377" eaLnBrk="0" hangingPunct="0"/>
            <a:r>
              <a:rPr lang="it-IT" altLang="it-IT" sz="997" b="1">
                <a:solidFill>
                  <a:srgbClr val="000000"/>
                </a:solidFill>
                <a:latin typeface="Calibri"/>
              </a:rPr>
              <a:t>Venezia</a:t>
            </a:r>
          </a:p>
        </p:txBody>
      </p:sp>
      <p:sp>
        <p:nvSpPr>
          <p:cNvPr id="139" name="Freeform 581"/>
          <p:cNvSpPr>
            <a:spLocks noEditPoints="1"/>
          </p:cNvSpPr>
          <p:nvPr/>
        </p:nvSpPr>
        <p:spPr bwMode="auto">
          <a:xfrm>
            <a:off x="3140650" y="3189291"/>
            <a:ext cx="184865" cy="196945"/>
          </a:xfrm>
          <a:custGeom>
            <a:avLst/>
            <a:gdLst>
              <a:gd name="T0" fmla="*/ 363 w 642"/>
              <a:gd name="T1" fmla="*/ 721 h 811"/>
              <a:gd name="T2" fmla="*/ 427 w 642"/>
              <a:gd name="T3" fmla="*/ 750 h 811"/>
              <a:gd name="T4" fmla="*/ 491 w 642"/>
              <a:gd name="T5" fmla="*/ 721 h 811"/>
              <a:gd name="T6" fmla="*/ 558 w 642"/>
              <a:gd name="T7" fmla="*/ 712 h 811"/>
              <a:gd name="T8" fmla="*/ 587 w 642"/>
              <a:gd name="T9" fmla="*/ 740 h 811"/>
              <a:gd name="T10" fmla="*/ 583 w 642"/>
              <a:gd name="T11" fmla="*/ 782 h 811"/>
              <a:gd name="T12" fmla="*/ 558 w 642"/>
              <a:gd name="T13" fmla="*/ 773 h 811"/>
              <a:gd name="T14" fmla="*/ 491 w 642"/>
              <a:gd name="T15" fmla="*/ 782 h 811"/>
              <a:gd name="T16" fmla="*/ 427 w 642"/>
              <a:gd name="T17" fmla="*/ 811 h 811"/>
              <a:gd name="T18" fmla="*/ 363 w 642"/>
              <a:gd name="T19" fmla="*/ 782 h 811"/>
              <a:gd name="T20" fmla="*/ 307 w 642"/>
              <a:gd name="T21" fmla="*/ 769 h 811"/>
              <a:gd name="T22" fmla="*/ 246 w 642"/>
              <a:gd name="T23" fmla="*/ 801 h 811"/>
              <a:gd name="T24" fmla="*/ 183 w 642"/>
              <a:gd name="T25" fmla="*/ 801 h 811"/>
              <a:gd name="T26" fmla="*/ 118 w 642"/>
              <a:gd name="T27" fmla="*/ 768 h 811"/>
              <a:gd name="T28" fmla="*/ 64 w 642"/>
              <a:gd name="T29" fmla="*/ 783 h 811"/>
              <a:gd name="T30" fmla="*/ 54 w 642"/>
              <a:gd name="T31" fmla="*/ 778 h 811"/>
              <a:gd name="T32" fmla="*/ 60 w 642"/>
              <a:gd name="T33" fmla="*/ 725 h 811"/>
              <a:gd name="T34" fmla="*/ 118 w 642"/>
              <a:gd name="T35" fmla="*/ 707 h 811"/>
              <a:gd name="T36" fmla="*/ 183 w 642"/>
              <a:gd name="T37" fmla="*/ 740 h 811"/>
              <a:gd name="T38" fmla="*/ 246 w 642"/>
              <a:gd name="T39" fmla="*/ 740 h 811"/>
              <a:gd name="T40" fmla="*/ 307 w 642"/>
              <a:gd name="T41" fmla="*/ 707 h 811"/>
              <a:gd name="T42" fmla="*/ 165 w 642"/>
              <a:gd name="T43" fmla="*/ 107 h 811"/>
              <a:gd name="T44" fmla="*/ 159 w 642"/>
              <a:gd name="T45" fmla="*/ 167 h 811"/>
              <a:gd name="T46" fmla="*/ 149 w 642"/>
              <a:gd name="T47" fmla="*/ 182 h 811"/>
              <a:gd name="T48" fmla="*/ 98 w 642"/>
              <a:gd name="T49" fmla="*/ 182 h 811"/>
              <a:gd name="T50" fmla="*/ 550 w 642"/>
              <a:gd name="T51" fmla="*/ 258 h 811"/>
              <a:gd name="T52" fmla="*/ 515 w 642"/>
              <a:gd name="T53" fmla="*/ 182 h 811"/>
              <a:gd name="T54" fmla="*/ 486 w 642"/>
              <a:gd name="T55" fmla="*/ 176 h 811"/>
              <a:gd name="T56" fmla="*/ 482 w 642"/>
              <a:gd name="T57" fmla="*/ 115 h 811"/>
              <a:gd name="T58" fmla="*/ 469 w 642"/>
              <a:gd name="T59" fmla="*/ 105 h 811"/>
              <a:gd name="T60" fmla="*/ 366 w 642"/>
              <a:gd name="T61" fmla="*/ 2 h 811"/>
              <a:gd name="T62" fmla="*/ 388 w 642"/>
              <a:gd name="T63" fmla="*/ 57 h 811"/>
              <a:gd name="T64" fmla="*/ 511 w 642"/>
              <a:gd name="T65" fmla="*/ 79 h 811"/>
              <a:gd name="T66" fmla="*/ 566 w 642"/>
              <a:gd name="T67" fmla="*/ 153 h 811"/>
              <a:gd name="T68" fmla="*/ 588 w 642"/>
              <a:gd name="T69" fmla="*/ 264 h 811"/>
              <a:gd name="T70" fmla="*/ 642 w 642"/>
              <a:gd name="T71" fmla="*/ 296 h 811"/>
              <a:gd name="T72" fmla="*/ 498 w 642"/>
              <a:gd name="T73" fmla="*/ 690 h 811"/>
              <a:gd name="T74" fmla="*/ 439 w 642"/>
              <a:gd name="T75" fmla="*/ 724 h 811"/>
              <a:gd name="T76" fmla="*/ 388 w 642"/>
              <a:gd name="T77" fmla="*/ 708 h 811"/>
              <a:gd name="T78" fmla="*/ 321 w 642"/>
              <a:gd name="T79" fmla="*/ 684 h 811"/>
              <a:gd name="T80" fmla="*/ 253 w 642"/>
              <a:gd name="T81" fmla="*/ 708 h 811"/>
              <a:gd name="T82" fmla="*/ 202 w 642"/>
              <a:gd name="T83" fmla="*/ 724 h 811"/>
              <a:gd name="T84" fmla="*/ 145 w 642"/>
              <a:gd name="T85" fmla="*/ 690 h 811"/>
              <a:gd name="T86" fmla="*/ 0 w 642"/>
              <a:gd name="T87" fmla="*/ 296 h 811"/>
              <a:gd name="T88" fmla="*/ 53 w 642"/>
              <a:gd name="T89" fmla="*/ 264 h 811"/>
              <a:gd name="T90" fmla="*/ 76 w 642"/>
              <a:gd name="T91" fmla="*/ 153 h 811"/>
              <a:gd name="T92" fmla="*/ 130 w 642"/>
              <a:gd name="T93" fmla="*/ 79 h 811"/>
              <a:gd name="T94" fmla="*/ 253 w 642"/>
              <a:gd name="T95" fmla="*/ 57 h 811"/>
              <a:gd name="T96" fmla="*/ 277 w 642"/>
              <a:gd name="T97" fmla="*/ 2 h 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2" h="811">
                <a:moveTo>
                  <a:pt x="321" y="707"/>
                </a:moveTo>
                <a:lnTo>
                  <a:pt x="334" y="707"/>
                </a:lnTo>
                <a:lnTo>
                  <a:pt x="348" y="711"/>
                </a:lnTo>
                <a:lnTo>
                  <a:pt x="363" y="721"/>
                </a:lnTo>
                <a:lnTo>
                  <a:pt x="379" y="730"/>
                </a:lnTo>
                <a:lnTo>
                  <a:pt x="395" y="740"/>
                </a:lnTo>
                <a:lnTo>
                  <a:pt x="411" y="747"/>
                </a:lnTo>
                <a:lnTo>
                  <a:pt x="427" y="750"/>
                </a:lnTo>
                <a:lnTo>
                  <a:pt x="443" y="747"/>
                </a:lnTo>
                <a:lnTo>
                  <a:pt x="459" y="740"/>
                </a:lnTo>
                <a:lnTo>
                  <a:pt x="475" y="730"/>
                </a:lnTo>
                <a:lnTo>
                  <a:pt x="491" y="721"/>
                </a:lnTo>
                <a:lnTo>
                  <a:pt x="508" y="711"/>
                </a:lnTo>
                <a:lnTo>
                  <a:pt x="524" y="707"/>
                </a:lnTo>
                <a:lnTo>
                  <a:pt x="541" y="707"/>
                </a:lnTo>
                <a:lnTo>
                  <a:pt x="558" y="712"/>
                </a:lnTo>
                <a:lnTo>
                  <a:pt x="575" y="719"/>
                </a:lnTo>
                <a:lnTo>
                  <a:pt x="582" y="725"/>
                </a:lnTo>
                <a:lnTo>
                  <a:pt x="586" y="733"/>
                </a:lnTo>
                <a:lnTo>
                  <a:pt x="587" y="740"/>
                </a:lnTo>
                <a:lnTo>
                  <a:pt x="587" y="776"/>
                </a:lnTo>
                <a:lnTo>
                  <a:pt x="587" y="778"/>
                </a:lnTo>
                <a:lnTo>
                  <a:pt x="586" y="780"/>
                </a:lnTo>
                <a:lnTo>
                  <a:pt x="583" y="782"/>
                </a:lnTo>
                <a:lnTo>
                  <a:pt x="581" y="783"/>
                </a:lnTo>
                <a:lnTo>
                  <a:pt x="579" y="783"/>
                </a:lnTo>
                <a:lnTo>
                  <a:pt x="575" y="782"/>
                </a:lnTo>
                <a:lnTo>
                  <a:pt x="558" y="773"/>
                </a:lnTo>
                <a:lnTo>
                  <a:pt x="541" y="769"/>
                </a:lnTo>
                <a:lnTo>
                  <a:pt x="524" y="768"/>
                </a:lnTo>
                <a:lnTo>
                  <a:pt x="508" y="773"/>
                </a:lnTo>
                <a:lnTo>
                  <a:pt x="491" y="782"/>
                </a:lnTo>
                <a:lnTo>
                  <a:pt x="475" y="793"/>
                </a:lnTo>
                <a:lnTo>
                  <a:pt x="459" y="801"/>
                </a:lnTo>
                <a:lnTo>
                  <a:pt x="443" y="809"/>
                </a:lnTo>
                <a:lnTo>
                  <a:pt x="427" y="811"/>
                </a:lnTo>
                <a:lnTo>
                  <a:pt x="411" y="809"/>
                </a:lnTo>
                <a:lnTo>
                  <a:pt x="395" y="801"/>
                </a:lnTo>
                <a:lnTo>
                  <a:pt x="379" y="793"/>
                </a:lnTo>
                <a:lnTo>
                  <a:pt x="363" y="782"/>
                </a:lnTo>
                <a:lnTo>
                  <a:pt x="348" y="773"/>
                </a:lnTo>
                <a:lnTo>
                  <a:pt x="334" y="769"/>
                </a:lnTo>
                <a:lnTo>
                  <a:pt x="321" y="768"/>
                </a:lnTo>
                <a:lnTo>
                  <a:pt x="307" y="769"/>
                </a:lnTo>
                <a:lnTo>
                  <a:pt x="295" y="773"/>
                </a:lnTo>
                <a:lnTo>
                  <a:pt x="278" y="782"/>
                </a:lnTo>
                <a:lnTo>
                  <a:pt x="262" y="793"/>
                </a:lnTo>
                <a:lnTo>
                  <a:pt x="246" y="801"/>
                </a:lnTo>
                <a:lnTo>
                  <a:pt x="231" y="809"/>
                </a:lnTo>
                <a:lnTo>
                  <a:pt x="214" y="811"/>
                </a:lnTo>
                <a:lnTo>
                  <a:pt x="198" y="809"/>
                </a:lnTo>
                <a:lnTo>
                  <a:pt x="183" y="801"/>
                </a:lnTo>
                <a:lnTo>
                  <a:pt x="167" y="793"/>
                </a:lnTo>
                <a:lnTo>
                  <a:pt x="151" y="782"/>
                </a:lnTo>
                <a:lnTo>
                  <a:pt x="135" y="773"/>
                </a:lnTo>
                <a:lnTo>
                  <a:pt x="118" y="768"/>
                </a:lnTo>
                <a:lnTo>
                  <a:pt x="101" y="769"/>
                </a:lnTo>
                <a:lnTo>
                  <a:pt x="83" y="773"/>
                </a:lnTo>
                <a:lnTo>
                  <a:pt x="66" y="782"/>
                </a:lnTo>
                <a:lnTo>
                  <a:pt x="64" y="783"/>
                </a:lnTo>
                <a:lnTo>
                  <a:pt x="61" y="783"/>
                </a:lnTo>
                <a:lnTo>
                  <a:pt x="58" y="782"/>
                </a:lnTo>
                <a:lnTo>
                  <a:pt x="57" y="780"/>
                </a:lnTo>
                <a:lnTo>
                  <a:pt x="54" y="778"/>
                </a:lnTo>
                <a:lnTo>
                  <a:pt x="54" y="776"/>
                </a:lnTo>
                <a:lnTo>
                  <a:pt x="54" y="740"/>
                </a:lnTo>
                <a:lnTo>
                  <a:pt x="55" y="733"/>
                </a:lnTo>
                <a:lnTo>
                  <a:pt x="60" y="725"/>
                </a:lnTo>
                <a:lnTo>
                  <a:pt x="66" y="719"/>
                </a:lnTo>
                <a:lnTo>
                  <a:pt x="83" y="712"/>
                </a:lnTo>
                <a:lnTo>
                  <a:pt x="101" y="707"/>
                </a:lnTo>
                <a:lnTo>
                  <a:pt x="118" y="707"/>
                </a:lnTo>
                <a:lnTo>
                  <a:pt x="135" y="711"/>
                </a:lnTo>
                <a:lnTo>
                  <a:pt x="151" y="721"/>
                </a:lnTo>
                <a:lnTo>
                  <a:pt x="167" y="730"/>
                </a:lnTo>
                <a:lnTo>
                  <a:pt x="183" y="740"/>
                </a:lnTo>
                <a:lnTo>
                  <a:pt x="198" y="747"/>
                </a:lnTo>
                <a:lnTo>
                  <a:pt x="214" y="750"/>
                </a:lnTo>
                <a:lnTo>
                  <a:pt x="231" y="747"/>
                </a:lnTo>
                <a:lnTo>
                  <a:pt x="246" y="740"/>
                </a:lnTo>
                <a:lnTo>
                  <a:pt x="262" y="730"/>
                </a:lnTo>
                <a:lnTo>
                  <a:pt x="278" y="721"/>
                </a:lnTo>
                <a:lnTo>
                  <a:pt x="295" y="711"/>
                </a:lnTo>
                <a:lnTo>
                  <a:pt x="307" y="707"/>
                </a:lnTo>
                <a:lnTo>
                  <a:pt x="321" y="707"/>
                </a:lnTo>
                <a:close/>
                <a:moveTo>
                  <a:pt x="174" y="105"/>
                </a:moveTo>
                <a:lnTo>
                  <a:pt x="169" y="105"/>
                </a:lnTo>
                <a:lnTo>
                  <a:pt x="165" y="107"/>
                </a:lnTo>
                <a:lnTo>
                  <a:pt x="162" y="111"/>
                </a:lnTo>
                <a:lnTo>
                  <a:pt x="159" y="115"/>
                </a:lnTo>
                <a:lnTo>
                  <a:pt x="159" y="120"/>
                </a:lnTo>
                <a:lnTo>
                  <a:pt x="159" y="167"/>
                </a:lnTo>
                <a:lnTo>
                  <a:pt x="158" y="172"/>
                </a:lnTo>
                <a:lnTo>
                  <a:pt x="157" y="176"/>
                </a:lnTo>
                <a:lnTo>
                  <a:pt x="153" y="179"/>
                </a:lnTo>
                <a:lnTo>
                  <a:pt x="149" y="182"/>
                </a:lnTo>
                <a:lnTo>
                  <a:pt x="145" y="182"/>
                </a:lnTo>
                <a:lnTo>
                  <a:pt x="126" y="182"/>
                </a:lnTo>
                <a:lnTo>
                  <a:pt x="110" y="182"/>
                </a:lnTo>
                <a:lnTo>
                  <a:pt x="98" y="182"/>
                </a:lnTo>
                <a:lnTo>
                  <a:pt x="92" y="182"/>
                </a:lnTo>
                <a:lnTo>
                  <a:pt x="92" y="258"/>
                </a:lnTo>
                <a:lnTo>
                  <a:pt x="321" y="227"/>
                </a:lnTo>
                <a:lnTo>
                  <a:pt x="550" y="258"/>
                </a:lnTo>
                <a:lnTo>
                  <a:pt x="550" y="182"/>
                </a:lnTo>
                <a:lnTo>
                  <a:pt x="544" y="182"/>
                </a:lnTo>
                <a:lnTo>
                  <a:pt x="532" y="182"/>
                </a:lnTo>
                <a:lnTo>
                  <a:pt x="515" y="182"/>
                </a:lnTo>
                <a:lnTo>
                  <a:pt x="497" y="182"/>
                </a:lnTo>
                <a:lnTo>
                  <a:pt x="493" y="182"/>
                </a:lnTo>
                <a:lnTo>
                  <a:pt x="488" y="179"/>
                </a:lnTo>
                <a:lnTo>
                  <a:pt x="486" y="176"/>
                </a:lnTo>
                <a:lnTo>
                  <a:pt x="483" y="172"/>
                </a:lnTo>
                <a:lnTo>
                  <a:pt x="483" y="167"/>
                </a:lnTo>
                <a:lnTo>
                  <a:pt x="483" y="120"/>
                </a:lnTo>
                <a:lnTo>
                  <a:pt x="482" y="115"/>
                </a:lnTo>
                <a:lnTo>
                  <a:pt x="480" y="111"/>
                </a:lnTo>
                <a:lnTo>
                  <a:pt x="477" y="107"/>
                </a:lnTo>
                <a:lnTo>
                  <a:pt x="472" y="105"/>
                </a:lnTo>
                <a:lnTo>
                  <a:pt x="469" y="105"/>
                </a:lnTo>
                <a:lnTo>
                  <a:pt x="174" y="105"/>
                </a:lnTo>
                <a:close/>
                <a:moveTo>
                  <a:pt x="290" y="0"/>
                </a:moveTo>
                <a:lnTo>
                  <a:pt x="351" y="0"/>
                </a:lnTo>
                <a:lnTo>
                  <a:pt x="366" y="2"/>
                </a:lnTo>
                <a:lnTo>
                  <a:pt x="378" y="11"/>
                </a:lnTo>
                <a:lnTo>
                  <a:pt x="385" y="23"/>
                </a:lnTo>
                <a:lnTo>
                  <a:pt x="388" y="37"/>
                </a:lnTo>
                <a:lnTo>
                  <a:pt x="388" y="57"/>
                </a:lnTo>
                <a:lnTo>
                  <a:pt x="477" y="57"/>
                </a:lnTo>
                <a:lnTo>
                  <a:pt x="492" y="60"/>
                </a:lnTo>
                <a:lnTo>
                  <a:pt x="503" y="68"/>
                </a:lnTo>
                <a:lnTo>
                  <a:pt x="511" y="79"/>
                </a:lnTo>
                <a:lnTo>
                  <a:pt x="514" y="94"/>
                </a:lnTo>
                <a:lnTo>
                  <a:pt x="514" y="150"/>
                </a:lnTo>
                <a:lnTo>
                  <a:pt x="552" y="150"/>
                </a:lnTo>
                <a:lnTo>
                  <a:pt x="566" y="153"/>
                </a:lnTo>
                <a:lnTo>
                  <a:pt x="577" y="161"/>
                </a:lnTo>
                <a:lnTo>
                  <a:pt x="586" y="172"/>
                </a:lnTo>
                <a:lnTo>
                  <a:pt x="588" y="187"/>
                </a:lnTo>
                <a:lnTo>
                  <a:pt x="588" y="264"/>
                </a:lnTo>
                <a:lnTo>
                  <a:pt x="614" y="267"/>
                </a:lnTo>
                <a:lnTo>
                  <a:pt x="627" y="272"/>
                </a:lnTo>
                <a:lnTo>
                  <a:pt x="637" y="282"/>
                </a:lnTo>
                <a:lnTo>
                  <a:pt x="642" y="296"/>
                </a:lnTo>
                <a:lnTo>
                  <a:pt x="641" y="310"/>
                </a:lnTo>
                <a:lnTo>
                  <a:pt x="526" y="684"/>
                </a:lnTo>
                <a:lnTo>
                  <a:pt x="511" y="685"/>
                </a:lnTo>
                <a:lnTo>
                  <a:pt x="498" y="690"/>
                </a:lnTo>
                <a:lnTo>
                  <a:pt x="482" y="699"/>
                </a:lnTo>
                <a:lnTo>
                  <a:pt x="466" y="708"/>
                </a:lnTo>
                <a:lnTo>
                  <a:pt x="453" y="717"/>
                </a:lnTo>
                <a:lnTo>
                  <a:pt x="439" y="724"/>
                </a:lnTo>
                <a:lnTo>
                  <a:pt x="427" y="727"/>
                </a:lnTo>
                <a:lnTo>
                  <a:pt x="415" y="724"/>
                </a:lnTo>
                <a:lnTo>
                  <a:pt x="403" y="717"/>
                </a:lnTo>
                <a:lnTo>
                  <a:pt x="388" y="708"/>
                </a:lnTo>
                <a:lnTo>
                  <a:pt x="373" y="699"/>
                </a:lnTo>
                <a:lnTo>
                  <a:pt x="357" y="690"/>
                </a:lnTo>
                <a:lnTo>
                  <a:pt x="339" y="685"/>
                </a:lnTo>
                <a:lnTo>
                  <a:pt x="321" y="684"/>
                </a:lnTo>
                <a:lnTo>
                  <a:pt x="302" y="685"/>
                </a:lnTo>
                <a:lnTo>
                  <a:pt x="285" y="690"/>
                </a:lnTo>
                <a:lnTo>
                  <a:pt x="269" y="699"/>
                </a:lnTo>
                <a:lnTo>
                  <a:pt x="253" y="708"/>
                </a:lnTo>
                <a:lnTo>
                  <a:pt x="240" y="717"/>
                </a:lnTo>
                <a:lnTo>
                  <a:pt x="227" y="724"/>
                </a:lnTo>
                <a:lnTo>
                  <a:pt x="214" y="727"/>
                </a:lnTo>
                <a:lnTo>
                  <a:pt x="202" y="724"/>
                </a:lnTo>
                <a:lnTo>
                  <a:pt x="190" y="717"/>
                </a:lnTo>
                <a:lnTo>
                  <a:pt x="175" y="708"/>
                </a:lnTo>
                <a:lnTo>
                  <a:pt x="160" y="699"/>
                </a:lnTo>
                <a:lnTo>
                  <a:pt x="145" y="690"/>
                </a:lnTo>
                <a:lnTo>
                  <a:pt x="131" y="685"/>
                </a:lnTo>
                <a:lnTo>
                  <a:pt x="116" y="684"/>
                </a:lnTo>
                <a:lnTo>
                  <a:pt x="2" y="310"/>
                </a:lnTo>
                <a:lnTo>
                  <a:pt x="0" y="296"/>
                </a:lnTo>
                <a:lnTo>
                  <a:pt x="5" y="282"/>
                </a:lnTo>
                <a:lnTo>
                  <a:pt x="15" y="272"/>
                </a:lnTo>
                <a:lnTo>
                  <a:pt x="28" y="267"/>
                </a:lnTo>
                <a:lnTo>
                  <a:pt x="53" y="264"/>
                </a:lnTo>
                <a:lnTo>
                  <a:pt x="53" y="187"/>
                </a:lnTo>
                <a:lnTo>
                  <a:pt x="57" y="172"/>
                </a:lnTo>
                <a:lnTo>
                  <a:pt x="64" y="161"/>
                </a:lnTo>
                <a:lnTo>
                  <a:pt x="76" y="153"/>
                </a:lnTo>
                <a:lnTo>
                  <a:pt x="91" y="150"/>
                </a:lnTo>
                <a:lnTo>
                  <a:pt x="127" y="150"/>
                </a:lnTo>
                <a:lnTo>
                  <a:pt x="127" y="94"/>
                </a:lnTo>
                <a:lnTo>
                  <a:pt x="130" y="79"/>
                </a:lnTo>
                <a:lnTo>
                  <a:pt x="138" y="68"/>
                </a:lnTo>
                <a:lnTo>
                  <a:pt x="151" y="60"/>
                </a:lnTo>
                <a:lnTo>
                  <a:pt x="164" y="57"/>
                </a:lnTo>
                <a:lnTo>
                  <a:pt x="253" y="57"/>
                </a:lnTo>
                <a:lnTo>
                  <a:pt x="253" y="37"/>
                </a:lnTo>
                <a:lnTo>
                  <a:pt x="256" y="23"/>
                </a:lnTo>
                <a:lnTo>
                  <a:pt x="264" y="11"/>
                </a:lnTo>
                <a:lnTo>
                  <a:pt x="277" y="2"/>
                </a:lnTo>
                <a:lnTo>
                  <a:pt x="290" y="0"/>
                </a:lnTo>
                <a:close/>
              </a:path>
            </a:pathLst>
          </a:custGeom>
          <a:solidFill>
            <a:srgbClr val="77ED37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40" name="CasellaDiTesto 1"/>
          <p:cNvSpPr txBox="1">
            <a:spLocks noChangeArrowheads="1"/>
          </p:cNvSpPr>
          <p:nvPr/>
        </p:nvSpPr>
        <p:spPr bwMode="auto">
          <a:xfrm>
            <a:off x="3286301" y="3141073"/>
            <a:ext cx="487052" cy="245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52" tIns="45577" rIns="91152" bIns="45577">
            <a:spAutoFit/>
          </a:bodyPr>
          <a:lstStyle/>
          <a:p>
            <a:pPr defTabSz="914377" eaLnBrk="0" hangingPunct="0"/>
            <a:r>
              <a:rPr lang="it-IT" altLang="it-IT" sz="997" b="1">
                <a:solidFill>
                  <a:srgbClr val="000000"/>
                </a:solidFill>
                <a:latin typeface="Calibri"/>
              </a:rPr>
              <a:t>Vasto</a:t>
            </a:r>
          </a:p>
        </p:txBody>
      </p:sp>
      <p:sp>
        <p:nvSpPr>
          <p:cNvPr id="110" name="TextBox 7">
            <a:extLst>
              <a:ext uri="{FF2B5EF4-FFF2-40B4-BE49-F238E27FC236}">
                <a16:creationId xmlns:a16="http://schemas.microsoft.com/office/drawing/2014/main" id="{790F10E7-3795-4C2E-8EA7-5B269383AABE}"/>
              </a:ext>
            </a:extLst>
          </p:cNvPr>
          <p:cNvSpPr txBox="1"/>
          <p:nvPr/>
        </p:nvSpPr>
        <p:spPr>
          <a:xfrm>
            <a:off x="6214498" y="3289395"/>
            <a:ext cx="3335676" cy="1560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defTabSz="895328">
              <a:buClr>
                <a:srgbClr val="D90000"/>
              </a:buClr>
              <a:defRPr/>
            </a:pPr>
            <a:r>
              <a:rPr lang="it-IT" sz="1067" b="1" kern="0">
                <a:solidFill>
                  <a:srgbClr val="000000"/>
                </a:solidFill>
              </a:rPr>
              <a:t>Venezia</a:t>
            </a:r>
          </a:p>
        </p:txBody>
      </p:sp>
      <p:cxnSp>
        <p:nvCxnSpPr>
          <p:cNvPr id="141" name="Straight Connector 150">
            <a:extLst>
              <a:ext uri="{FF2B5EF4-FFF2-40B4-BE49-F238E27FC236}">
                <a16:creationId xmlns:a16="http://schemas.microsoft.com/office/drawing/2014/main" id="{B3C047B3-93E2-414C-8249-C48C4C741389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gray">
          <a:xfrm>
            <a:off x="6193027" y="3460140"/>
            <a:ext cx="56520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sp>
        <p:nvSpPr>
          <p:cNvPr id="142" name="TextBox 162">
            <a:extLst>
              <a:ext uri="{FF2B5EF4-FFF2-40B4-BE49-F238E27FC236}">
                <a16:creationId xmlns:a16="http://schemas.microsoft.com/office/drawing/2014/main" id="{EB624E87-FB82-43D8-B298-FA3E916B796E}"/>
              </a:ext>
            </a:extLst>
          </p:cNvPr>
          <p:cNvSpPr txBox="1"/>
          <p:nvPr/>
        </p:nvSpPr>
        <p:spPr>
          <a:xfrm>
            <a:off x="7452169" y="3289395"/>
            <a:ext cx="2496000" cy="1560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Potenziamento Venezia Marghera Scalo</a:t>
            </a:r>
          </a:p>
        </p:txBody>
      </p:sp>
      <p:sp>
        <p:nvSpPr>
          <p:cNvPr id="143" name="TextBox 173">
            <a:extLst>
              <a:ext uri="{FF2B5EF4-FFF2-40B4-BE49-F238E27FC236}">
                <a16:creationId xmlns:a16="http://schemas.microsoft.com/office/drawing/2014/main" id="{0B7C1F53-58AE-4B77-ACCA-49ED04191894}"/>
              </a:ext>
            </a:extLst>
          </p:cNvPr>
          <p:cNvSpPr txBox="1"/>
          <p:nvPr/>
        </p:nvSpPr>
        <p:spPr>
          <a:xfrm>
            <a:off x="10224619" y="3289395"/>
            <a:ext cx="1602135" cy="1560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algn="ctr" defTabSz="895328">
              <a:buClr>
                <a:srgbClr val="D90000"/>
              </a:buClr>
              <a:defRPr/>
            </a:pPr>
            <a:r>
              <a:rPr lang="it-IT" sz="1067" kern="0"/>
              <a:t>Realizzazione (1^ fase)</a:t>
            </a:r>
            <a:endParaRPr lang="it-IT" sz="1067" b="1" kern="0"/>
          </a:p>
        </p:txBody>
      </p:sp>
      <p:sp>
        <p:nvSpPr>
          <p:cNvPr id="111" name="TextBox 173">
            <a:extLst>
              <a:ext uri="{FF2B5EF4-FFF2-40B4-BE49-F238E27FC236}">
                <a16:creationId xmlns:a16="http://schemas.microsoft.com/office/drawing/2014/main" id="{0B7C1F53-58AE-4B77-ACCA-49ED04191894}"/>
              </a:ext>
            </a:extLst>
          </p:cNvPr>
          <p:cNvSpPr txBox="1"/>
          <p:nvPr/>
        </p:nvSpPr>
        <p:spPr>
          <a:xfrm>
            <a:off x="10224604" y="3783030"/>
            <a:ext cx="1602135" cy="1560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algn="ctr" defTabSz="895328">
              <a:buClr>
                <a:srgbClr val="D90000"/>
              </a:buClr>
              <a:defRPr/>
            </a:pPr>
            <a:r>
              <a:rPr lang="it-IT" sz="1067" kern="0" dirty="0"/>
              <a:t>Progettazione</a:t>
            </a:r>
            <a:endParaRPr lang="it-IT" sz="1067" b="1" kern="0" dirty="0"/>
          </a:p>
        </p:txBody>
      </p:sp>
      <p:cxnSp>
        <p:nvCxnSpPr>
          <p:cNvPr id="5" name="Connettore diritto 4"/>
          <p:cNvCxnSpPr/>
          <p:nvPr/>
        </p:nvCxnSpPr>
        <p:spPr>
          <a:xfrm flipV="1">
            <a:off x="7458403" y="3778399"/>
            <a:ext cx="4399088" cy="4199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Freeform 581"/>
          <p:cNvSpPr>
            <a:spLocks noEditPoints="1"/>
          </p:cNvSpPr>
          <p:nvPr/>
        </p:nvSpPr>
        <p:spPr bwMode="auto">
          <a:xfrm>
            <a:off x="2390745" y="2372073"/>
            <a:ext cx="184865" cy="177411"/>
          </a:xfrm>
          <a:custGeom>
            <a:avLst/>
            <a:gdLst>
              <a:gd name="T0" fmla="*/ 363 w 642"/>
              <a:gd name="T1" fmla="*/ 721 h 811"/>
              <a:gd name="T2" fmla="*/ 427 w 642"/>
              <a:gd name="T3" fmla="*/ 750 h 811"/>
              <a:gd name="T4" fmla="*/ 491 w 642"/>
              <a:gd name="T5" fmla="*/ 721 h 811"/>
              <a:gd name="T6" fmla="*/ 558 w 642"/>
              <a:gd name="T7" fmla="*/ 712 h 811"/>
              <a:gd name="T8" fmla="*/ 587 w 642"/>
              <a:gd name="T9" fmla="*/ 740 h 811"/>
              <a:gd name="T10" fmla="*/ 583 w 642"/>
              <a:gd name="T11" fmla="*/ 782 h 811"/>
              <a:gd name="T12" fmla="*/ 558 w 642"/>
              <a:gd name="T13" fmla="*/ 773 h 811"/>
              <a:gd name="T14" fmla="*/ 491 w 642"/>
              <a:gd name="T15" fmla="*/ 782 h 811"/>
              <a:gd name="T16" fmla="*/ 427 w 642"/>
              <a:gd name="T17" fmla="*/ 811 h 811"/>
              <a:gd name="T18" fmla="*/ 363 w 642"/>
              <a:gd name="T19" fmla="*/ 782 h 811"/>
              <a:gd name="T20" fmla="*/ 307 w 642"/>
              <a:gd name="T21" fmla="*/ 769 h 811"/>
              <a:gd name="T22" fmla="*/ 246 w 642"/>
              <a:gd name="T23" fmla="*/ 801 h 811"/>
              <a:gd name="T24" fmla="*/ 183 w 642"/>
              <a:gd name="T25" fmla="*/ 801 h 811"/>
              <a:gd name="T26" fmla="*/ 118 w 642"/>
              <a:gd name="T27" fmla="*/ 768 h 811"/>
              <a:gd name="T28" fmla="*/ 64 w 642"/>
              <a:gd name="T29" fmla="*/ 783 h 811"/>
              <a:gd name="T30" fmla="*/ 54 w 642"/>
              <a:gd name="T31" fmla="*/ 778 h 811"/>
              <a:gd name="T32" fmla="*/ 60 w 642"/>
              <a:gd name="T33" fmla="*/ 725 h 811"/>
              <a:gd name="T34" fmla="*/ 118 w 642"/>
              <a:gd name="T35" fmla="*/ 707 h 811"/>
              <a:gd name="T36" fmla="*/ 183 w 642"/>
              <a:gd name="T37" fmla="*/ 740 h 811"/>
              <a:gd name="T38" fmla="*/ 246 w 642"/>
              <a:gd name="T39" fmla="*/ 740 h 811"/>
              <a:gd name="T40" fmla="*/ 307 w 642"/>
              <a:gd name="T41" fmla="*/ 707 h 811"/>
              <a:gd name="T42" fmla="*/ 165 w 642"/>
              <a:gd name="T43" fmla="*/ 107 h 811"/>
              <a:gd name="T44" fmla="*/ 159 w 642"/>
              <a:gd name="T45" fmla="*/ 167 h 811"/>
              <a:gd name="T46" fmla="*/ 149 w 642"/>
              <a:gd name="T47" fmla="*/ 182 h 811"/>
              <a:gd name="T48" fmla="*/ 98 w 642"/>
              <a:gd name="T49" fmla="*/ 182 h 811"/>
              <a:gd name="T50" fmla="*/ 550 w 642"/>
              <a:gd name="T51" fmla="*/ 258 h 811"/>
              <a:gd name="T52" fmla="*/ 515 w 642"/>
              <a:gd name="T53" fmla="*/ 182 h 811"/>
              <a:gd name="T54" fmla="*/ 486 w 642"/>
              <a:gd name="T55" fmla="*/ 176 h 811"/>
              <a:gd name="T56" fmla="*/ 482 w 642"/>
              <a:gd name="T57" fmla="*/ 115 h 811"/>
              <a:gd name="T58" fmla="*/ 469 w 642"/>
              <a:gd name="T59" fmla="*/ 105 h 811"/>
              <a:gd name="T60" fmla="*/ 366 w 642"/>
              <a:gd name="T61" fmla="*/ 2 h 811"/>
              <a:gd name="T62" fmla="*/ 388 w 642"/>
              <a:gd name="T63" fmla="*/ 57 h 811"/>
              <a:gd name="T64" fmla="*/ 511 w 642"/>
              <a:gd name="T65" fmla="*/ 79 h 811"/>
              <a:gd name="T66" fmla="*/ 566 w 642"/>
              <a:gd name="T67" fmla="*/ 153 h 811"/>
              <a:gd name="T68" fmla="*/ 588 w 642"/>
              <a:gd name="T69" fmla="*/ 264 h 811"/>
              <a:gd name="T70" fmla="*/ 642 w 642"/>
              <a:gd name="T71" fmla="*/ 296 h 811"/>
              <a:gd name="T72" fmla="*/ 498 w 642"/>
              <a:gd name="T73" fmla="*/ 690 h 811"/>
              <a:gd name="T74" fmla="*/ 439 w 642"/>
              <a:gd name="T75" fmla="*/ 724 h 811"/>
              <a:gd name="T76" fmla="*/ 388 w 642"/>
              <a:gd name="T77" fmla="*/ 708 h 811"/>
              <a:gd name="T78" fmla="*/ 321 w 642"/>
              <a:gd name="T79" fmla="*/ 684 h 811"/>
              <a:gd name="T80" fmla="*/ 253 w 642"/>
              <a:gd name="T81" fmla="*/ 708 h 811"/>
              <a:gd name="T82" fmla="*/ 202 w 642"/>
              <a:gd name="T83" fmla="*/ 724 h 811"/>
              <a:gd name="T84" fmla="*/ 145 w 642"/>
              <a:gd name="T85" fmla="*/ 690 h 811"/>
              <a:gd name="T86" fmla="*/ 0 w 642"/>
              <a:gd name="T87" fmla="*/ 296 h 811"/>
              <a:gd name="T88" fmla="*/ 53 w 642"/>
              <a:gd name="T89" fmla="*/ 264 h 811"/>
              <a:gd name="T90" fmla="*/ 76 w 642"/>
              <a:gd name="T91" fmla="*/ 153 h 811"/>
              <a:gd name="T92" fmla="*/ 130 w 642"/>
              <a:gd name="T93" fmla="*/ 79 h 811"/>
              <a:gd name="T94" fmla="*/ 253 w 642"/>
              <a:gd name="T95" fmla="*/ 57 h 811"/>
              <a:gd name="T96" fmla="*/ 277 w 642"/>
              <a:gd name="T97" fmla="*/ 2 h 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2" h="811">
                <a:moveTo>
                  <a:pt x="321" y="707"/>
                </a:moveTo>
                <a:lnTo>
                  <a:pt x="334" y="707"/>
                </a:lnTo>
                <a:lnTo>
                  <a:pt x="348" y="711"/>
                </a:lnTo>
                <a:lnTo>
                  <a:pt x="363" y="721"/>
                </a:lnTo>
                <a:lnTo>
                  <a:pt x="379" y="730"/>
                </a:lnTo>
                <a:lnTo>
                  <a:pt x="395" y="740"/>
                </a:lnTo>
                <a:lnTo>
                  <a:pt x="411" y="747"/>
                </a:lnTo>
                <a:lnTo>
                  <a:pt x="427" y="750"/>
                </a:lnTo>
                <a:lnTo>
                  <a:pt x="443" y="747"/>
                </a:lnTo>
                <a:lnTo>
                  <a:pt x="459" y="740"/>
                </a:lnTo>
                <a:lnTo>
                  <a:pt x="475" y="730"/>
                </a:lnTo>
                <a:lnTo>
                  <a:pt x="491" y="721"/>
                </a:lnTo>
                <a:lnTo>
                  <a:pt x="508" y="711"/>
                </a:lnTo>
                <a:lnTo>
                  <a:pt x="524" y="707"/>
                </a:lnTo>
                <a:lnTo>
                  <a:pt x="541" y="707"/>
                </a:lnTo>
                <a:lnTo>
                  <a:pt x="558" y="712"/>
                </a:lnTo>
                <a:lnTo>
                  <a:pt x="575" y="719"/>
                </a:lnTo>
                <a:lnTo>
                  <a:pt x="582" y="725"/>
                </a:lnTo>
                <a:lnTo>
                  <a:pt x="586" y="733"/>
                </a:lnTo>
                <a:lnTo>
                  <a:pt x="587" y="740"/>
                </a:lnTo>
                <a:lnTo>
                  <a:pt x="587" y="776"/>
                </a:lnTo>
                <a:lnTo>
                  <a:pt x="587" y="778"/>
                </a:lnTo>
                <a:lnTo>
                  <a:pt x="586" y="780"/>
                </a:lnTo>
                <a:lnTo>
                  <a:pt x="583" y="782"/>
                </a:lnTo>
                <a:lnTo>
                  <a:pt x="581" y="783"/>
                </a:lnTo>
                <a:lnTo>
                  <a:pt x="579" y="783"/>
                </a:lnTo>
                <a:lnTo>
                  <a:pt x="575" y="782"/>
                </a:lnTo>
                <a:lnTo>
                  <a:pt x="558" y="773"/>
                </a:lnTo>
                <a:lnTo>
                  <a:pt x="541" y="769"/>
                </a:lnTo>
                <a:lnTo>
                  <a:pt x="524" y="768"/>
                </a:lnTo>
                <a:lnTo>
                  <a:pt x="508" y="773"/>
                </a:lnTo>
                <a:lnTo>
                  <a:pt x="491" y="782"/>
                </a:lnTo>
                <a:lnTo>
                  <a:pt x="475" y="793"/>
                </a:lnTo>
                <a:lnTo>
                  <a:pt x="459" y="801"/>
                </a:lnTo>
                <a:lnTo>
                  <a:pt x="443" y="809"/>
                </a:lnTo>
                <a:lnTo>
                  <a:pt x="427" y="811"/>
                </a:lnTo>
                <a:lnTo>
                  <a:pt x="411" y="809"/>
                </a:lnTo>
                <a:lnTo>
                  <a:pt x="395" y="801"/>
                </a:lnTo>
                <a:lnTo>
                  <a:pt x="379" y="793"/>
                </a:lnTo>
                <a:lnTo>
                  <a:pt x="363" y="782"/>
                </a:lnTo>
                <a:lnTo>
                  <a:pt x="348" y="773"/>
                </a:lnTo>
                <a:lnTo>
                  <a:pt x="334" y="769"/>
                </a:lnTo>
                <a:lnTo>
                  <a:pt x="321" y="768"/>
                </a:lnTo>
                <a:lnTo>
                  <a:pt x="307" y="769"/>
                </a:lnTo>
                <a:lnTo>
                  <a:pt x="295" y="773"/>
                </a:lnTo>
                <a:lnTo>
                  <a:pt x="278" y="782"/>
                </a:lnTo>
                <a:lnTo>
                  <a:pt x="262" y="793"/>
                </a:lnTo>
                <a:lnTo>
                  <a:pt x="246" y="801"/>
                </a:lnTo>
                <a:lnTo>
                  <a:pt x="231" y="809"/>
                </a:lnTo>
                <a:lnTo>
                  <a:pt x="214" y="811"/>
                </a:lnTo>
                <a:lnTo>
                  <a:pt x="198" y="809"/>
                </a:lnTo>
                <a:lnTo>
                  <a:pt x="183" y="801"/>
                </a:lnTo>
                <a:lnTo>
                  <a:pt x="167" y="793"/>
                </a:lnTo>
                <a:lnTo>
                  <a:pt x="151" y="782"/>
                </a:lnTo>
                <a:lnTo>
                  <a:pt x="135" y="773"/>
                </a:lnTo>
                <a:lnTo>
                  <a:pt x="118" y="768"/>
                </a:lnTo>
                <a:lnTo>
                  <a:pt x="101" y="769"/>
                </a:lnTo>
                <a:lnTo>
                  <a:pt x="83" y="773"/>
                </a:lnTo>
                <a:lnTo>
                  <a:pt x="66" y="782"/>
                </a:lnTo>
                <a:lnTo>
                  <a:pt x="64" y="783"/>
                </a:lnTo>
                <a:lnTo>
                  <a:pt x="61" y="783"/>
                </a:lnTo>
                <a:lnTo>
                  <a:pt x="58" y="782"/>
                </a:lnTo>
                <a:lnTo>
                  <a:pt x="57" y="780"/>
                </a:lnTo>
                <a:lnTo>
                  <a:pt x="54" y="778"/>
                </a:lnTo>
                <a:lnTo>
                  <a:pt x="54" y="776"/>
                </a:lnTo>
                <a:lnTo>
                  <a:pt x="54" y="740"/>
                </a:lnTo>
                <a:lnTo>
                  <a:pt x="55" y="733"/>
                </a:lnTo>
                <a:lnTo>
                  <a:pt x="60" y="725"/>
                </a:lnTo>
                <a:lnTo>
                  <a:pt x="66" y="719"/>
                </a:lnTo>
                <a:lnTo>
                  <a:pt x="83" y="712"/>
                </a:lnTo>
                <a:lnTo>
                  <a:pt x="101" y="707"/>
                </a:lnTo>
                <a:lnTo>
                  <a:pt x="118" y="707"/>
                </a:lnTo>
                <a:lnTo>
                  <a:pt x="135" y="711"/>
                </a:lnTo>
                <a:lnTo>
                  <a:pt x="151" y="721"/>
                </a:lnTo>
                <a:lnTo>
                  <a:pt x="167" y="730"/>
                </a:lnTo>
                <a:lnTo>
                  <a:pt x="183" y="740"/>
                </a:lnTo>
                <a:lnTo>
                  <a:pt x="198" y="747"/>
                </a:lnTo>
                <a:lnTo>
                  <a:pt x="214" y="750"/>
                </a:lnTo>
                <a:lnTo>
                  <a:pt x="231" y="747"/>
                </a:lnTo>
                <a:lnTo>
                  <a:pt x="246" y="740"/>
                </a:lnTo>
                <a:lnTo>
                  <a:pt x="262" y="730"/>
                </a:lnTo>
                <a:lnTo>
                  <a:pt x="278" y="721"/>
                </a:lnTo>
                <a:lnTo>
                  <a:pt x="295" y="711"/>
                </a:lnTo>
                <a:lnTo>
                  <a:pt x="307" y="707"/>
                </a:lnTo>
                <a:lnTo>
                  <a:pt x="321" y="707"/>
                </a:lnTo>
                <a:close/>
                <a:moveTo>
                  <a:pt x="174" y="105"/>
                </a:moveTo>
                <a:lnTo>
                  <a:pt x="169" y="105"/>
                </a:lnTo>
                <a:lnTo>
                  <a:pt x="165" y="107"/>
                </a:lnTo>
                <a:lnTo>
                  <a:pt x="162" y="111"/>
                </a:lnTo>
                <a:lnTo>
                  <a:pt x="159" y="115"/>
                </a:lnTo>
                <a:lnTo>
                  <a:pt x="159" y="120"/>
                </a:lnTo>
                <a:lnTo>
                  <a:pt x="159" y="167"/>
                </a:lnTo>
                <a:lnTo>
                  <a:pt x="158" y="172"/>
                </a:lnTo>
                <a:lnTo>
                  <a:pt x="157" y="176"/>
                </a:lnTo>
                <a:lnTo>
                  <a:pt x="153" y="179"/>
                </a:lnTo>
                <a:lnTo>
                  <a:pt x="149" y="182"/>
                </a:lnTo>
                <a:lnTo>
                  <a:pt x="145" y="182"/>
                </a:lnTo>
                <a:lnTo>
                  <a:pt x="126" y="182"/>
                </a:lnTo>
                <a:lnTo>
                  <a:pt x="110" y="182"/>
                </a:lnTo>
                <a:lnTo>
                  <a:pt x="98" y="182"/>
                </a:lnTo>
                <a:lnTo>
                  <a:pt x="92" y="182"/>
                </a:lnTo>
                <a:lnTo>
                  <a:pt x="92" y="258"/>
                </a:lnTo>
                <a:lnTo>
                  <a:pt x="321" y="227"/>
                </a:lnTo>
                <a:lnTo>
                  <a:pt x="550" y="258"/>
                </a:lnTo>
                <a:lnTo>
                  <a:pt x="550" y="182"/>
                </a:lnTo>
                <a:lnTo>
                  <a:pt x="544" y="182"/>
                </a:lnTo>
                <a:lnTo>
                  <a:pt x="532" y="182"/>
                </a:lnTo>
                <a:lnTo>
                  <a:pt x="515" y="182"/>
                </a:lnTo>
                <a:lnTo>
                  <a:pt x="497" y="182"/>
                </a:lnTo>
                <a:lnTo>
                  <a:pt x="493" y="182"/>
                </a:lnTo>
                <a:lnTo>
                  <a:pt x="488" y="179"/>
                </a:lnTo>
                <a:lnTo>
                  <a:pt x="486" y="176"/>
                </a:lnTo>
                <a:lnTo>
                  <a:pt x="483" y="172"/>
                </a:lnTo>
                <a:lnTo>
                  <a:pt x="483" y="167"/>
                </a:lnTo>
                <a:lnTo>
                  <a:pt x="483" y="120"/>
                </a:lnTo>
                <a:lnTo>
                  <a:pt x="482" y="115"/>
                </a:lnTo>
                <a:lnTo>
                  <a:pt x="480" y="111"/>
                </a:lnTo>
                <a:lnTo>
                  <a:pt x="477" y="107"/>
                </a:lnTo>
                <a:lnTo>
                  <a:pt x="472" y="105"/>
                </a:lnTo>
                <a:lnTo>
                  <a:pt x="469" y="105"/>
                </a:lnTo>
                <a:lnTo>
                  <a:pt x="174" y="105"/>
                </a:lnTo>
                <a:close/>
                <a:moveTo>
                  <a:pt x="290" y="0"/>
                </a:moveTo>
                <a:lnTo>
                  <a:pt x="351" y="0"/>
                </a:lnTo>
                <a:lnTo>
                  <a:pt x="366" y="2"/>
                </a:lnTo>
                <a:lnTo>
                  <a:pt x="378" y="11"/>
                </a:lnTo>
                <a:lnTo>
                  <a:pt x="385" y="23"/>
                </a:lnTo>
                <a:lnTo>
                  <a:pt x="388" y="37"/>
                </a:lnTo>
                <a:lnTo>
                  <a:pt x="388" y="57"/>
                </a:lnTo>
                <a:lnTo>
                  <a:pt x="477" y="57"/>
                </a:lnTo>
                <a:lnTo>
                  <a:pt x="492" y="60"/>
                </a:lnTo>
                <a:lnTo>
                  <a:pt x="503" y="68"/>
                </a:lnTo>
                <a:lnTo>
                  <a:pt x="511" y="79"/>
                </a:lnTo>
                <a:lnTo>
                  <a:pt x="514" y="94"/>
                </a:lnTo>
                <a:lnTo>
                  <a:pt x="514" y="150"/>
                </a:lnTo>
                <a:lnTo>
                  <a:pt x="552" y="150"/>
                </a:lnTo>
                <a:lnTo>
                  <a:pt x="566" y="153"/>
                </a:lnTo>
                <a:lnTo>
                  <a:pt x="577" y="161"/>
                </a:lnTo>
                <a:lnTo>
                  <a:pt x="586" y="172"/>
                </a:lnTo>
                <a:lnTo>
                  <a:pt x="588" y="187"/>
                </a:lnTo>
                <a:lnTo>
                  <a:pt x="588" y="264"/>
                </a:lnTo>
                <a:lnTo>
                  <a:pt x="614" y="267"/>
                </a:lnTo>
                <a:lnTo>
                  <a:pt x="627" y="272"/>
                </a:lnTo>
                <a:lnTo>
                  <a:pt x="637" y="282"/>
                </a:lnTo>
                <a:lnTo>
                  <a:pt x="642" y="296"/>
                </a:lnTo>
                <a:lnTo>
                  <a:pt x="641" y="310"/>
                </a:lnTo>
                <a:lnTo>
                  <a:pt x="526" y="684"/>
                </a:lnTo>
                <a:lnTo>
                  <a:pt x="511" y="685"/>
                </a:lnTo>
                <a:lnTo>
                  <a:pt x="498" y="690"/>
                </a:lnTo>
                <a:lnTo>
                  <a:pt x="482" y="699"/>
                </a:lnTo>
                <a:lnTo>
                  <a:pt x="466" y="708"/>
                </a:lnTo>
                <a:lnTo>
                  <a:pt x="453" y="717"/>
                </a:lnTo>
                <a:lnTo>
                  <a:pt x="439" y="724"/>
                </a:lnTo>
                <a:lnTo>
                  <a:pt x="427" y="727"/>
                </a:lnTo>
                <a:lnTo>
                  <a:pt x="415" y="724"/>
                </a:lnTo>
                <a:lnTo>
                  <a:pt x="403" y="717"/>
                </a:lnTo>
                <a:lnTo>
                  <a:pt x="388" y="708"/>
                </a:lnTo>
                <a:lnTo>
                  <a:pt x="373" y="699"/>
                </a:lnTo>
                <a:lnTo>
                  <a:pt x="357" y="690"/>
                </a:lnTo>
                <a:lnTo>
                  <a:pt x="339" y="685"/>
                </a:lnTo>
                <a:lnTo>
                  <a:pt x="321" y="684"/>
                </a:lnTo>
                <a:lnTo>
                  <a:pt x="302" y="685"/>
                </a:lnTo>
                <a:lnTo>
                  <a:pt x="285" y="690"/>
                </a:lnTo>
                <a:lnTo>
                  <a:pt x="269" y="699"/>
                </a:lnTo>
                <a:lnTo>
                  <a:pt x="253" y="708"/>
                </a:lnTo>
                <a:lnTo>
                  <a:pt x="240" y="717"/>
                </a:lnTo>
                <a:lnTo>
                  <a:pt x="227" y="724"/>
                </a:lnTo>
                <a:lnTo>
                  <a:pt x="214" y="727"/>
                </a:lnTo>
                <a:lnTo>
                  <a:pt x="202" y="724"/>
                </a:lnTo>
                <a:lnTo>
                  <a:pt x="190" y="717"/>
                </a:lnTo>
                <a:lnTo>
                  <a:pt x="175" y="708"/>
                </a:lnTo>
                <a:lnTo>
                  <a:pt x="160" y="699"/>
                </a:lnTo>
                <a:lnTo>
                  <a:pt x="145" y="690"/>
                </a:lnTo>
                <a:lnTo>
                  <a:pt x="131" y="685"/>
                </a:lnTo>
                <a:lnTo>
                  <a:pt x="116" y="684"/>
                </a:lnTo>
                <a:lnTo>
                  <a:pt x="2" y="310"/>
                </a:lnTo>
                <a:lnTo>
                  <a:pt x="0" y="296"/>
                </a:lnTo>
                <a:lnTo>
                  <a:pt x="5" y="282"/>
                </a:lnTo>
                <a:lnTo>
                  <a:pt x="15" y="272"/>
                </a:lnTo>
                <a:lnTo>
                  <a:pt x="28" y="267"/>
                </a:lnTo>
                <a:lnTo>
                  <a:pt x="53" y="264"/>
                </a:lnTo>
                <a:lnTo>
                  <a:pt x="53" y="187"/>
                </a:lnTo>
                <a:lnTo>
                  <a:pt x="57" y="172"/>
                </a:lnTo>
                <a:lnTo>
                  <a:pt x="64" y="161"/>
                </a:lnTo>
                <a:lnTo>
                  <a:pt x="76" y="153"/>
                </a:lnTo>
                <a:lnTo>
                  <a:pt x="91" y="150"/>
                </a:lnTo>
                <a:lnTo>
                  <a:pt x="127" y="150"/>
                </a:lnTo>
                <a:lnTo>
                  <a:pt x="127" y="94"/>
                </a:lnTo>
                <a:lnTo>
                  <a:pt x="130" y="79"/>
                </a:lnTo>
                <a:lnTo>
                  <a:pt x="138" y="68"/>
                </a:lnTo>
                <a:lnTo>
                  <a:pt x="151" y="60"/>
                </a:lnTo>
                <a:lnTo>
                  <a:pt x="164" y="57"/>
                </a:lnTo>
                <a:lnTo>
                  <a:pt x="253" y="57"/>
                </a:lnTo>
                <a:lnTo>
                  <a:pt x="253" y="37"/>
                </a:lnTo>
                <a:lnTo>
                  <a:pt x="256" y="23"/>
                </a:lnTo>
                <a:lnTo>
                  <a:pt x="264" y="11"/>
                </a:lnTo>
                <a:lnTo>
                  <a:pt x="277" y="2"/>
                </a:lnTo>
                <a:lnTo>
                  <a:pt x="290" y="0"/>
                </a:ln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47" name="CasellaDiTesto 3"/>
          <p:cNvSpPr txBox="1">
            <a:spLocks noChangeArrowheads="1"/>
          </p:cNvSpPr>
          <p:nvPr/>
        </p:nvSpPr>
        <p:spPr bwMode="auto">
          <a:xfrm>
            <a:off x="224455" y="2357454"/>
            <a:ext cx="903499" cy="245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152" tIns="45577" rIns="91152" bIns="45577">
            <a:spAutoFit/>
          </a:bodyPr>
          <a:lstStyle/>
          <a:p>
            <a:pPr algn="ctr" defTabSz="914377" eaLnBrk="0" hangingPunct="0"/>
            <a:r>
              <a:rPr lang="it-IT" altLang="it-IT" sz="997" b="1" kern="0">
                <a:solidFill>
                  <a:srgbClr val="000000"/>
                </a:solidFill>
                <a:latin typeface="Calibri"/>
              </a:rPr>
              <a:t>Vado Ligure</a:t>
            </a:r>
          </a:p>
        </p:txBody>
      </p:sp>
      <p:sp>
        <p:nvSpPr>
          <p:cNvPr id="148" name="TextBox 130">
            <a:extLst>
              <a:ext uri="{FF2B5EF4-FFF2-40B4-BE49-F238E27FC236}">
                <a16:creationId xmlns:a16="http://schemas.microsoft.com/office/drawing/2014/main" id="{4EF66D95-37F8-41A0-A5E1-536388C7EA7B}"/>
              </a:ext>
            </a:extLst>
          </p:cNvPr>
          <p:cNvSpPr txBox="1"/>
          <p:nvPr/>
        </p:nvSpPr>
        <p:spPr>
          <a:xfrm>
            <a:off x="6213383" y="6106738"/>
            <a:ext cx="3335676" cy="1560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defTabSz="895306">
              <a:buClr>
                <a:srgbClr val="D90000"/>
              </a:buClr>
              <a:defRPr/>
            </a:pPr>
            <a:r>
              <a:rPr lang="it-IT" sz="1067" b="1" kern="0">
                <a:solidFill>
                  <a:srgbClr val="000000"/>
                </a:solidFill>
              </a:rPr>
              <a:t>Vado Ligure</a:t>
            </a:r>
          </a:p>
        </p:txBody>
      </p:sp>
      <p:sp>
        <p:nvSpPr>
          <p:cNvPr id="150" name="TextBox 162">
            <a:extLst>
              <a:ext uri="{FF2B5EF4-FFF2-40B4-BE49-F238E27FC236}">
                <a16:creationId xmlns:a16="http://schemas.microsoft.com/office/drawing/2014/main" id="{EB624E87-FB82-43D8-B298-FA3E916B796E}"/>
              </a:ext>
            </a:extLst>
          </p:cNvPr>
          <p:cNvSpPr txBox="1"/>
          <p:nvPr/>
        </p:nvSpPr>
        <p:spPr>
          <a:xfrm>
            <a:off x="7464678" y="6040256"/>
            <a:ext cx="2496000" cy="3120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120645" indent="-120645" defTabSz="895306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>
                <a:solidFill>
                  <a:srgbClr val="000000"/>
                </a:solidFill>
              </a:rPr>
              <a:t>Allungamento modulo </a:t>
            </a:r>
          </a:p>
          <a:p>
            <a:pPr marL="120645" indent="-120645" defTabSz="895306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>
                <a:solidFill>
                  <a:srgbClr val="000000"/>
                </a:solidFill>
              </a:rPr>
              <a:t>Potenziamento tecnologico</a:t>
            </a:r>
          </a:p>
        </p:txBody>
      </p:sp>
      <p:cxnSp>
        <p:nvCxnSpPr>
          <p:cNvPr id="151" name="Straight Connector 145">
            <a:extLst>
              <a:ext uri="{FF2B5EF4-FFF2-40B4-BE49-F238E27FC236}">
                <a16:creationId xmlns:a16="http://schemas.microsoft.com/office/drawing/2014/main" id="{CDB45A7F-E6EC-4DF8-9C7F-E75C4036A090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gray">
          <a:xfrm>
            <a:off x="6193027" y="6023267"/>
            <a:ext cx="56520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sp>
        <p:nvSpPr>
          <p:cNvPr id="152" name="TextBox 173">
            <a:extLst>
              <a:ext uri="{FF2B5EF4-FFF2-40B4-BE49-F238E27FC236}">
                <a16:creationId xmlns:a16="http://schemas.microsoft.com/office/drawing/2014/main" id="{0B7C1F53-58AE-4B77-ACCA-49ED04191894}"/>
              </a:ext>
            </a:extLst>
          </p:cNvPr>
          <p:cNvSpPr txBox="1"/>
          <p:nvPr/>
        </p:nvSpPr>
        <p:spPr>
          <a:xfrm>
            <a:off x="10224603" y="6101906"/>
            <a:ext cx="1602135" cy="1560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algn="ctr" defTabSz="895328">
              <a:buClr>
                <a:srgbClr val="D90000"/>
              </a:buClr>
              <a:defRPr/>
            </a:pPr>
            <a:r>
              <a:rPr lang="it-IT" sz="1067" kern="0"/>
              <a:t>Progettazione</a:t>
            </a:r>
            <a:endParaRPr lang="it-IT" sz="1067" b="1" kern="0"/>
          </a:p>
        </p:txBody>
      </p:sp>
      <p:sp>
        <p:nvSpPr>
          <p:cNvPr id="149" name="Freeform 581"/>
          <p:cNvSpPr>
            <a:spLocks noEditPoints="1"/>
          </p:cNvSpPr>
          <p:nvPr/>
        </p:nvSpPr>
        <p:spPr bwMode="auto">
          <a:xfrm>
            <a:off x="2142429" y="3263815"/>
            <a:ext cx="184865" cy="196945"/>
          </a:xfrm>
          <a:custGeom>
            <a:avLst/>
            <a:gdLst>
              <a:gd name="T0" fmla="*/ 363 w 642"/>
              <a:gd name="T1" fmla="*/ 721 h 811"/>
              <a:gd name="T2" fmla="*/ 427 w 642"/>
              <a:gd name="T3" fmla="*/ 750 h 811"/>
              <a:gd name="T4" fmla="*/ 491 w 642"/>
              <a:gd name="T5" fmla="*/ 721 h 811"/>
              <a:gd name="T6" fmla="*/ 558 w 642"/>
              <a:gd name="T7" fmla="*/ 712 h 811"/>
              <a:gd name="T8" fmla="*/ 587 w 642"/>
              <a:gd name="T9" fmla="*/ 740 h 811"/>
              <a:gd name="T10" fmla="*/ 583 w 642"/>
              <a:gd name="T11" fmla="*/ 782 h 811"/>
              <a:gd name="T12" fmla="*/ 558 w 642"/>
              <a:gd name="T13" fmla="*/ 773 h 811"/>
              <a:gd name="T14" fmla="*/ 491 w 642"/>
              <a:gd name="T15" fmla="*/ 782 h 811"/>
              <a:gd name="T16" fmla="*/ 427 w 642"/>
              <a:gd name="T17" fmla="*/ 811 h 811"/>
              <a:gd name="T18" fmla="*/ 363 w 642"/>
              <a:gd name="T19" fmla="*/ 782 h 811"/>
              <a:gd name="T20" fmla="*/ 307 w 642"/>
              <a:gd name="T21" fmla="*/ 769 h 811"/>
              <a:gd name="T22" fmla="*/ 246 w 642"/>
              <a:gd name="T23" fmla="*/ 801 h 811"/>
              <a:gd name="T24" fmla="*/ 183 w 642"/>
              <a:gd name="T25" fmla="*/ 801 h 811"/>
              <a:gd name="T26" fmla="*/ 118 w 642"/>
              <a:gd name="T27" fmla="*/ 768 h 811"/>
              <a:gd name="T28" fmla="*/ 64 w 642"/>
              <a:gd name="T29" fmla="*/ 783 h 811"/>
              <a:gd name="T30" fmla="*/ 54 w 642"/>
              <a:gd name="T31" fmla="*/ 778 h 811"/>
              <a:gd name="T32" fmla="*/ 60 w 642"/>
              <a:gd name="T33" fmla="*/ 725 h 811"/>
              <a:gd name="T34" fmla="*/ 118 w 642"/>
              <a:gd name="T35" fmla="*/ 707 h 811"/>
              <a:gd name="T36" fmla="*/ 183 w 642"/>
              <a:gd name="T37" fmla="*/ 740 h 811"/>
              <a:gd name="T38" fmla="*/ 246 w 642"/>
              <a:gd name="T39" fmla="*/ 740 h 811"/>
              <a:gd name="T40" fmla="*/ 307 w 642"/>
              <a:gd name="T41" fmla="*/ 707 h 811"/>
              <a:gd name="T42" fmla="*/ 165 w 642"/>
              <a:gd name="T43" fmla="*/ 107 h 811"/>
              <a:gd name="T44" fmla="*/ 159 w 642"/>
              <a:gd name="T45" fmla="*/ 167 h 811"/>
              <a:gd name="T46" fmla="*/ 149 w 642"/>
              <a:gd name="T47" fmla="*/ 182 h 811"/>
              <a:gd name="T48" fmla="*/ 98 w 642"/>
              <a:gd name="T49" fmla="*/ 182 h 811"/>
              <a:gd name="T50" fmla="*/ 550 w 642"/>
              <a:gd name="T51" fmla="*/ 258 h 811"/>
              <a:gd name="T52" fmla="*/ 515 w 642"/>
              <a:gd name="T53" fmla="*/ 182 h 811"/>
              <a:gd name="T54" fmla="*/ 486 w 642"/>
              <a:gd name="T55" fmla="*/ 176 h 811"/>
              <a:gd name="T56" fmla="*/ 482 w 642"/>
              <a:gd name="T57" fmla="*/ 115 h 811"/>
              <a:gd name="T58" fmla="*/ 469 w 642"/>
              <a:gd name="T59" fmla="*/ 105 h 811"/>
              <a:gd name="T60" fmla="*/ 366 w 642"/>
              <a:gd name="T61" fmla="*/ 2 h 811"/>
              <a:gd name="T62" fmla="*/ 388 w 642"/>
              <a:gd name="T63" fmla="*/ 57 h 811"/>
              <a:gd name="T64" fmla="*/ 511 w 642"/>
              <a:gd name="T65" fmla="*/ 79 h 811"/>
              <a:gd name="T66" fmla="*/ 566 w 642"/>
              <a:gd name="T67" fmla="*/ 153 h 811"/>
              <a:gd name="T68" fmla="*/ 588 w 642"/>
              <a:gd name="T69" fmla="*/ 264 h 811"/>
              <a:gd name="T70" fmla="*/ 642 w 642"/>
              <a:gd name="T71" fmla="*/ 296 h 811"/>
              <a:gd name="T72" fmla="*/ 498 w 642"/>
              <a:gd name="T73" fmla="*/ 690 h 811"/>
              <a:gd name="T74" fmla="*/ 439 w 642"/>
              <a:gd name="T75" fmla="*/ 724 h 811"/>
              <a:gd name="T76" fmla="*/ 388 w 642"/>
              <a:gd name="T77" fmla="*/ 708 h 811"/>
              <a:gd name="T78" fmla="*/ 321 w 642"/>
              <a:gd name="T79" fmla="*/ 684 h 811"/>
              <a:gd name="T80" fmla="*/ 253 w 642"/>
              <a:gd name="T81" fmla="*/ 708 h 811"/>
              <a:gd name="T82" fmla="*/ 202 w 642"/>
              <a:gd name="T83" fmla="*/ 724 h 811"/>
              <a:gd name="T84" fmla="*/ 145 w 642"/>
              <a:gd name="T85" fmla="*/ 690 h 811"/>
              <a:gd name="T86" fmla="*/ 0 w 642"/>
              <a:gd name="T87" fmla="*/ 296 h 811"/>
              <a:gd name="T88" fmla="*/ 53 w 642"/>
              <a:gd name="T89" fmla="*/ 264 h 811"/>
              <a:gd name="T90" fmla="*/ 76 w 642"/>
              <a:gd name="T91" fmla="*/ 153 h 811"/>
              <a:gd name="T92" fmla="*/ 130 w 642"/>
              <a:gd name="T93" fmla="*/ 79 h 811"/>
              <a:gd name="T94" fmla="*/ 253 w 642"/>
              <a:gd name="T95" fmla="*/ 57 h 811"/>
              <a:gd name="T96" fmla="*/ 277 w 642"/>
              <a:gd name="T97" fmla="*/ 2 h 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2" h="811">
                <a:moveTo>
                  <a:pt x="321" y="707"/>
                </a:moveTo>
                <a:lnTo>
                  <a:pt x="334" y="707"/>
                </a:lnTo>
                <a:lnTo>
                  <a:pt x="348" y="711"/>
                </a:lnTo>
                <a:lnTo>
                  <a:pt x="363" y="721"/>
                </a:lnTo>
                <a:lnTo>
                  <a:pt x="379" y="730"/>
                </a:lnTo>
                <a:lnTo>
                  <a:pt x="395" y="740"/>
                </a:lnTo>
                <a:lnTo>
                  <a:pt x="411" y="747"/>
                </a:lnTo>
                <a:lnTo>
                  <a:pt x="427" y="750"/>
                </a:lnTo>
                <a:lnTo>
                  <a:pt x="443" y="747"/>
                </a:lnTo>
                <a:lnTo>
                  <a:pt x="459" y="740"/>
                </a:lnTo>
                <a:lnTo>
                  <a:pt x="475" y="730"/>
                </a:lnTo>
                <a:lnTo>
                  <a:pt x="491" y="721"/>
                </a:lnTo>
                <a:lnTo>
                  <a:pt x="508" y="711"/>
                </a:lnTo>
                <a:lnTo>
                  <a:pt x="524" y="707"/>
                </a:lnTo>
                <a:lnTo>
                  <a:pt x="541" y="707"/>
                </a:lnTo>
                <a:lnTo>
                  <a:pt x="558" y="712"/>
                </a:lnTo>
                <a:lnTo>
                  <a:pt x="575" y="719"/>
                </a:lnTo>
                <a:lnTo>
                  <a:pt x="582" y="725"/>
                </a:lnTo>
                <a:lnTo>
                  <a:pt x="586" y="733"/>
                </a:lnTo>
                <a:lnTo>
                  <a:pt x="587" y="740"/>
                </a:lnTo>
                <a:lnTo>
                  <a:pt x="587" y="776"/>
                </a:lnTo>
                <a:lnTo>
                  <a:pt x="587" y="778"/>
                </a:lnTo>
                <a:lnTo>
                  <a:pt x="586" y="780"/>
                </a:lnTo>
                <a:lnTo>
                  <a:pt x="583" y="782"/>
                </a:lnTo>
                <a:lnTo>
                  <a:pt x="581" y="783"/>
                </a:lnTo>
                <a:lnTo>
                  <a:pt x="579" y="783"/>
                </a:lnTo>
                <a:lnTo>
                  <a:pt x="575" y="782"/>
                </a:lnTo>
                <a:lnTo>
                  <a:pt x="558" y="773"/>
                </a:lnTo>
                <a:lnTo>
                  <a:pt x="541" y="769"/>
                </a:lnTo>
                <a:lnTo>
                  <a:pt x="524" y="768"/>
                </a:lnTo>
                <a:lnTo>
                  <a:pt x="508" y="773"/>
                </a:lnTo>
                <a:lnTo>
                  <a:pt x="491" y="782"/>
                </a:lnTo>
                <a:lnTo>
                  <a:pt x="475" y="793"/>
                </a:lnTo>
                <a:lnTo>
                  <a:pt x="459" y="801"/>
                </a:lnTo>
                <a:lnTo>
                  <a:pt x="443" y="809"/>
                </a:lnTo>
                <a:lnTo>
                  <a:pt x="427" y="811"/>
                </a:lnTo>
                <a:lnTo>
                  <a:pt x="411" y="809"/>
                </a:lnTo>
                <a:lnTo>
                  <a:pt x="395" y="801"/>
                </a:lnTo>
                <a:lnTo>
                  <a:pt x="379" y="793"/>
                </a:lnTo>
                <a:lnTo>
                  <a:pt x="363" y="782"/>
                </a:lnTo>
                <a:lnTo>
                  <a:pt x="348" y="773"/>
                </a:lnTo>
                <a:lnTo>
                  <a:pt x="334" y="769"/>
                </a:lnTo>
                <a:lnTo>
                  <a:pt x="321" y="768"/>
                </a:lnTo>
                <a:lnTo>
                  <a:pt x="307" y="769"/>
                </a:lnTo>
                <a:lnTo>
                  <a:pt x="295" y="773"/>
                </a:lnTo>
                <a:lnTo>
                  <a:pt x="278" y="782"/>
                </a:lnTo>
                <a:lnTo>
                  <a:pt x="262" y="793"/>
                </a:lnTo>
                <a:lnTo>
                  <a:pt x="246" y="801"/>
                </a:lnTo>
                <a:lnTo>
                  <a:pt x="231" y="809"/>
                </a:lnTo>
                <a:lnTo>
                  <a:pt x="214" y="811"/>
                </a:lnTo>
                <a:lnTo>
                  <a:pt x="198" y="809"/>
                </a:lnTo>
                <a:lnTo>
                  <a:pt x="183" y="801"/>
                </a:lnTo>
                <a:lnTo>
                  <a:pt x="167" y="793"/>
                </a:lnTo>
                <a:lnTo>
                  <a:pt x="151" y="782"/>
                </a:lnTo>
                <a:lnTo>
                  <a:pt x="135" y="773"/>
                </a:lnTo>
                <a:lnTo>
                  <a:pt x="118" y="768"/>
                </a:lnTo>
                <a:lnTo>
                  <a:pt x="101" y="769"/>
                </a:lnTo>
                <a:lnTo>
                  <a:pt x="83" y="773"/>
                </a:lnTo>
                <a:lnTo>
                  <a:pt x="66" y="782"/>
                </a:lnTo>
                <a:lnTo>
                  <a:pt x="64" y="783"/>
                </a:lnTo>
                <a:lnTo>
                  <a:pt x="61" y="783"/>
                </a:lnTo>
                <a:lnTo>
                  <a:pt x="58" y="782"/>
                </a:lnTo>
                <a:lnTo>
                  <a:pt x="57" y="780"/>
                </a:lnTo>
                <a:lnTo>
                  <a:pt x="54" y="778"/>
                </a:lnTo>
                <a:lnTo>
                  <a:pt x="54" y="776"/>
                </a:lnTo>
                <a:lnTo>
                  <a:pt x="54" y="740"/>
                </a:lnTo>
                <a:lnTo>
                  <a:pt x="55" y="733"/>
                </a:lnTo>
                <a:lnTo>
                  <a:pt x="60" y="725"/>
                </a:lnTo>
                <a:lnTo>
                  <a:pt x="66" y="719"/>
                </a:lnTo>
                <a:lnTo>
                  <a:pt x="83" y="712"/>
                </a:lnTo>
                <a:lnTo>
                  <a:pt x="101" y="707"/>
                </a:lnTo>
                <a:lnTo>
                  <a:pt x="118" y="707"/>
                </a:lnTo>
                <a:lnTo>
                  <a:pt x="135" y="711"/>
                </a:lnTo>
                <a:lnTo>
                  <a:pt x="151" y="721"/>
                </a:lnTo>
                <a:lnTo>
                  <a:pt x="167" y="730"/>
                </a:lnTo>
                <a:lnTo>
                  <a:pt x="183" y="740"/>
                </a:lnTo>
                <a:lnTo>
                  <a:pt x="198" y="747"/>
                </a:lnTo>
                <a:lnTo>
                  <a:pt x="214" y="750"/>
                </a:lnTo>
                <a:lnTo>
                  <a:pt x="231" y="747"/>
                </a:lnTo>
                <a:lnTo>
                  <a:pt x="246" y="740"/>
                </a:lnTo>
                <a:lnTo>
                  <a:pt x="262" y="730"/>
                </a:lnTo>
                <a:lnTo>
                  <a:pt x="278" y="721"/>
                </a:lnTo>
                <a:lnTo>
                  <a:pt x="295" y="711"/>
                </a:lnTo>
                <a:lnTo>
                  <a:pt x="307" y="707"/>
                </a:lnTo>
                <a:lnTo>
                  <a:pt x="321" y="707"/>
                </a:lnTo>
                <a:close/>
                <a:moveTo>
                  <a:pt x="174" y="105"/>
                </a:moveTo>
                <a:lnTo>
                  <a:pt x="169" y="105"/>
                </a:lnTo>
                <a:lnTo>
                  <a:pt x="165" y="107"/>
                </a:lnTo>
                <a:lnTo>
                  <a:pt x="162" y="111"/>
                </a:lnTo>
                <a:lnTo>
                  <a:pt x="159" y="115"/>
                </a:lnTo>
                <a:lnTo>
                  <a:pt x="159" y="120"/>
                </a:lnTo>
                <a:lnTo>
                  <a:pt x="159" y="167"/>
                </a:lnTo>
                <a:lnTo>
                  <a:pt x="158" y="172"/>
                </a:lnTo>
                <a:lnTo>
                  <a:pt x="157" y="176"/>
                </a:lnTo>
                <a:lnTo>
                  <a:pt x="153" y="179"/>
                </a:lnTo>
                <a:lnTo>
                  <a:pt x="149" y="182"/>
                </a:lnTo>
                <a:lnTo>
                  <a:pt x="145" y="182"/>
                </a:lnTo>
                <a:lnTo>
                  <a:pt x="126" y="182"/>
                </a:lnTo>
                <a:lnTo>
                  <a:pt x="110" y="182"/>
                </a:lnTo>
                <a:lnTo>
                  <a:pt x="98" y="182"/>
                </a:lnTo>
                <a:lnTo>
                  <a:pt x="92" y="182"/>
                </a:lnTo>
                <a:lnTo>
                  <a:pt x="92" y="258"/>
                </a:lnTo>
                <a:lnTo>
                  <a:pt x="321" y="227"/>
                </a:lnTo>
                <a:lnTo>
                  <a:pt x="550" y="258"/>
                </a:lnTo>
                <a:lnTo>
                  <a:pt x="550" y="182"/>
                </a:lnTo>
                <a:lnTo>
                  <a:pt x="544" y="182"/>
                </a:lnTo>
                <a:lnTo>
                  <a:pt x="532" y="182"/>
                </a:lnTo>
                <a:lnTo>
                  <a:pt x="515" y="182"/>
                </a:lnTo>
                <a:lnTo>
                  <a:pt x="497" y="182"/>
                </a:lnTo>
                <a:lnTo>
                  <a:pt x="493" y="182"/>
                </a:lnTo>
                <a:lnTo>
                  <a:pt x="488" y="179"/>
                </a:lnTo>
                <a:lnTo>
                  <a:pt x="486" y="176"/>
                </a:lnTo>
                <a:lnTo>
                  <a:pt x="483" y="172"/>
                </a:lnTo>
                <a:lnTo>
                  <a:pt x="483" y="167"/>
                </a:lnTo>
                <a:lnTo>
                  <a:pt x="483" y="120"/>
                </a:lnTo>
                <a:lnTo>
                  <a:pt x="482" y="115"/>
                </a:lnTo>
                <a:lnTo>
                  <a:pt x="480" y="111"/>
                </a:lnTo>
                <a:lnTo>
                  <a:pt x="477" y="107"/>
                </a:lnTo>
                <a:lnTo>
                  <a:pt x="472" y="105"/>
                </a:lnTo>
                <a:lnTo>
                  <a:pt x="469" y="105"/>
                </a:lnTo>
                <a:lnTo>
                  <a:pt x="174" y="105"/>
                </a:lnTo>
                <a:close/>
                <a:moveTo>
                  <a:pt x="290" y="0"/>
                </a:moveTo>
                <a:lnTo>
                  <a:pt x="351" y="0"/>
                </a:lnTo>
                <a:lnTo>
                  <a:pt x="366" y="2"/>
                </a:lnTo>
                <a:lnTo>
                  <a:pt x="378" y="11"/>
                </a:lnTo>
                <a:lnTo>
                  <a:pt x="385" y="23"/>
                </a:lnTo>
                <a:lnTo>
                  <a:pt x="388" y="37"/>
                </a:lnTo>
                <a:lnTo>
                  <a:pt x="388" y="57"/>
                </a:lnTo>
                <a:lnTo>
                  <a:pt x="477" y="57"/>
                </a:lnTo>
                <a:lnTo>
                  <a:pt x="492" y="60"/>
                </a:lnTo>
                <a:lnTo>
                  <a:pt x="503" y="68"/>
                </a:lnTo>
                <a:lnTo>
                  <a:pt x="511" y="79"/>
                </a:lnTo>
                <a:lnTo>
                  <a:pt x="514" y="94"/>
                </a:lnTo>
                <a:lnTo>
                  <a:pt x="514" y="150"/>
                </a:lnTo>
                <a:lnTo>
                  <a:pt x="552" y="150"/>
                </a:lnTo>
                <a:lnTo>
                  <a:pt x="566" y="153"/>
                </a:lnTo>
                <a:lnTo>
                  <a:pt x="577" y="161"/>
                </a:lnTo>
                <a:lnTo>
                  <a:pt x="586" y="172"/>
                </a:lnTo>
                <a:lnTo>
                  <a:pt x="588" y="187"/>
                </a:lnTo>
                <a:lnTo>
                  <a:pt x="588" y="264"/>
                </a:lnTo>
                <a:lnTo>
                  <a:pt x="614" y="267"/>
                </a:lnTo>
                <a:lnTo>
                  <a:pt x="627" y="272"/>
                </a:lnTo>
                <a:lnTo>
                  <a:pt x="637" y="282"/>
                </a:lnTo>
                <a:lnTo>
                  <a:pt x="642" y="296"/>
                </a:lnTo>
                <a:lnTo>
                  <a:pt x="641" y="310"/>
                </a:lnTo>
                <a:lnTo>
                  <a:pt x="526" y="684"/>
                </a:lnTo>
                <a:lnTo>
                  <a:pt x="511" y="685"/>
                </a:lnTo>
                <a:lnTo>
                  <a:pt x="498" y="690"/>
                </a:lnTo>
                <a:lnTo>
                  <a:pt x="482" y="699"/>
                </a:lnTo>
                <a:lnTo>
                  <a:pt x="466" y="708"/>
                </a:lnTo>
                <a:lnTo>
                  <a:pt x="453" y="717"/>
                </a:lnTo>
                <a:lnTo>
                  <a:pt x="439" y="724"/>
                </a:lnTo>
                <a:lnTo>
                  <a:pt x="427" y="727"/>
                </a:lnTo>
                <a:lnTo>
                  <a:pt x="415" y="724"/>
                </a:lnTo>
                <a:lnTo>
                  <a:pt x="403" y="717"/>
                </a:lnTo>
                <a:lnTo>
                  <a:pt x="388" y="708"/>
                </a:lnTo>
                <a:lnTo>
                  <a:pt x="373" y="699"/>
                </a:lnTo>
                <a:lnTo>
                  <a:pt x="357" y="690"/>
                </a:lnTo>
                <a:lnTo>
                  <a:pt x="339" y="685"/>
                </a:lnTo>
                <a:lnTo>
                  <a:pt x="321" y="684"/>
                </a:lnTo>
                <a:lnTo>
                  <a:pt x="302" y="685"/>
                </a:lnTo>
                <a:lnTo>
                  <a:pt x="285" y="690"/>
                </a:lnTo>
                <a:lnTo>
                  <a:pt x="269" y="699"/>
                </a:lnTo>
                <a:lnTo>
                  <a:pt x="253" y="708"/>
                </a:lnTo>
                <a:lnTo>
                  <a:pt x="240" y="717"/>
                </a:lnTo>
                <a:lnTo>
                  <a:pt x="227" y="724"/>
                </a:lnTo>
                <a:lnTo>
                  <a:pt x="214" y="727"/>
                </a:lnTo>
                <a:lnTo>
                  <a:pt x="202" y="724"/>
                </a:lnTo>
                <a:lnTo>
                  <a:pt x="190" y="717"/>
                </a:lnTo>
                <a:lnTo>
                  <a:pt x="175" y="708"/>
                </a:lnTo>
                <a:lnTo>
                  <a:pt x="160" y="699"/>
                </a:lnTo>
                <a:lnTo>
                  <a:pt x="145" y="690"/>
                </a:lnTo>
                <a:lnTo>
                  <a:pt x="131" y="685"/>
                </a:lnTo>
                <a:lnTo>
                  <a:pt x="116" y="684"/>
                </a:lnTo>
                <a:lnTo>
                  <a:pt x="2" y="310"/>
                </a:lnTo>
                <a:lnTo>
                  <a:pt x="0" y="296"/>
                </a:lnTo>
                <a:lnTo>
                  <a:pt x="5" y="282"/>
                </a:lnTo>
                <a:lnTo>
                  <a:pt x="15" y="272"/>
                </a:lnTo>
                <a:lnTo>
                  <a:pt x="28" y="267"/>
                </a:lnTo>
                <a:lnTo>
                  <a:pt x="53" y="264"/>
                </a:lnTo>
                <a:lnTo>
                  <a:pt x="53" y="187"/>
                </a:lnTo>
                <a:lnTo>
                  <a:pt x="57" y="172"/>
                </a:lnTo>
                <a:lnTo>
                  <a:pt x="64" y="161"/>
                </a:lnTo>
                <a:lnTo>
                  <a:pt x="76" y="153"/>
                </a:lnTo>
                <a:lnTo>
                  <a:pt x="91" y="150"/>
                </a:lnTo>
                <a:lnTo>
                  <a:pt x="127" y="150"/>
                </a:lnTo>
                <a:lnTo>
                  <a:pt x="127" y="94"/>
                </a:lnTo>
                <a:lnTo>
                  <a:pt x="130" y="79"/>
                </a:lnTo>
                <a:lnTo>
                  <a:pt x="138" y="68"/>
                </a:lnTo>
                <a:lnTo>
                  <a:pt x="151" y="60"/>
                </a:lnTo>
                <a:lnTo>
                  <a:pt x="164" y="57"/>
                </a:lnTo>
                <a:lnTo>
                  <a:pt x="253" y="57"/>
                </a:lnTo>
                <a:lnTo>
                  <a:pt x="253" y="37"/>
                </a:lnTo>
                <a:lnTo>
                  <a:pt x="256" y="23"/>
                </a:lnTo>
                <a:lnTo>
                  <a:pt x="264" y="11"/>
                </a:lnTo>
                <a:lnTo>
                  <a:pt x="277" y="2"/>
                </a:lnTo>
                <a:lnTo>
                  <a:pt x="290" y="0"/>
                </a:lnTo>
                <a:close/>
              </a:path>
            </a:pathLst>
          </a:custGeom>
          <a:solidFill>
            <a:srgbClr val="0A2966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53" name="TextBox 115">
            <a:extLst>
              <a:ext uri="{FF2B5EF4-FFF2-40B4-BE49-F238E27FC236}">
                <a16:creationId xmlns:a16="http://schemas.microsoft.com/office/drawing/2014/main" id="{91DF077A-927A-4CB3-8E86-281CA4365373}"/>
              </a:ext>
            </a:extLst>
          </p:cNvPr>
          <p:cNvSpPr txBox="1"/>
          <p:nvPr/>
        </p:nvSpPr>
        <p:spPr>
          <a:xfrm>
            <a:off x="6214589" y="6452521"/>
            <a:ext cx="3335676" cy="1560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defTabSz="895328">
              <a:buClr>
                <a:srgbClr val="D90000"/>
              </a:buClr>
              <a:defRPr/>
            </a:pPr>
            <a:r>
              <a:rPr lang="it-IT" sz="1067" b="1" kern="0">
                <a:solidFill>
                  <a:srgbClr val="000000"/>
                </a:solidFill>
              </a:rPr>
              <a:t>Gioia Tauro</a:t>
            </a:r>
          </a:p>
        </p:txBody>
      </p:sp>
      <p:cxnSp>
        <p:nvCxnSpPr>
          <p:cNvPr id="154" name="Straight Connector 133">
            <a:extLst>
              <a:ext uri="{FF2B5EF4-FFF2-40B4-BE49-F238E27FC236}">
                <a16:creationId xmlns:a16="http://schemas.microsoft.com/office/drawing/2014/main" id="{9DEDE594-8953-46A0-A2CC-0BF01BB2B2DE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gray">
          <a:xfrm>
            <a:off x="6191909" y="6342575"/>
            <a:ext cx="56520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sp>
        <p:nvSpPr>
          <p:cNvPr id="155" name="TextBox 162">
            <a:extLst>
              <a:ext uri="{FF2B5EF4-FFF2-40B4-BE49-F238E27FC236}">
                <a16:creationId xmlns:a16="http://schemas.microsoft.com/office/drawing/2014/main" id="{EB624E87-FB82-43D8-B298-FA3E916B796E}"/>
              </a:ext>
            </a:extLst>
          </p:cNvPr>
          <p:cNvSpPr txBox="1"/>
          <p:nvPr/>
        </p:nvSpPr>
        <p:spPr>
          <a:xfrm>
            <a:off x="7444821" y="6358276"/>
            <a:ext cx="2666719" cy="3120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Allungamento modulo</a:t>
            </a:r>
          </a:p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Potenziamento linee di collegamento</a:t>
            </a:r>
          </a:p>
        </p:txBody>
      </p:sp>
      <p:sp>
        <p:nvSpPr>
          <p:cNvPr id="156" name="TextBox 173">
            <a:extLst>
              <a:ext uri="{FF2B5EF4-FFF2-40B4-BE49-F238E27FC236}">
                <a16:creationId xmlns:a16="http://schemas.microsoft.com/office/drawing/2014/main" id="{0B7C1F53-58AE-4B77-ACCA-49ED04191894}"/>
              </a:ext>
            </a:extLst>
          </p:cNvPr>
          <p:cNvSpPr txBox="1"/>
          <p:nvPr/>
        </p:nvSpPr>
        <p:spPr>
          <a:xfrm>
            <a:off x="10218642" y="6450785"/>
            <a:ext cx="1602135" cy="1560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algn="ctr" defTabSz="895328">
              <a:buClr>
                <a:srgbClr val="D90000"/>
              </a:buClr>
              <a:defRPr/>
            </a:pPr>
            <a:r>
              <a:rPr lang="it-IT" sz="1067" kern="0"/>
              <a:t>Fattibilità</a:t>
            </a:r>
            <a:endParaRPr lang="it-IT" sz="1067" b="1" kern="0"/>
          </a:p>
        </p:txBody>
      </p:sp>
      <p:sp>
        <p:nvSpPr>
          <p:cNvPr id="157" name="CasellaDiTesto 1"/>
          <p:cNvSpPr txBox="1">
            <a:spLocks noChangeArrowheads="1"/>
          </p:cNvSpPr>
          <p:nvPr/>
        </p:nvSpPr>
        <p:spPr bwMode="auto">
          <a:xfrm>
            <a:off x="2827301" y="4858205"/>
            <a:ext cx="798035" cy="245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52" tIns="45577" rIns="91152" bIns="45577">
            <a:spAutoFit/>
          </a:bodyPr>
          <a:lstStyle/>
          <a:p>
            <a:pPr defTabSz="914377" eaLnBrk="0" hangingPunct="0"/>
            <a:r>
              <a:rPr lang="it-IT" altLang="it-IT" sz="997" b="1">
                <a:solidFill>
                  <a:srgbClr val="000000"/>
                </a:solidFill>
                <a:latin typeface="Calibri"/>
              </a:rPr>
              <a:t>Gioia Tauro</a:t>
            </a:r>
          </a:p>
        </p:txBody>
      </p:sp>
      <p:sp>
        <p:nvSpPr>
          <p:cNvPr id="158" name="Freeform 581"/>
          <p:cNvSpPr>
            <a:spLocks noEditPoints="1"/>
          </p:cNvSpPr>
          <p:nvPr/>
        </p:nvSpPr>
        <p:spPr bwMode="auto">
          <a:xfrm>
            <a:off x="3561588" y="4885058"/>
            <a:ext cx="184865" cy="203196"/>
          </a:xfrm>
          <a:custGeom>
            <a:avLst/>
            <a:gdLst>
              <a:gd name="T0" fmla="*/ 363 w 642"/>
              <a:gd name="T1" fmla="*/ 721 h 811"/>
              <a:gd name="T2" fmla="*/ 427 w 642"/>
              <a:gd name="T3" fmla="*/ 750 h 811"/>
              <a:gd name="T4" fmla="*/ 491 w 642"/>
              <a:gd name="T5" fmla="*/ 721 h 811"/>
              <a:gd name="T6" fmla="*/ 558 w 642"/>
              <a:gd name="T7" fmla="*/ 712 h 811"/>
              <a:gd name="T8" fmla="*/ 587 w 642"/>
              <a:gd name="T9" fmla="*/ 740 h 811"/>
              <a:gd name="T10" fmla="*/ 583 w 642"/>
              <a:gd name="T11" fmla="*/ 782 h 811"/>
              <a:gd name="T12" fmla="*/ 558 w 642"/>
              <a:gd name="T13" fmla="*/ 773 h 811"/>
              <a:gd name="T14" fmla="*/ 491 w 642"/>
              <a:gd name="T15" fmla="*/ 782 h 811"/>
              <a:gd name="T16" fmla="*/ 427 w 642"/>
              <a:gd name="T17" fmla="*/ 811 h 811"/>
              <a:gd name="T18" fmla="*/ 363 w 642"/>
              <a:gd name="T19" fmla="*/ 782 h 811"/>
              <a:gd name="T20" fmla="*/ 307 w 642"/>
              <a:gd name="T21" fmla="*/ 769 h 811"/>
              <a:gd name="T22" fmla="*/ 246 w 642"/>
              <a:gd name="T23" fmla="*/ 801 h 811"/>
              <a:gd name="T24" fmla="*/ 183 w 642"/>
              <a:gd name="T25" fmla="*/ 801 h 811"/>
              <a:gd name="T26" fmla="*/ 118 w 642"/>
              <a:gd name="T27" fmla="*/ 768 h 811"/>
              <a:gd name="T28" fmla="*/ 64 w 642"/>
              <a:gd name="T29" fmla="*/ 783 h 811"/>
              <a:gd name="T30" fmla="*/ 54 w 642"/>
              <a:gd name="T31" fmla="*/ 778 h 811"/>
              <a:gd name="T32" fmla="*/ 60 w 642"/>
              <a:gd name="T33" fmla="*/ 725 h 811"/>
              <a:gd name="T34" fmla="*/ 118 w 642"/>
              <a:gd name="T35" fmla="*/ 707 h 811"/>
              <a:gd name="T36" fmla="*/ 183 w 642"/>
              <a:gd name="T37" fmla="*/ 740 h 811"/>
              <a:gd name="T38" fmla="*/ 246 w 642"/>
              <a:gd name="T39" fmla="*/ 740 h 811"/>
              <a:gd name="T40" fmla="*/ 307 w 642"/>
              <a:gd name="T41" fmla="*/ 707 h 811"/>
              <a:gd name="T42" fmla="*/ 165 w 642"/>
              <a:gd name="T43" fmla="*/ 107 h 811"/>
              <a:gd name="T44" fmla="*/ 159 w 642"/>
              <a:gd name="T45" fmla="*/ 167 h 811"/>
              <a:gd name="T46" fmla="*/ 149 w 642"/>
              <a:gd name="T47" fmla="*/ 182 h 811"/>
              <a:gd name="T48" fmla="*/ 98 w 642"/>
              <a:gd name="T49" fmla="*/ 182 h 811"/>
              <a:gd name="T50" fmla="*/ 550 w 642"/>
              <a:gd name="T51" fmla="*/ 258 h 811"/>
              <a:gd name="T52" fmla="*/ 515 w 642"/>
              <a:gd name="T53" fmla="*/ 182 h 811"/>
              <a:gd name="T54" fmla="*/ 486 w 642"/>
              <a:gd name="T55" fmla="*/ 176 h 811"/>
              <a:gd name="T56" fmla="*/ 482 w 642"/>
              <a:gd name="T57" fmla="*/ 115 h 811"/>
              <a:gd name="T58" fmla="*/ 469 w 642"/>
              <a:gd name="T59" fmla="*/ 105 h 811"/>
              <a:gd name="T60" fmla="*/ 366 w 642"/>
              <a:gd name="T61" fmla="*/ 2 h 811"/>
              <a:gd name="T62" fmla="*/ 388 w 642"/>
              <a:gd name="T63" fmla="*/ 57 h 811"/>
              <a:gd name="T64" fmla="*/ 511 w 642"/>
              <a:gd name="T65" fmla="*/ 79 h 811"/>
              <a:gd name="T66" fmla="*/ 566 w 642"/>
              <a:gd name="T67" fmla="*/ 153 h 811"/>
              <a:gd name="T68" fmla="*/ 588 w 642"/>
              <a:gd name="T69" fmla="*/ 264 h 811"/>
              <a:gd name="T70" fmla="*/ 642 w 642"/>
              <a:gd name="T71" fmla="*/ 296 h 811"/>
              <a:gd name="T72" fmla="*/ 498 w 642"/>
              <a:gd name="T73" fmla="*/ 690 h 811"/>
              <a:gd name="T74" fmla="*/ 439 w 642"/>
              <a:gd name="T75" fmla="*/ 724 h 811"/>
              <a:gd name="T76" fmla="*/ 388 w 642"/>
              <a:gd name="T77" fmla="*/ 708 h 811"/>
              <a:gd name="T78" fmla="*/ 321 w 642"/>
              <a:gd name="T79" fmla="*/ 684 h 811"/>
              <a:gd name="T80" fmla="*/ 253 w 642"/>
              <a:gd name="T81" fmla="*/ 708 h 811"/>
              <a:gd name="T82" fmla="*/ 202 w 642"/>
              <a:gd name="T83" fmla="*/ 724 h 811"/>
              <a:gd name="T84" fmla="*/ 145 w 642"/>
              <a:gd name="T85" fmla="*/ 690 h 811"/>
              <a:gd name="T86" fmla="*/ 0 w 642"/>
              <a:gd name="T87" fmla="*/ 296 h 811"/>
              <a:gd name="T88" fmla="*/ 53 w 642"/>
              <a:gd name="T89" fmla="*/ 264 h 811"/>
              <a:gd name="T90" fmla="*/ 76 w 642"/>
              <a:gd name="T91" fmla="*/ 153 h 811"/>
              <a:gd name="T92" fmla="*/ 130 w 642"/>
              <a:gd name="T93" fmla="*/ 79 h 811"/>
              <a:gd name="T94" fmla="*/ 253 w 642"/>
              <a:gd name="T95" fmla="*/ 57 h 811"/>
              <a:gd name="T96" fmla="*/ 277 w 642"/>
              <a:gd name="T97" fmla="*/ 2 h 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2" h="811">
                <a:moveTo>
                  <a:pt x="321" y="707"/>
                </a:moveTo>
                <a:lnTo>
                  <a:pt x="334" y="707"/>
                </a:lnTo>
                <a:lnTo>
                  <a:pt x="348" y="711"/>
                </a:lnTo>
                <a:lnTo>
                  <a:pt x="363" y="721"/>
                </a:lnTo>
                <a:lnTo>
                  <a:pt x="379" y="730"/>
                </a:lnTo>
                <a:lnTo>
                  <a:pt x="395" y="740"/>
                </a:lnTo>
                <a:lnTo>
                  <a:pt x="411" y="747"/>
                </a:lnTo>
                <a:lnTo>
                  <a:pt x="427" y="750"/>
                </a:lnTo>
                <a:lnTo>
                  <a:pt x="443" y="747"/>
                </a:lnTo>
                <a:lnTo>
                  <a:pt x="459" y="740"/>
                </a:lnTo>
                <a:lnTo>
                  <a:pt x="475" y="730"/>
                </a:lnTo>
                <a:lnTo>
                  <a:pt x="491" y="721"/>
                </a:lnTo>
                <a:lnTo>
                  <a:pt x="508" y="711"/>
                </a:lnTo>
                <a:lnTo>
                  <a:pt x="524" y="707"/>
                </a:lnTo>
                <a:lnTo>
                  <a:pt x="541" y="707"/>
                </a:lnTo>
                <a:lnTo>
                  <a:pt x="558" y="712"/>
                </a:lnTo>
                <a:lnTo>
                  <a:pt x="575" y="719"/>
                </a:lnTo>
                <a:lnTo>
                  <a:pt x="582" y="725"/>
                </a:lnTo>
                <a:lnTo>
                  <a:pt x="586" y="733"/>
                </a:lnTo>
                <a:lnTo>
                  <a:pt x="587" y="740"/>
                </a:lnTo>
                <a:lnTo>
                  <a:pt x="587" y="776"/>
                </a:lnTo>
                <a:lnTo>
                  <a:pt x="587" y="778"/>
                </a:lnTo>
                <a:lnTo>
                  <a:pt x="586" y="780"/>
                </a:lnTo>
                <a:lnTo>
                  <a:pt x="583" y="782"/>
                </a:lnTo>
                <a:lnTo>
                  <a:pt x="581" y="783"/>
                </a:lnTo>
                <a:lnTo>
                  <a:pt x="579" y="783"/>
                </a:lnTo>
                <a:lnTo>
                  <a:pt x="575" y="782"/>
                </a:lnTo>
                <a:lnTo>
                  <a:pt x="558" y="773"/>
                </a:lnTo>
                <a:lnTo>
                  <a:pt x="541" y="769"/>
                </a:lnTo>
                <a:lnTo>
                  <a:pt x="524" y="768"/>
                </a:lnTo>
                <a:lnTo>
                  <a:pt x="508" y="773"/>
                </a:lnTo>
                <a:lnTo>
                  <a:pt x="491" y="782"/>
                </a:lnTo>
                <a:lnTo>
                  <a:pt x="475" y="793"/>
                </a:lnTo>
                <a:lnTo>
                  <a:pt x="459" y="801"/>
                </a:lnTo>
                <a:lnTo>
                  <a:pt x="443" y="809"/>
                </a:lnTo>
                <a:lnTo>
                  <a:pt x="427" y="811"/>
                </a:lnTo>
                <a:lnTo>
                  <a:pt x="411" y="809"/>
                </a:lnTo>
                <a:lnTo>
                  <a:pt x="395" y="801"/>
                </a:lnTo>
                <a:lnTo>
                  <a:pt x="379" y="793"/>
                </a:lnTo>
                <a:lnTo>
                  <a:pt x="363" y="782"/>
                </a:lnTo>
                <a:lnTo>
                  <a:pt x="348" y="773"/>
                </a:lnTo>
                <a:lnTo>
                  <a:pt x="334" y="769"/>
                </a:lnTo>
                <a:lnTo>
                  <a:pt x="321" y="768"/>
                </a:lnTo>
                <a:lnTo>
                  <a:pt x="307" y="769"/>
                </a:lnTo>
                <a:lnTo>
                  <a:pt x="295" y="773"/>
                </a:lnTo>
                <a:lnTo>
                  <a:pt x="278" y="782"/>
                </a:lnTo>
                <a:lnTo>
                  <a:pt x="262" y="793"/>
                </a:lnTo>
                <a:lnTo>
                  <a:pt x="246" y="801"/>
                </a:lnTo>
                <a:lnTo>
                  <a:pt x="231" y="809"/>
                </a:lnTo>
                <a:lnTo>
                  <a:pt x="214" y="811"/>
                </a:lnTo>
                <a:lnTo>
                  <a:pt x="198" y="809"/>
                </a:lnTo>
                <a:lnTo>
                  <a:pt x="183" y="801"/>
                </a:lnTo>
                <a:lnTo>
                  <a:pt x="167" y="793"/>
                </a:lnTo>
                <a:lnTo>
                  <a:pt x="151" y="782"/>
                </a:lnTo>
                <a:lnTo>
                  <a:pt x="135" y="773"/>
                </a:lnTo>
                <a:lnTo>
                  <a:pt x="118" y="768"/>
                </a:lnTo>
                <a:lnTo>
                  <a:pt x="101" y="769"/>
                </a:lnTo>
                <a:lnTo>
                  <a:pt x="83" y="773"/>
                </a:lnTo>
                <a:lnTo>
                  <a:pt x="66" y="782"/>
                </a:lnTo>
                <a:lnTo>
                  <a:pt x="64" y="783"/>
                </a:lnTo>
                <a:lnTo>
                  <a:pt x="61" y="783"/>
                </a:lnTo>
                <a:lnTo>
                  <a:pt x="58" y="782"/>
                </a:lnTo>
                <a:lnTo>
                  <a:pt x="57" y="780"/>
                </a:lnTo>
                <a:lnTo>
                  <a:pt x="54" y="778"/>
                </a:lnTo>
                <a:lnTo>
                  <a:pt x="54" y="776"/>
                </a:lnTo>
                <a:lnTo>
                  <a:pt x="54" y="740"/>
                </a:lnTo>
                <a:lnTo>
                  <a:pt x="55" y="733"/>
                </a:lnTo>
                <a:lnTo>
                  <a:pt x="60" y="725"/>
                </a:lnTo>
                <a:lnTo>
                  <a:pt x="66" y="719"/>
                </a:lnTo>
                <a:lnTo>
                  <a:pt x="83" y="712"/>
                </a:lnTo>
                <a:lnTo>
                  <a:pt x="101" y="707"/>
                </a:lnTo>
                <a:lnTo>
                  <a:pt x="118" y="707"/>
                </a:lnTo>
                <a:lnTo>
                  <a:pt x="135" y="711"/>
                </a:lnTo>
                <a:lnTo>
                  <a:pt x="151" y="721"/>
                </a:lnTo>
                <a:lnTo>
                  <a:pt x="167" y="730"/>
                </a:lnTo>
                <a:lnTo>
                  <a:pt x="183" y="740"/>
                </a:lnTo>
                <a:lnTo>
                  <a:pt x="198" y="747"/>
                </a:lnTo>
                <a:lnTo>
                  <a:pt x="214" y="750"/>
                </a:lnTo>
                <a:lnTo>
                  <a:pt x="231" y="747"/>
                </a:lnTo>
                <a:lnTo>
                  <a:pt x="246" y="740"/>
                </a:lnTo>
                <a:lnTo>
                  <a:pt x="262" y="730"/>
                </a:lnTo>
                <a:lnTo>
                  <a:pt x="278" y="721"/>
                </a:lnTo>
                <a:lnTo>
                  <a:pt x="295" y="711"/>
                </a:lnTo>
                <a:lnTo>
                  <a:pt x="307" y="707"/>
                </a:lnTo>
                <a:lnTo>
                  <a:pt x="321" y="707"/>
                </a:lnTo>
                <a:close/>
                <a:moveTo>
                  <a:pt x="174" y="105"/>
                </a:moveTo>
                <a:lnTo>
                  <a:pt x="169" y="105"/>
                </a:lnTo>
                <a:lnTo>
                  <a:pt x="165" y="107"/>
                </a:lnTo>
                <a:lnTo>
                  <a:pt x="162" y="111"/>
                </a:lnTo>
                <a:lnTo>
                  <a:pt x="159" y="115"/>
                </a:lnTo>
                <a:lnTo>
                  <a:pt x="159" y="120"/>
                </a:lnTo>
                <a:lnTo>
                  <a:pt x="159" y="167"/>
                </a:lnTo>
                <a:lnTo>
                  <a:pt x="158" y="172"/>
                </a:lnTo>
                <a:lnTo>
                  <a:pt x="157" y="176"/>
                </a:lnTo>
                <a:lnTo>
                  <a:pt x="153" y="179"/>
                </a:lnTo>
                <a:lnTo>
                  <a:pt x="149" y="182"/>
                </a:lnTo>
                <a:lnTo>
                  <a:pt x="145" y="182"/>
                </a:lnTo>
                <a:lnTo>
                  <a:pt x="126" y="182"/>
                </a:lnTo>
                <a:lnTo>
                  <a:pt x="110" y="182"/>
                </a:lnTo>
                <a:lnTo>
                  <a:pt x="98" y="182"/>
                </a:lnTo>
                <a:lnTo>
                  <a:pt x="92" y="182"/>
                </a:lnTo>
                <a:lnTo>
                  <a:pt x="92" y="258"/>
                </a:lnTo>
                <a:lnTo>
                  <a:pt x="321" y="227"/>
                </a:lnTo>
                <a:lnTo>
                  <a:pt x="550" y="258"/>
                </a:lnTo>
                <a:lnTo>
                  <a:pt x="550" y="182"/>
                </a:lnTo>
                <a:lnTo>
                  <a:pt x="544" y="182"/>
                </a:lnTo>
                <a:lnTo>
                  <a:pt x="532" y="182"/>
                </a:lnTo>
                <a:lnTo>
                  <a:pt x="515" y="182"/>
                </a:lnTo>
                <a:lnTo>
                  <a:pt x="497" y="182"/>
                </a:lnTo>
                <a:lnTo>
                  <a:pt x="493" y="182"/>
                </a:lnTo>
                <a:lnTo>
                  <a:pt x="488" y="179"/>
                </a:lnTo>
                <a:lnTo>
                  <a:pt x="486" y="176"/>
                </a:lnTo>
                <a:lnTo>
                  <a:pt x="483" y="172"/>
                </a:lnTo>
                <a:lnTo>
                  <a:pt x="483" y="167"/>
                </a:lnTo>
                <a:lnTo>
                  <a:pt x="483" y="120"/>
                </a:lnTo>
                <a:lnTo>
                  <a:pt x="482" y="115"/>
                </a:lnTo>
                <a:lnTo>
                  <a:pt x="480" y="111"/>
                </a:lnTo>
                <a:lnTo>
                  <a:pt x="477" y="107"/>
                </a:lnTo>
                <a:lnTo>
                  <a:pt x="472" y="105"/>
                </a:lnTo>
                <a:lnTo>
                  <a:pt x="469" y="105"/>
                </a:lnTo>
                <a:lnTo>
                  <a:pt x="174" y="105"/>
                </a:lnTo>
                <a:close/>
                <a:moveTo>
                  <a:pt x="290" y="0"/>
                </a:moveTo>
                <a:lnTo>
                  <a:pt x="351" y="0"/>
                </a:lnTo>
                <a:lnTo>
                  <a:pt x="366" y="2"/>
                </a:lnTo>
                <a:lnTo>
                  <a:pt x="378" y="11"/>
                </a:lnTo>
                <a:lnTo>
                  <a:pt x="385" y="23"/>
                </a:lnTo>
                <a:lnTo>
                  <a:pt x="388" y="37"/>
                </a:lnTo>
                <a:lnTo>
                  <a:pt x="388" y="57"/>
                </a:lnTo>
                <a:lnTo>
                  <a:pt x="477" y="57"/>
                </a:lnTo>
                <a:lnTo>
                  <a:pt x="492" y="60"/>
                </a:lnTo>
                <a:lnTo>
                  <a:pt x="503" y="68"/>
                </a:lnTo>
                <a:lnTo>
                  <a:pt x="511" y="79"/>
                </a:lnTo>
                <a:lnTo>
                  <a:pt x="514" y="94"/>
                </a:lnTo>
                <a:lnTo>
                  <a:pt x="514" y="150"/>
                </a:lnTo>
                <a:lnTo>
                  <a:pt x="552" y="150"/>
                </a:lnTo>
                <a:lnTo>
                  <a:pt x="566" y="153"/>
                </a:lnTo>
                <a:lnTo>
                  <a:pt x="577" y="161"/>
                </a:lnTo>
                <a:lnTo>
                  <a:pt x="586" y="172"/>
                </a:lnTo>
                <a:lnTo>
                  <a:pt x="588" y="187"/>
                </a:lnTo>
                <a:lnTo>
                  <a:pt x="588" y="264"/>
                </a:lnTo>
                <a:lnTo>
                  <a:pt x="614" y="267"/>
                </a:lnTo>
                <a:lnTo>
                  <a:pt x="627" y="272"/>
                </a:lnTo>
                <a:lnTo>
                  <a:pt x="637" y="282"/>
                </a:lnTo>
                <a:lnTo>
                  <a:pt x="642" y="296"/>
                </a:lnTo>
                <a:lnTo>
                  <a:pt x="641" y="310"/>
                </a:lnTo>
                <a:lnTo>
                  <a:pt x="526" y="684"/>
                </a:lnTo>
                <a:lnTo>
                  <a:pt x="511" y="685"/>
                </a:lnTo>
                <a:lnTo>
                  <a:pt x="498" y="690"/>
                </a:lnTo>
                <a:lnTo>
                  <a:pt x="482" y="699"/>
                </a:lnTo>
                <a:lnTo>
                  <a:pt x="466" y="708"/>
                </a:lnTo>
                <a:lnTo>
                  <a:pt x="453" y="717"/>
                </a:lnTo>
                <a:lnTo>
                  <a:pt x="439" y="724"/>
                </a:lnTo>
                <a:lnTo>
                  <a:pt x="427" y="727"/>
                </a:lnTo>
                <a:lnTo>
                  <a:pt x="415" y="724"/>
                </a:lnTo>
                <a:lnTo>
                  <a:pt x="403" y="717"/>
                </a:lnTo>
                <a:lnTo>
                  <a:pt x="388" y="708"/>
                </a:lnTo>
                <a:lnTo>
                  <a:pt x="373" y="699"/>
                </a:lnTo>
                <a:lnTo>
                  <a:pt x="357" y="690"/>
                </a:lnTo>
                <a:lnTo>
                  <a:pt x="339" y="685"/>
                </a:lnTo>
                <a:lnTo>
                  <a:pt x="321" y="684"/>
                </a:lnTo>
                <a:lnTo>
                  <a:pt x="302" y="685"/>
                </a:lnTo>
                <a:lnTo>
                  <a:pt x="285" y="690"/>
                </a:lnTo>
                <a:lnTo>
                  <a:pt x="269" y="699"/>
                </a:lnTo>
                <a:lnTo>
                  <a:pt x="253" y="708"/>
                </a:lnTo>
                <a:lnTo>
                  <a:pt x="240" y="717"/>
                </a:lnTo>
                <a:lnTo>
                  <a:pt x="227" y="724"/>
                </a:lnTo>
                <a:lnTo>
                  <a:pt x="214" y="727"/>
                </a:lnTo>
                <a:lnTo>
                  <a:pt x="202" y="724"/>
                </a:lnTo>
                <a:lnTo>
                  <a:pt x="190" y="717"/>
                </a:lnTo>
                <a:lnTo>
                  <a:pt x="175" y="708"/>
                </a:lnTo>
                <a:lnTo>
                  <a:pt x="160" y="699"/>
                </a:lnTo>
                <a:lnTo>
                  <a:pt x="145" y="690"/>
                </a:lnTo>
                <a:lnTo>
                  <a:pt x="131" y="685"/>
                </a:lnTo>
                <a:lnTo>
                  <a:pt x="116" y="684"/>
                </a:lnTo>
                <a:lnTo>
                  <a:pt x="2" y="310"/>
                </a:lnTo>
                <a:lnTo>
                  <a:pt x="0" y="296"/>
                </a:lnTo>
                <a:lnTo>
                  <a:pt x="5" y="282"/>
                </a:lnTo>
                <a:lnTo>
                  <a:pt x="15" y="272"/>
                </a:lnTo>
                <a:lnTo>
                  <a:pt x="28" y="267"/>
                </a:lnTo>
                <a:lnTo>
                  <a:pt x="53" y="264"/>
                </a:lnTo>
                <a:lnTo>
                  <a:pt x="53" y="187"/>
                </a:lnTo>
                <a:lnTo>
                  <a:pt x="57" y="172"/>
                </a:lnTo>
                <a:lnTo>
                  <a:pt x="64" y="161"/>
                </a:lnTo>
                <a:lnTo>
                  <a:pt x="76" y="153"/>
                </a:lnTo>
                <a:lnTo>
                  <a:pt x="91" y="150"/>
                </a:lnTo>
                <a:lnTo>
                  <a:pt x="127" y="150"/>
                </a:lnTo>
                <a:lnTo>
                  <a:pt x="127" y="94"/>
                </a:lnTo>
                <a:lnTo>
                  <a:pt x="130" y="79"/>
                </a:lnTo>
                <a:lnTo>
                  <a:pt x="138" y="68"/>
                </a:lnTo>
                <a:lnTo>
                  <a:pt x="151" y="60"/>
                </a:lnTo>
                <a:lnTo>
                  <a:pt x="164" y="57"/>
                </a:lnTo>
                <a:lnTo>
                  <a:pt x="253" y="57"/>
                </a:lnTo>
                <a:lnTo>
                  <a:pt x="253" y="37"/>
                </a:lnTo>
                <a:lnTo>
                  <a:pt x="256" y="23"/>
                </a:lnTo>
                <a:lnTo>
                  <a:pt x="264" y="11"/>
                </a:lnTo>
                <a:lnTo>
                  <a:pt x="277" y="2"/>
                </a:lnTo>
                <a:lnTo>
                  <a:pt x="290" y="0"/>
                </a:ln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60" name="CasellaDiTesto 562"/>
          <p:cNvSpPr txBox="1">
            <a:spLocks noChangeArrowheads="1"/>
          </p:cNvSpPr>
          <p:nvPr/>
        </p:nvSpPr>
        <p:spPr bwMode="auto">
          <a:xfrm>
            <a:off x="1384941" y="2292878"/>
            <a:ext cx="897421" cy="2454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152" tIns="45577" rIns="91152" bIns="45577">
            <a:spAutoFit/>
          </a:bodyPr>
          <a:lstStyle/>
          <a:p>
            <a:pPr defTabSz="914377" eaLnBrk="0" hangingPunct="0"/>
            <a:r>
              <a:rPr lang="it-IT" altLang="it-IT" sz="997" b="1">
                <a:solidFill>
                  <a:srgbClr val="000000"/>
                </a:solidFill>
                <a:latin typeface="Calibri"/>
              </a:rPr>
              <a:t>GE Marittima</a:t>
            </a:r>
          </a:p>
        </p:txBody>
      </p:sp>
      <p:sp>
        <p:nvSpPr>
          <p:cNvPr id="166" name="TextBox 162">
            <a:extLst>
              <a:ext uri="{FF2B5EF4-FFF2-40B4-BE49-F238E27FC236}">
                <a16:creationId xmlns:a16="http://schemas.microsoft.com/office/drawing/2014/main" id="{EB624E87-FB82-43D8-B298-FA3E916B796E}"/>
              </a:ext>
            </a:extLst>
          </p:cNvPr>
          <p:cNvSpPr txBox="1"/>
          <p:nvPr/>
        </p:nvSpPr>
        <p:spPr>
          <a:xfrm>
            <a:off x="7446192" y="1751107"/>
            <a:ext cx="2496000" cy="3120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Realizzazione nuova stazione</a:t>
            </a:r>
          </a:p>
          <a:p>
            <a:pPr marL="120648" indent="-120648" defTabSz="895328">
              <a:buClr>
                <a:srgbClr val="D90000"/>
              </a:buClr>
              <a:buFont typeface="Arial" panose="020B0604020202020204" pitchFamily="34" charset="0"/>
              <a:buChar char="•"/>
              <a:defRPr/>
            </a:pPr>
            <a:r>
              <a:rPr lang="it-IT" sz="1067" kern="0"/>
              <a:t>Allungamento modulo</a:t>
            </a:r>
          </a:p>
        </p:txBody>
      </p:sp>
      <p:sp>
        <p:nvSpPr>
          <p:cNvPr id="167" name="TextBox 114">
            <a:extLst>
              <a:ext uri="{FF2B5EF4-FFF2-40B4-BE49-F238E27FC236}">
                <a16:creationId xmlns:a16="http://schemas.microsoft.com/office/drawing/2014/main" id="{D05B3CEC-B2F9-4533-B007-1E78379007AC}"/>
              </a:ext>
            </a:extLst>
          </p:cNvPr>
          <p:cNvSpPr txBox="1"/>
          <p:nvPr/>
        </p:nvSpPr>
        <p:spPr>
          <a:xfrm>
            <a:off x="6208523" y="1830895"/>
            <a:ext cx="3335676" cy="15600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defTabSz="895328">
              <a:buClr>
                <a:srgbClr val="D90000"/>
              </a:buClr>
              <a:defRPr/>
            </a:pPr>
            <a:r>
              <a:rPr lang="it-IT" sz="1067" b="1" kern="0">
                <a:solidFill>
                  <a:srgbClr val="000000"/>
                </a:solidFill>
              </a:rPr>
              <a:t>Genova Marittima</a:t>
            </a:r>
          </a:p>
        </p:txBody>
      </p:sp>
      <p:sp>
        <p:nvSpPr>
          <p:cNvPr id="168" name="TextBox 173">
            <a:extLst>
              <a:ext uri="{FF2B5EF4-FFF2-40B4-BE49-F238E27FC236}">
                <a16:creationId xmlns:a16="http://schemas.microsoft.com/office/drawing/2014/main" id="{0B7C1F53-58AE-4B77-ACCA-49ED04191894}"/>
              </a:ext>
            </a:extLst>
          </p:cNvPr>
          <p:cNvSpPr txBox="1"/>
          <p:nvPr/>
        </p:nvSpPr>
        <p:spPr>
          <a:xfrm>
            <a:off x="10218642" y="1829077"/>
            <a:ext cx="1602135" cy="1560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algn="ctr" defTabSz="895328">
              <a:buClr>
                <a:srgbClr val="D90000"/>
              </a:buClr>
              <a:defRPr/>
            </a:pPr>
            <a:r>
              <a:rPr lang="it-IT" sz="1067" kern="0"/>
              <a:t>Progettazione</a:t>
            </a:r>
            <a:endParaRPr lang="it-IT" sz="1067" b="1" kern="0"/>
          </a:p>
        </p:txBody>
      </p:sp>
      <p:cxnSp>
        <p:nvCxnSpPr>
          <p:cNvPr id="169" name="Straight Connector 132">
            <a:extLst>
              <a:ext uri="{FF2B5EF4-FFF2-40B4-BE49-F238E27FC236}">
                <a16:creationId xmlns:a16="http://schemas.microsoft.com/office/drawing/2014/main" id="{4659CB69-8B58-4929-8152-9CE9C601ED81}"/>
              </a:ext>
            </a:extLst>
          </p:cNvPr>
          <p:cNvCxnSpPr>
            <a:cxnSpLocks/>
          </p:cNvCxnSpPr>
          <p:nvPr>
            <p:custDataLst>
              <p:tags r:id="rId14"/>
            </p:custDataLst>
          </p:nvPr>
        </p:nvCxnSpPr>
        <p:spPr bwMode="gray">
          <a:xfrm>
            <a:off x="6193280" y="1691916"/>
            <a:ext cx="5652000" cy="0"/>
          </a:xfrm>
          <a:prstGeom prst="line">
            <a:avLst/>
          </a:prstGeom>
          <a:noFill/>
          <a:ln w="12700" cap="flat" cmpd="sng" algn="ctr">
            <a:solidFill>
              <a:srgbClr val="FFFFFF">
                <a:lumMod val="50000"/>
              </a:srgbClr>
            </a:solidFill>
            <a:prstDash val="solid"/>
          </a:ln>
          <a:effectLst/>
        </p:spPr>
      </p:cxnSp>
      <p:grpSp>
        <p:nvGrpSpPr>
          <p:cNvPr id="161" name="Gruppo 160">
            <a:extLst>
              <a:ext uri="{FF2B5EF4-FFF2-40B4-BE49-F238E27FC236}">
                <a16:creationId xmlns:a16="http://schemas.microsoft.com/office/drawing/2014/main" id="{FCAC2AE9-CA7F-4E96-B924-530D15BC5DE6}"/>
              </a:ext>
            </a:extLst>
          </p:cNvPr>
          <p:cNvGrpSpPr/>
          <p:nvPr/>
        </p:nvGrpSpPr>
        <p:grpSpPr>
          <a:xfrm>
            <a:off x="6523797" y="358934"/>
            <a:ext cx="4988224" cy="586597"/>
            <a:chOff x="6479694" y="796435"/>
            <a:chExt cx="4988224" cy="586597"/>
          </a:xfrm>
        </p:grpSpPr>
        <p:sp>
          <p:nvSpPr>
            <p:cNvPr id="162" name="CasellaDiTesto 161">
              <a:extLst>
                <a:ext uri="{FF2B5EF4-FFF2-40B4-BE49-F238E27FC236}">
                  <a16:creationId xmlns:a16="http://schemas.microsoft.com/office/drawing/2014/main" id="{6412748E-61FC-4220-B511-08F412D0DBC5}"/>
                </a:ext>
              </a:extLst>
            </p:cNvPr>
            <p:cNvSpPr txBox="1"/>
            <p:nvPr/>
          </p:nvSpPr>
          <p:spPr>
            <a:xfrm>
              <a:off x="7874255" y="1167588"/>
              <a:ext cx="85693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rto Core</a:t>
              </a:r>
            </a:p>
          </p:txBody>
        </p:sp>
        <p:sp>
          <p:nvSpPr>
            <p:cNvPr id="163" name="CasellaDiTesto 162">
              <a:extLst>
                <a:ext uri="{FF2B5EF4-FFF2-40B4-BE49-F238E27FC236}">
                  <a16:creationId xmlns:a16="http://schemas.microsoft.com/office/drawing/2014/main" id="{8CDA47DD-B887-4D07-8369-C3089F56FE05}"/>
                </a:ext>
              </a:extLst>
            </p:cNvPr>
            <p:cNvSpPr txBox="1"/>
            <p:nvPr/>
          </p:nvSpPr>
          <p:spPr>
            <a:xfrm>
              <a:off x="8775572" y="1167588"/>
              <a:ext cx="1339281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rto Comprehensive</a:t>
              </a:r>
            </a:p>
          </p:txBody>
        </p:sp>
        <p:sp>
          <p:nvSpPr>
            <p:cNvPr id="164" name="CasellaDiTesto 163">
              <a:extLst>
                <a:ext uri="{FF2B5EF4-FFF2-40B4-BE49-F238E27FC236}">
                  <a16:creationId xmlns:a16="http://schemas.microsoft.com/office/drawing/2014/main" id="{57A9E6D1-0988-48FC-BEF7-F93AE39916FE}"/>
                </a:ext>
              </a:extLst>
            </p:cNvPr>
            <p:cNvSpPr txBox="1"/>
            <p:nvPr/>
          </p:nvSpPr>
          <p:spPr>
            <a:xfrm>
              <a:off x="10206460" y="1167588"/>
              <a:ext cx="1261458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rto Off Rete TEN-T</a:t>
              </a:r>
            </a:p>
          </p:txBody>
        </p:sp>
        <p:sp>
          <p:nvSpPr>
            <p:cNvPr id="165" name="CasellaDiTesto 164">
              <a:extLst>
                <a:ext uri="{FF2B5EF4-FFF2-40B4-BE49-F238E27FC236}">
                  <a16:creationId xmlns:a16="http://schemas.microsoft.com/office/drawing/2014/main" id="{D5ADAFA7-724B-44BF-ABEB-6F0F7084A563}"/>
                </a:ext>
              </a:extLst>
            </p:cNvPr>
            <p:cNvSpPr txBox="1"/>
            <p:nvPr/>
          </p:nvSpPr>
          <p:spPr>
            <a:xfrm>
              <a:off x="6563049" y="1167588"/>
              <a:ext cx="856930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otale porti</a:t>
              </a:r>
            </a:p>
          </p:txBody>
        </p:sp>
        <p:sp>
          <p:nvSpPr>
            <p:cNvPr id="170" name="Rettangolo 169">
              <a:extLst>
                <a:ext uri="{FF2B5EF4-FFF2-40B4-BE49-F238E27FC236}">
                  <a16:creationId xmlns:a16="http://schemas.microsoft.com/office/drawing/2014/main" id="{659F6B8C-27CB-4534-A893-BDC789B33496}"/>
                </a:ext>
              </a:extLst>
            </p:cNvPr>
            <p:cNvSpPr/>
            <p:nvPr/>
          </p:nvSpPr>
          <p:spPr>
            <a:xfrm>
              <a:off x="7800864" y="801549"/>
              <a:ext cx="1025690" cy="4385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3600" b="1" i="0" u="none" strike="noStrike" kern="1200" cap="none" spc="0" normalizeH="0" baseline="0" noProof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1</a:t>
              </a:r>
            </a:p>
          </p:txBody>
        </p:sp>
        <p:sp>
          <p:nvSpPr>
            <p:cNvPr id="171" name="Rettangolo 170">
              <a:extLst>
                <a:ext uri="{FF2B5EF4-FFF2-40B4-BE49-F238E27FC236}">
                  <a16:creationId xmlns:a16="http://schemas.microsoft.com/office/drawing/2014/main" id="{5A53E974-EAAE-4743-A140-7C87613B315A}"/>
                </a:ext>
              </a:extLst>
            </p:cNvPr>
            <p:cNvSpPr/>
            <p:nvPr/>
          </p:nvSpPr>
          <p:spPr>
            <a:xfrm>
              <a:off x="8931054" y="801548"/>
              <a:ext cx="1025690" cy="4385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3600" b="1" i="0" u="none" strike="noStrike" kern="1200" cap="none" spc="0" normalizeH="0" baseline="0" noProof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1</a:t>
              </a:r>
            </a:p>
          </p:txBody>
        </p:sp>
        <p:sp>
          <p:nvSpPr>
            <p:cNvPr id="172" name="Rettangolo 171">
              <a:extLst>
                <a:ext uri="{FF2B5EF4-FFF2-40B4-BE49-F238E27FC236}">
                  <a16:creationId xmlns:a16="http://schemas.microsoft.com/office/drawing/2014/main" id="{FAC677FC-6247-47E4-A61E-C9C4FD838317}"/>
                </a:ext>
              </a:extLst>
            </p:cNvPr>
            <p:cNvSpPr/>
            <p:nvPr/>
          </p:nvSpPr>
          <p:spPr>
            <a:xfrm>
              <a:off x="10314133" y="801547"/>
              <a:ext cx="1025690" cy="4385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3600" b="1" i="0" u="none" strike="noStrike" kern="1200" cap="none" spc="0" normalizeH="0" baseline="0" noProof="0">
                  <a:ln>
                    <a:noFill/>
                  </a:ln>
                  <a:solidFill>
                    <a:srgbClr val="77ED37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173" name="Rettangolo 172">
              <a:extLst>
                <a:ext uri="{FF2B5EF4-FFF2-40B4-BE49-F238E27FC236}">
                  <a16:creationId xmlns:a16="http://schemas.microsoft.com/office/drawing/2014/main" id="{BBCD38C6-F79C-44E6-964D-998CE80A51DE}"/>
                </a:ext>
              </a:extLst>
            </p:cNvPr>
            <p:cNvSpPr/>
            <p:nvPr/>
          </p:nvSpPr>
          <p:spPr>
            <a:xfrm>
              <a:off x="6479694" y="796435"/>
              <a:ext cx="1025690" cy="4385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36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6</a:t>
              </a:r>
            </a:p>
          </p:txBody>
        </p:sp>
        <p:sp>
          <p:nvSpPr>
            <p:cNvPr id="176" name="Rettangolo 175">
              <a:extLst>
                <a:ext uri="{FF2B5EF4-FFF2-40B4-BE49-F238E27FC236}">
                  <a16:creationId xmlns:a16="http://schemas.microsoft.com/office/drawing/2014/main" id="{A8DA5831-57F7-4FE0-94FB-0922BD14E750}"/>
                </a:ext>
              </a:extLst>
            </p:cNvPr>
            <p:cNvSpPr/>
            <p:nvPr/>
          </p:nvSpPr>
          <p:spPr>
            <a:xfrm>
              <a:off x="7286265" y="856255"/>
              <a:ext cx="550364" cy="2984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3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=</a:t>
              </a:r>
            </a:p>
          </p:txBody>
        </p:sp>
        <p:sp>
          <p:nvSpPr>
            <p:cNvPr id="177" name="Rettangolo 176">
              <a:extLst>
                <a:ext uri="{FF2B5EF4-FFF2-40B4-BE49-F238E27FC236}">
                  <a16:creationId xmlns:a16="http://schemas.microsoft.com/office/drawing/2014/main" id="{B5DEB76D-AA24-4460-A3FE-9BAEB4023EA0}"/>
                </a:ext>
              </a:extLst>
            </p:cNvPr>
            <p:cNvSpPr/>
            <p:nvPr/>
          </p:nvSpPr>
          <p:spPr>
            <a:xfrm>
              <a:off x="8525176" y="856255"/>
              <a:ext cx="550364" cy="2984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3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+</a:t>
              </a:r>
            </a:p>
          </p:txBody>
        </p:sp>
        <p:sp>
          <p:nvSpPr>
            <p:cNvPr id="178" name="Rettangolo 177">
              <a:extLst>
                <a:ext uri="{FF2B5EF4-FFF2-40B4-BE49-F238E27FC236}">
                  <a16:creationId xmlns:a16="http://schemas.microsoft.com/office/drawing/2014/main" id="{C2EFE930-E021-429F-A144-7C398AB3D5F6}"/>
                </a:ext>
              </a:extLst>
            </p:cNvPr>
            <p:cNvSpPr/>
            <p:nvPr/>
          </p:nvSpPr>
          <p:spPr>
            <a:xfrm>
              <a:off x="9818387" y="856255"/>
              <a:ext cx="550364" cy="29847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36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+</a:t>
              </a:r>
            </a:p>
          </p:txBody>
        </p:sp>
      </p:grpSp>
      <p:sp>
        <p:nvSpPr>
          <p:cNvPr id="179" name="Ovale 178">
            <a:extLst>
              <a:ext uri="{FF2B5EF4-FFF2-40B4-BE49-F238E27FC236}">
                <a16:creationId xmlns:a16="http://schemas.microsoft.com/office/drawing/2014/main" id="{56CD3B55-9D3B-4922-AD61-32350A654EA9}"/>
              </a:ext>
            </a:extLst>
          </p:cNvPr>
          <p:cNvSpPr/>
          <p:nvPr/>
        </p:nvSpPr>
        <p:spPr>
          <a:xfrm>
            <a:off x="3083255" y="3144927"/>
            <a:ext cx="288620" cy="285622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1" name="Ovale 180">
            <a:extLst>
              <a:ext uri="{FF2B5EF4-FFF2-40B4-BE49-F238E27FC236}">
                <a16:creationId xmlns:a16="http://schemas.microsoft.com/office/drawing/2014/main" id="{56CD3B55-9D3B-4922-AD61-32350A654EA9}"/>
              </a:ext>
            </a:extLst>
          </p:cNvPr>
          <p:cNvSpPr/>
          <p:nvPr/>
        </p:nvSpPr>
        <p:spPr>
          <a:xfrm>
            <a:off x="3998639" y="3975226"/>
            <a:ext cx="288620" cy="285622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2" name="Ovale 181">
            <a:extLst>
              <a:ext uri="{FF2B5EF4-FFF2-40B4-BE49-F238E27FC236}">
                <a16:creationId xmlns:a16="http://schemas.microsoft.com/office/drawing/2014/main" id="{56CD3B55-9D3B-4922-AD61-32350A654EA9}"/>
              </a:ext>
            </a:extLst>
          </p:cNvPr>
          <p:cNvSpPr/>
          <p:nvPr/>
        </p:nvSpPr>
        <p:spPr>
          <a:xfrm>
            <a:off x="3029360" y="3851982"/>
            <a:ext cx="288620" cy="285622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3" name="Ovale 182">
            <a:extLst>
              <a:ext uri="{FF2B5EF4-FFF2-40B4-BE49-F238E27FC236}">
                <a16:creationId xmlns:a16="http://schemas.microsoft.com/office/drawing/2014/main" id="{56CD3B55-9D3B-4922-AD61-32350A654EA9}"/>
              </a:ext>
            </a:extLst>
          </p:cNvPr>
          <p:cNvSpPr/>
          <p:nvPr/>
        </p:nvSpPr>
        <p:spPr>
          <a:xfrm>
            <a:off x="3303741" y="5291171"/>
            <a:ext cx="288620" cy="285622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6562117" y="71171"/>
            <a:ext cx="50484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just">
              <a:defRPr/>
            </a:pPr>
            <a:r>
              <a:rPr lang="it-IT" b="1">
                <a:solidFill>
                  <a:srgbClr val="000000"/>
                </a:solidFill>
              </a:rPr>
              <a:t>Porti che risulteranno collegati alla rete ferroviaria:</a:t>
            </a:r>
          </a:p>
        </p:txBody>
      </p:sp>
      <p:sp>
        <p:nvSpPr>
          <p:cNvPr id="184" name="Freeform 581">
            <a:extLst>
              <a:ext uri="{FF2B5EF4-FFF2-40B4-BE49-F238E27FC236}">
                <a16:creationId xmlns:a16="http://schemas.microsoft.com/office/drawing/2014/main" id="{CBBC550E-E7BC-4D7B-9B8B-EE73BA8B1725}"/>
              </a:ext>
            </a:extLst>
          </p:cNvPr>
          <p:cNvSpPr>
            <a:spLocks noEditPoints="1"/>
          </p:cNvSpPr>
          <p:nvPr/>
        </p:nvSpPr>
        <p:spPr bwMode="auto">
          <a:xfrm>
            <a:off x="7918663" y="742543"/>
            <a:ext cx="178017" cy="163812"/>
          </a:xfrm>
          <a:custGeom>
            <a:avLst/>
            <a:gdLst>
              <a:gd name="T0" fmla="*/ 363 w 642"/>
              <a:gd name="T1" fmla="*/ 721 h 811"/>
              <a:gd name="T2" fmla="*/ 427 w 642"/>
              <a:gd name="T3" fmla="*/ 750 h 811"/>
              <a:gd name="T4" fmla="*/ 491 w 642"/>
              <a:gd name="T5" fmla="*/ 721 h 811"/>
              <a:gd name="T6" fmla="*/ 558 w 642"/>
              <a:gd name="T7" fmla="*/ 712 h 811"/>
              <a:gd name="T8" fmla="*/ 587 w 642"/>
              <a:gd name="T9" fmla="*/ 740 h 811"/>
              <a:gd name="T10" fmla="*/ 583 w 642"/>
              <a:gd name="T11" fmla="*/ 782 h 811"/>
              <a:gd name="T12" fmla="*/ 558 w 642"/>
              <a:gd name="T13" fmla="*/ 773 h 811"/>
              <a:gd name="T14" fmla="*/ 491 w 642"/>
              <a:gd name="T15" fmla="*/ 782 h 811"/>
              <a:gd name="T16" fmla="*/ 427 w 642"/>
              <a:gd name="T17" fmla="*/ 811 h 811"/>
              <a:gd name="T18" fmla="*/ 363 w 642"/>
              <a:gd name="T19" fmla="*/ 782 h 811"/>
              <a:gd name="T20" fmla="*/ 307 w 642"/>
              <a:gd name="T21" fmla="*/ 769 h 811"/>
              <a:gd name="T22" fmla="*/ 246 w 642"/>
              <a:gd name="T23" fmla="*/ 801 h 811"/>
              <a:gd name="T24" fmla="*/ 183 w 642"/>
              <a:gd name="T25" fmla="*/ 801 h 811"/>
              <a:gd name="T26" fmla="*/ 118 w 642"/>
              <a:gd name="T27" fmla="*/ 768 h 811"/>
              <a:gd name="T28" fmla="*/ 64 w 642"/>
              <a:gd name="T29" fmla="*/ 783 h 811"/>
              <a:gd name="T30" fmla="*/ 54 w 642"/>
              <a:gd name="T31" fmla="*/ 778 h 811"/>
              <a:gd name="T32" fmla="*/ 60 w 642"/>
              <a:gd name="T33" fmla="*/ 725 h 811"/>
              <a:gd name="T34" fmla="*/ 118 w 642"/>
              <a:gd name="T35" fmla="*/ 707 h 811"/>
              <a:gd name="T36" fmla="*/ 183 w 642"/>
              <a:gd name="T37" fmla="*/ 740 h 811"/>
              <a:gd name="T38" fmla="*/ 246 w 642"/>
              <a:gd name="T39" fmla="*/ 740 h 811"/>
              <a:gd name="T40" fmla="*/ 307 w 642"/>
              <a:gd name="T41" fmla="*/ 707 h 811"/>
              <a:gd name="T42" fmla="*/ 165 w 642"/>
              <a:gd name="T43" fmla="*/ 107 h 811"/>
              <a:gd name="T44" fmla="*/ 159 w 642"/>
              <a:gd name="T45" fmla="*/ 167 h 811"/>
              <a:gd name="T46" fmla="*/ 149 w 642"/>
              <a:gd name="T47" fmla="*/ 182 h 811"/>
              <a:gd name="T48" fmla="*/ 98 w 642"/>
              <a:gd name="T49" fmla="*/ 182 h 811"/>
              <a:gd name="T50" fmla="*/ 550 w 642"/>
              <a:gd name="T51" fmla="*/ 258 h 811"/>
              <a:gd name="T52" fmla="*/ 515 w 642"/>
              <a:gd name="T53" fmla="*/ 182 h 811"/>
              <a:gd name="T54" fmla="*/ 486 w 642"/>
              <a:gd name="T55" fmla="*/ 176 h 811"/>
              <a:gd name="T56" fmla="*/ 482 w 642"/>
              <a:gd name="T57" fmla="*/ 115 h 811"/>
              <a:gd name="T58" fmla="*/ 469 w 642"/>
              <a:gd name="T59" fmla="*/ 105 h 811"/>
              <a:gd name="T60" fmla="*/ 366 w 642"/>
              <a:gd name="T61" fmla="*/ 2 h 811"/>
              <a:gd name="T62" fmla="*/ 388 w 642"/>
              <a:gd name="T63" fmla="*/ 57 h 811"/>
              <a:gd name="T64" fmla="*/ 511 w 642"/>
              <a:gd name="T65" fmla="*/ 79 h 811"/>
              <a:gd name="T66" fmla="*/ 566 w 642"/>
              <a:gd name="T67" fmla="*/ 153 h 811"/>
              <a:gd name="T68" fmla="*/ 588 w 642"/>
              <a:gd name="T69" fmla="*/ 264 h 811"/>
              <a:gd name="T70" fmla="*/ 642 w 642"/>
              <a:gd name="T71" fmla="*/ 296 h 811"/>
              <a:gd name="T72" fmla="*/ 498 w 642"/>
              <a:gd name="T73" fmla="*/ 690 h 811"/>
              <a:gd name="T74" fmla="*/ 439 w 642"/>
              <a:gd name="T75" fmla="*/ 724 h 811"/>
              <a:gd name="T76" fmla="*/ 388 w 642"/>
              <a:gd name="T77" fmla="*/ 708 h 811"/>
              <a:gd name="T78" fmla="*/ 321 w 642"/>
              <a:gd name="T79" fmla="*/ 684 h 811"/>
              <a:gd name="T80" fmla="*/ 253 w 642"/>
              <a:gd name="T81" fmla="*/ 708 h 811"/>
              <a:gd name="T82" fmla="*/ 202 w 642"/>
              <a:gd name="T83" fmla="*/ 724 h 811"/>
              <a:gd name="T84" fmla="*/ 145 w 642"/>
              <a:gd name="T85" fmla="*/ 690 h 811"/>
              <a:gd name="T86" fmla="*/ 0 w 642"/>
              <a:gd name="T87" fmla="*/ 296 h 811"/>
              <a:gd name="T88" fmla="*/ 53 w 642"/>
              <a:gd name="T89" fmla="*/ 264 h 811"/>
              <a:gd name="T90" fmla="*/ 76 w 642"/>
              <a:gd name="T91" fmla="*/ 153 h 811"/>
              <a:gd name="T92" fmla="*/ 130 w 642"/>
              <a:gd name="T93" fmla="*/ 79 h 811"/>
              <a:gd name="T94" fmla="*/ 253 w 642"/>
              <a:gd name="T95" fmla="*/ 57 h 811"/>
              <a:gd name="T96" fmla="*/ 277 w 642"/>
              <a:gd name="T97" fmla="*/ 2 h 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2" h="811">
                <a:moveTo>
                  <a:pt x="321" y="707"/>
                </a:moveTo>
                <a:lnTo>
                  <a:pt x="334" y="707"/>
                </a:lnTo>
                <a:lnTo>
                  <a:pt x="348" y="711"/>
                </a:lnTo>
                <a:lnTo>
                  <a:pt x="363" y="721"/>
                </a:lnTo>
                <a:lnTo>
                  <a:pt x="379" y="730"/>
                </a:lnTo>
                <a:lnTo>
                  <a:pt x="395" y="740"/>
                </a:lnTo>
                <a:lnTo>
                  <a:pt x="411" y="747"/>
                </a:lnTo>
                <a:lnTo>
                  <a:pt x="427" y="750"/>
                </a:lnTo>
                <a:lnTo>
                  <a:pt x="443" y="747"/>
                </a:lnTo>
                <a:lnTo>
                  <a:pt x="459" y="740"/>
                </a:lnTo>
                <a:lnTo>
                  <a:pt x="475" y="730"/>
                </a:lnTo>
                <a:lnTo>
                  <a:pt x="491" y="721"/>
                </a:lnTo>
                <a:lnTo>
                  <a:pt x="508" y="711"/>
                </a:lnTo>
                <a:lnTo>
                  <a:pt x="524" y="707"/>
                </a:lnTo>
                <a:lnTo>
                  <a:pt x="541" y="707"/>
                </a:lnTo>
                <a:lnTo>
                  <a:pt x="558" y="712"/>
                </a:lnTo>
                <a:lnTo>
                  <a:pt x="575" y="719"/>
                </a:lnTo>
                <a:lnTo>
                  <a:pt x="582" y="725"/>
                </a:lnTo>
                <a:lnTo>
                  <a:pt x="586" y="733"/>
                </a:lnTo>
                <a:lnTo>
                  <a:pt x="587" y="740"/>
                </a:lnTo>
                <a:lnTo>
                  <a:pt x="587" y="776"/>
                </a:lnTo>
                <a:lnTo>
                  <a:pt x="587" y="778"/>
                </a:lnTo>
                <a:lnTo>
                  <a:pt x="586" y="780"/>
                </a:lnTo>
                <a:lnTo>
                  <a:pt x="583" y="782"/>
                </a:lnTo>
                <a:lnTo>
                  <a:pt x="581" y="783"/>
                </a:lnTo>
                <a:lnTo>
                  <a:pt x="579" y="783"/>
                </a:lnTo>
                <a:lnTo>
                  <a:pt x="575" y="782"/>
                </a:lnTo>
                <a:lnTo>
                  <a:pt x="558" y="773"/>
                </a:lnTo>
                <a:lnTo>
                  <a:pt x="541" y="769"/>
                </a:lnTo>
                <a:lnTo>
                  <a:pt x="524" y="768"/>
                </a:lnTo>
                <a:lnTo>
                  <a:pt x="508" y="773"/>
                </a:lnTo>
                <a:lnTo>
                  <a:pt x="491" y="782"/>
                </a:lnTo>
                <a:lnTo>
                  <a:pt x="475" y="793"/>
                </a:lnTo>
                <a:lnTo>
                  <a:pt x="459" y="801"/>
                </a:lnTo>
                <a:lnTo>
                  <a:pt x="443" y="809"/>
                </a:lnTo>
                <a:lnTo>
                  <a:pt x="427" y="811"/>
                </a:lnTo>
                <a:lnTo>
                  <a:pt x="411" y="809"/>
                </a:lnTo>
                <a:lnTo>
                  <a:pt x="395" y="801"/>
                </a:lnTo>
                <a:lnTo>
                  <a:pt x="379" y="793"/>
                </a:lnTo>
                <a:lnTo>
                  <a:pt x="363" y="782"/>
                </a:lnTo>
                <a:lnTo>
                  <a:pt x="348" y="773"/>
                </a:lnTo>
                <a:lnTo>
                  <a:pt x="334" y="769"/>
                </a:lnTo>
                <a:lnTo>
                  <a:pt x="321" y="768"/>
                </a:lnTo>
                <a:lnTo>
                  <a:pt x="307" y="769"/>
                </a:lnTo>
                <a:lnTo>
                  <a:pt x="295" y="773"/>
                </a:lnTo>
                <a:lnTo>
                  <a:pt x="278" y="782"/>
                </a:lnTo>
                <a:lnTo>
                  <a:pt x="262" y="793"/>
                </a:lnTo>
                <a:lnTo>
                  <a:pt x="246" y="801"/>
                </a:lnTo>
                <a:lnTo>
                  <a:pt x="231" y="809"/>
                </a:lnTo>
                <a:lnTo>
                  <a:pt x="214" y="811"/>
                </a:lnTo>
                <a:lnTo>
                  <a:pt x="198" y="809"/>
                </a:lnTo>
                <a:lnTo>
                  <a:pt x="183" y="801"/>
                </a:lnTo>
                <a:lnTo>
                  <a:pt x="167" y="793"/>
                </a:lnTo>
                <a:lnTo>
                  <a:pt x="151" y="782"/>
                </a:lnTo>
                <a:lnTo>
                  <a:pt x="135" y="773"/>
                </a:lnTo>
                <a:lnTo>
                  <a:pt x="118" y="768"/>
                </a:lnTo>
                <a:lnTo>
                  <a:pt x="101" y="769"/>
                </a:lnTo>
                <a:lnTo>
                  <a:pt x="83" y="773"/>
                </a:lnTo>
                <a:lnTo>
                  <a:pt x="66" y="782"/>
                </a:lnTo>
                <a:lnTo>
                  <a:pt x="64" y="783"/>
                </a:lnTo>
                <a:lnTo>
                  <a:pt x="61" y="783"/>
                </a:lnTo>
                <a:lnTo>
                  <a:pt x="58" y="782"/>
                </a:lnTo>
                <a:lnTo>
                  <a:pt x="57" y="780"/>
                </a:lnTo>
                <a:lnTo>
                  <a:pt x="54" y="778"/>
                </a:lnTo>
                <a:lnTo>
                  <a:pt x="54" y="776"/>
                </a:lnTo>
                <a:lnTo>
                  <a:pt x="54" y="740"/>
                </a:lnTo>
                <a:lnTo>
                  <a:pt x="55" y="733"/>
                </a:lnTo>
                <a:lnTo>
                  <a:pt x="60" y="725"/>
                </a:lnTo>
                <a:lnTo>
                  <a:pt x="66" y="719"/>
                </a:lnTo>
                <a:lnTo>
                  <a:pt x="83" y="712"/>
                </a:lnTo>
                <a:lnTo>
                  <a:pt x="101" y="707"/>
                </a:lnTo>
                <a:lnTo>
                  <a:pt x="118" y="707"/>
                </a:lnTo>
                <a:lnTo>
                  <a:pt x="135" y="711"/>
                </a:lnTo>
                <a:lnTo>
                  <a:pt x="151" y="721"/>
                </a:lnTo>
                <a:lnTo>
                  <a:pt x="167" y="730"/>
                </a:lnTo>
                <a:lnTo>
                  <a:pt x="183" y="740"/>
                </a:lnTo>
                <a:lnTo>
                  <a:pt x="198" y="747"/>
                </a:lnTo>
                <a:lnTo>
                  <a:pt x="214" y="750"/>
                </a:lnTo>
                <a:lnTo>
                  <a:pt x="231" y="747"/>
                </a:lnTo>
                <a:lnTo>
                  <a:pt x="246" y="740"/>
                </a:lnTo>
                <a:lnTo>
                  <a:pt x="262" y="730"/>
                </a:lnTo>
                <a:lnTo>
                  <a:pt x="278" y="721"/>
                </a:lnTo>
                <a:lnTo>
                  <a:pt x="295" y="711"/>
                </a:lnTo>
                <a:lnTo>
                  <a:pt x="307" y="707"/>
                </a:lnTo>
                <a:lnTo>
                  <a:pt x="321" y="707"/>
                </a:lnTo>
                <a:close/>
                <a:moveTo>
                  <a:pt x="174" y="105"/>
                </a:moveTo>
                <a:lnTo>
                  <a:pt x="169" y="105"/>
                </a:lnTo>
                <a:lnTo>
                  <a:pt x="165" y="107"/>
                </a:lnTo>
                <a:lnTo>
                  <a:pt x="162" y="111"/>
                </a:lnTo>
                <a:lnTo>
                  <a:pt x="159" y="115"/>
                </a:lnTo>
                <a:lnTo>
                  <a:pt x="159" y="120"/>
                </a:lnTo>
                <a:lnTo>
                  <a:pt x="159" y="167"/>
                </a:lnTo>
                <a:lnTo>
                  <a:pt x="158" y="172"/>
                </a:lnTo>
                <a:lnTo>
                  <a:pt x="157" y="176"/>
                </a:lnTo>
                <a:lnTo>
                  <a:pt x="153" y="179"/>
                </a:lnTo>
                <a:lnTo>
                  <a:pt x="149" y="182"/>
                </a:lnTo>
                <a:lnTo>
                  <a:pt x="145" y="182"/>
                </a:lnTo>
                <a:lnTo>
                  <a:pt x="126" y="182"/>
                </a:lnTo>
                <a:lnTo>
                  <a:pt x="110" y="182"/>
                </a:lnTo>
                <a:lnTo>
                  <a:pt x="98" y="182"/>
                </a:lnTo>
                <a:lnTo>
                  <a:pt x="92" y="182"/>
                </a:lnTo>
                <a:lnTo>
                  <a:pt x="92" y="258"/>
                </a:lnTo>
                <a:lnTo>
                  <a:pt x="321" y="227"/>
                </a:lnTo>
                <a:lnTo>
                  <a:pt x="550" y="258"/>
                </a:lnTo>
                <a:lnTo>
                  <a:pt x="550" y="182"/>
                </a:lnTo>
                <a:lnTo>
                  <a:pt x="544" y="182"/>
                </a:lnTo>
                <a:lnTo>
                  <a:pt x="532" y="182"/>
                </a:lnTo>
                <a:lnTo>
                  <a:pt x="515" y="182"/>
                </a:lnTo>
                <a:lnTo>
                  <a:pt x="497" y="182"/>
                </a:lnTo>
                <a:lnTo>
                  <a:pt x="493" y="182"/>
                </a:lnTo>
                <a:lnTo>
                  <a:pt x="488" y="179"/>
                </a:lnTo>
                <a:lnTo>
                  <a:pt x="486" y="176"/>
                </a:lnTo>
                <a:lnTo>
                  <a:pt x="483" y="172"/>
                </a:lnTo>
                <a:lnTo>
                  <a:pt x="483" y="167"/>
                </a:lnTo>
                <a:lnTo>
                  <a:pt x="483" y="120"/>
                </a:lnTo>
                <a:lnTo>
                  <a:pt x="482" y="115"/>
                </a:lnTo>
                <a:lnTo>
                  <a:pt x="480" y="111"/>
                </a:lnTo>
                <a:lnTo>
                  <a:pt x="477" y="107"/>
                </a:lnTo>
                <a:lnTo>
                  <a:pt x="472" y="105"/>
                </a:lnTo>
                <a:lnTo>
                  <a:pt x="469" y="105"/>
                </a:lnTo>
                <a:lnTo>
                  <a:pt x="174" y="105"/>
                </a:lnTo>
                <a:close/>
                <a:moveTo>
                  <a:pt x="290" y="0"/>
                </a:moveTo>
                <a:lnTo>
                  <a:pt x="351" y="0"/>
                </a:lnTo>
                <a:lnTo>
                  <a:pt x="366" y="2"/>
                </a:lnTo>
                <a:lnTo>
                  <a:pt x="378" y="11"/>
                </a:lnTo>
                <a:lnTo>
                  <a:pt x="385" y="23"/>
                </a:lnTo>
                <a:lnTo>
                  <a:pt x="388" y="37"/>
                </a:lnTo>
                <a:lnTo>
                  <a:pt x="388" y="57"/>
                </a:lnTo>
                <a:lnTo>
                  <a:pt x="477" y="57"/>
                </a:lnTo>
                <a:lnTo>
                  <a:pt x="492" y="60"/>
                </a:lnTo>
                <a:lnTo>
                  <a:pt x="503" y="68"/>
                </a:lnTo>
                <a:lnTo>
                  <a:pt x="511" y="79"/>
                </a:lnTo>
                <a:lnTo>
                  <a:pt x="514" y="94"/>
                </a:lnTo>
                <a:lnTo>
                  <a:pt x="514" y="150"/>
                </a:lnTo>
                <a:lnTo>
                  <a:pt x="552" y="150"/>
                </a:lnTo>
                <a:lnTo>
                  <a:pt x="566" y="153"/>
                </a:lnTo>
                <a:lnTo>
                  <a:pt x="577" y="161"/>
                </a:lnTo>
                <a:lnTo>
                  <a:pt x="586" y="172"/>
                </a:lnTo>
                <a:lnTo>
                  <a:pt x="588" y="187"/>
                </a:lnTo>
                <a:lnTo>
                  <a:pt x="588" y="264"/>
                </a:lnTo>
                <a:lnTo>
                  <a:pt x="614" y="267"/>
                </a:lnTo>
                <a:lnTo>
                  <a:pt x="627" y="272"/>
                </a:lnTo>
                <a:lnTo>
                  <a:pt x="637" y="282"/>
                </a:lnTo>
                <a:lnTo>
                  <a:pt x="642" y="296"/>
                </a:lnTo>
                <a:lnTo>
                  <a:pt x="641" y="310"/>
                </a:lnTo>
                <a:lnTo>
                  <a:pt x="526" y="684"/>
                </a:lnTo>
                <a:lnTo>
                  <a:pt x="511" y="685"/>
                </a:lnTo>
                <a:lnTo>
                  <a:pt x="498" y="690"/>
                </a:lnTo>
                <a:lnTo>
                  <a:pt x="482" y="699"/>
                </a:lnTo>
                <a:lnTo>
                  <a:pt x="466" y="708"/>
                </a:lnTo>
                <a:lnTo>
                  <a:pt x="453" y="717"/>
                </a:lnTo>
                <a:lnTo>
                  <a:pt x="439" y="724"/>
                </a:lnTo>
                <a:lnTo>
                  <a:pt x="427" y="727"/>
                </a:lnTo>
                <a:lnTo>
                  <a:pt x="415" y="724"/>
                </a:lnTo>
                <a:lnTo>
                  <a:pt x="403" y="717"/>
                </a:lnTo>
                <a:lnTo>
                  <a:pt x="388" y="708"/>
                </a:lnTo>
                <a:lnTo>
                  <a:pt x="373" y="699"/>
                </a:lnTo>
                <a:lnTo>
                  <a:pt x="357" y="690"/>
                </a:lnTo>
                <a:lnTo>
                  <a:pt x="339" y="685"/>
                </a:lnTo>
                <a:lnTo>
                  <a:pt x="321" y="684"/>
                </a:lnTo>
                <a:lnTo>
                  <a:pt x="302" y="685"/>
                </a:lnTo>
                <a:lnTo>
                  <a:pt x="285" y="690"/>
                </a:lnTo>
                <a:lnTo>
                  <a:pt x="269" y="699"/>
                </a:lnTo>
                <a:lnTo>
                  <a:pt x="253" y="708"/>
                </a:lnTo>
                <a:lnTo>
                  <a:pt x="240" y="717"/>
                </a:lnTo>
                <a:lnTo>
                  <a:pt x="227" y="724"/>
                </a:lnTo>
                <a:lnTo>
                  <a:pt x="214" y="727"/>
                </a:lnTo>
                <a:lnTo>
                  <a:pt x="202" y="724"/>
                </a:lnTo>
                <a:lnTo>
                  <a:pt x="190" y="717"/>
                </a:lnTo>
                <a:lnTo>
                  <a:pt x="175" y="708"/>
                </a:lnTo>
                <a:lnTo>
                  <a:pt x="160" y="699"/>
                </a:lnTo>
                <a:lnTo>
                  <a:pt x="145" y="690"/>
                </a:lnTo>
                <a:lnTo>
                  <a:pt x="131" y="685"/>
                </a:lnTo>
                <a:lnTo>
                  <a:pt x="116" y="684"/>
                </a:lnTo>
                <a:lnTo>
                  <a:pt x="2" y="310"/>
                </a:lnTo>
                <a:lnTo>
                  <a:pt x="0" y="296"/>
                </a:lnTo>
                <a:lnTo>
                  <a:pt x="5" y="282"/>
                </a:lnTo>
                <a:lnTo>
                  <a:pt x="15" y="272"/>
                </a:lnTo>
                <a:lnTo>
                  <a:pt x="28" y="267"/>
                </a:lnTo>
                <a:lnTo>
                  <a:pt x="53" y="264"/>
                </a:lnTo>
                <a:lnTo>
                  <a:pt x="53" y="187"/>
                </a:lnTo>
                <a:lnTo>
                  <a:pt x="57" y="172"/>
                </a:lnTo>
                <a:lnTo>
                  <a:pt x="64" y="161"/>
                </a:lnTo>
                <a:lnTo>
                  <a:pt x="76" y="153"/>
                </a:lnTo>
                <a:lnTo>
                  <a:pt x="91" y="150"/>
                </a:lnTo>
                <a:lnTo>
                  <a:pt x="127" y="150"/>
                </a:lnTo>
                <a:lnTo>
                  <a:pt x="127" y="94"/>
                </a:lnTo>
                <a:lnTo>
                  <a:pt x="130" y="79"/>
                </a:lnTo>
                <a:lnTo>
                  <a:pt x="138" y="68"/>
                </a:lnTo>
                <a:lnTo>
                  <a:pt x="151" y="60"/>
                </a:lnTo>
                <a:lnTo>
                  <a:pt x="164" y="57"/>
                </a:lnTo>
                <a:lnTo>
                  <a:pt x="253" y="57"/>
                </a:lnTo>
                <a:lnTo>
                  <a:pt x="253" y="37"/>
                </a:lnTo>
                <a:lnTo>
                  <a:pt x="256" y="23"/>
                </a:lnTo>
                <a:lnTo>
                  <a:pt x="264" y="11"/>
                </a:lnTo>
                <a:lnTo>
                  <a:pt x="277" y="2"/>
                </a:lnTo>
                <a:lnTo>
                  <a:pt x="290" y="0"/>
                </a:ln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5" name="Freeform 581">
            <a:extLst>
              <a:ext uri="{FF2B5EF4-FFF2-40B4-BE49-F238E27FC236}">
                <a16:creationId xmlns:a16="http://schemas.microsoft.com/office/drawing/2014/main" id="{2DAE6360-BA16-497F-A0A2-49BD862C4B18}"/>
              </a:ext>
            </a:extLst>
          </p:cNvPr>
          <p:cNvSpPr>
            <a:spLocks noEditPoints="1"/>
          </p:cNvSpPr>
          <p:nvPr/>
        </p:nvSpPr>
        <p:spPr bwMode="auto">
          <a:xfrm>
            <a:off x="8854694" y="733537"/>
            <a:ext cx="178017" cy="163812"/>
          </a:xfrm>
          <a:custGeom>
            <a:avLst/>
            <a:gdLst>
              <a:gd name="T0" fmla="*/ 363 w 642"/>
              <a:gd name="T1" fmla="*/ 721 h 811"/>
              <a:gd name="T2" fmla="*/ 427 w 642"/>
              <a:gd name="T3" fmla="*/ 750 h 811"/>
              <a:gd name="T4" fmla="*/ 491 w 642"/>
              <a:gd name="T5" fmla="*/ 721 h 811"/>
              <a:gd name="T6" fmla="*/ 558 w 642"/>
              <a:gd name="T7" fmla="*/ 712 h 811"/>
              <a:gd name="T8" fmla="*/ 587 w 642"/>
              <a:gd name="T9" fmla="*/ 740 h 811"/>
              <a:gd name="T10" fmla="*/ 583 w 642"/>
              <a:gd name="T11" fmla="*/ 782 h 811"/>
              <a:gd name="T12" fmla="*/ 558 w 642"/>
              <a:gd name="T13" fmla="*/ 773 h 811"/>
              <a:gd name="T14" fmla="*/ 491 w 642"/>
              <a:gd name="T15" fmla="*/ 782 h 811"/>
              <a:gd name="T16" fmla="*/ 427 w 642"/>
              <a:gd name="T17" fmla="*/ 811 h 811"/>
              <a:gd name="T18" fmla="*/ 363 w 642"/>
              <a:gd name="T19" fmla="*/ 782 h 811"/>
              <a:gd name="T20" fmla="*/ 307 w 642"/>
              <a:gd name="T21" fmla="*/ 769 h 811"/>
              <a:gd name="T22" fmla="*/ 246 w 642"/>
              <a:gd name="T23" fmla="*/ 801 h 811"/>
              <a:gd name="T24" fmla="*/ 183 w 642"/>
              <a:gd name="T25" fmla="*/ 801 h 811"/>
              <a:gd name="T26" fmla="*/ 118 w 642"/>
              <a:gd name="T27" fmla="*/ 768 h 811"/>
              <a:gd name="T28" fmla="*/ 64 w 642"/>
              <a:gd name="T29" fmla="*/ 783 h 811"/>
              <a:gd name="T30" fmla="*/ 54 w 642"/>
              <a:gd name="T31" fmla="*/ 778 h 811"/>
              <a:gd name="T32" fmla="*/ 60 w 642"/>
              <a:gd name="T33" fmla="*/ 725 h 811"/>
              <a:gd name="T34" fmla="*/ 118 w 642"/>
              <a:gd name="T35" fmla="*/ 707 h 811"/>
              <a:gd name="T36" fmla="*/ 183 w 642"/>
              <a:gd name="T37" fmla="*/ 740 h 811"/>
              <a:gd name="T38" fmla="*/ 246 w 642"/>
              <a:gd name="T39" fmla="*/ 740 h 811"/>
              <a:gd name="T40" fmla="*/ 307 w 642"/>
              <a:gd name="T41" fmla="*/ 707 h 811"/>
              <a:gd name="T42" fmla="*/ 165 w 642"/>
              <a:gd name="T43" fmla="*/ 107 h 811"/>
              <a:gd name="T44" fmla="*/ 159 w 642"/>
              <a:gd name="T45" fmla="*/ 167 h 811"/>
              <a:gd name="T46" fmla="*/ 149 w 642"/>
              <a:gd name="T47" fmla="*/ 182 h 811"/>
              <a:gd name="T48" fmla="*/ 98 w 642"/>
              <a:gd name="T49" fmla="*/ 182 h 811"/>
              <a:gd name="T50" fmla="*/ 550 w 642"/>
              <a:gd name="T51" fmla="*/ 258 h 811"/>
              <a:gd name="T52" fmla="*/ 515 w 642"/>
              <a:gd name="T53" fmla="*/ 182 h 811"/>
              <a:gd name="T54" fmla="*/ 486 w 642"/>
              <a:gd name="T55" fmla="*/ 176 h 811"/>
              <a:gd name="T56" fmla="*/ 482 w 642"/>
              <a:gd name="T57" fmla="*/ 115 h 811"/>
              <a:gd name="T58" fmla="*/ 469 w 642"/>
              <a:gd name="T59" fmla="*/ 105 h 811"/>
              <a:gd name="T60" fmla="*/ 366 w 642"/>
              <a:gd name="T61" fmla="*/ 2 h 811"/>
              <a:gd name="T62" fmla="*/ 388 w 642"/>
              <a:gd name="T63" fmla="*/ 57 h 811"/>
              <a:gd name="T64" fmla="*/ 511 w 642"/>
              <a:gd name="T65" fmla="*/ 79 h 811"/>
              <a:gd name="T66" fmla="*/ 566 w 642"/>
              <a:gd name="T67" fmla="*/ 153 h 811"/>
              <a:gd name="T68" fmla="*/ 588 w 642"/>
              <a:gd name="T69" fmla="*/ 264 h 811"/>
              <a:gd name="T70" fmla="*/ 642 w 642"/>
              <a:gd name="T71" fmla="*/ 296 h 811"/>
              <a:gd name="T72" fmla="*/ 498 w 642"/>
              <a:gd name="T73" fmla="*/ 690 h 811"/>
              <a:gd name="T74" fmla="*/ 439 w 642"/>
              <a:gd name="T75" fmla="*/ 724 h 811"/>
              <a:gd name="T76" fmla="*/ 388 w 642"/>
              <a:gd name="T77" fmla="*/ 708 h 811"/>
              <a:gd name="T78" fmla="*/ 321 w 642"/>
              <a:gd name="T79" fmla="*/ 684 h 811"/>
              <a:gd name="T80" fmla="*/ 253 w 642"/>
              <a:gd name="T81" fmla="*/ 708 h 811"/>
              <a:gd name="T82" fmla="*/ 202 w 642"/>
              <a:gd name="T83" fmla="*/ 724 h 811"/>
              <a:gd name="T84" fmla="*/ 145 w 642"/>
              <a:gd name="T85" fmla="*/ 690 h 811"/>
              <a:gd name="T86" fmla="*/ 0 w 642"/>
              <a:gd name="T87" fmla="*/ 296 h 811"/>
              <a:gd name="T88" fmla="*/ 53 w 642"/>
              <a:gd name="T89" fmla="*/ 264 h 811"/>
              <a:gd name="T90" fmla="*/ 76 w 642"/>
              <a:gd name="T91" fmla="*/ 153 h 811"/>
              <a:gd name="T92" fmla="*/ 130 w 642"/>
              <a:gd name="T93" fmla="*/ 79 h 811"/>
              <a:gd name="T94" fmla="*/ 253 w 642"/>
              <a:gd name="T95" fmla="*/ 57 h 811"/>
              <a:gd name="T96" fmla="*/ 277 w 642"/>
              <a:gd name="T97" fmla="*/ 2 h 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2" h="811">
                <a:moveTo>
                  <a:pt x="321" y="707"/>
                </a:moveTo>
                <a:lnTo>
                  <a:pt x="334" y="707"/>
                </a:lnTo>
                <a:lnTo>
                  <a:pt x="348" y="711"/>
                </a:lnTo>
                <a:lnTo>
                  <a:pt x="363" y="721"/>
                </a:lnTo>
                <a:lnTo>
                  <a:pt x="379" y="730"/>
                </a:lnTo>
                <a:lnTo>
                  <a:pt x="395" y="740"/>
                </a:lnTo>
                <a:lnTo>
                  <a:pt x="411" y="747"/>
                </a:lnTo>
                <a:lnTo>
                  <a:pt x="427" y="750"/>
                </a:lnTo>
                <a:lnTo>
                  <a:pt x="443" y="747"/>
                </a:lnTo>
                <a:lnTo>
                  <a:pt x="459" y="740"/>
                </a:lnTo>
                <a:lnTo>
                  <a:pt x="475" y="730"/>
                </a:lnTo>
                <a:lnTo>
                  <a:pt x="491" y="721"/>
                </a:lnTo>
                <a:lnTo>
                  <a:pt x="508" y="711"/>
                </a:lnTo>
                <a:lnTo>
                  <a:pt x="524" y="707"/>
                </a:lnTo>
                <a:lnTo>
                  <a:pt x="541" y="707"/>
                </a:lnTo>
                <a:lnTo>
                  <a:pt x="558" y="712"/>
                </a:lnTo>
                <a:lnTo>
                  <a:pt x="575" y="719"/>
                </a:lnTo>
                <a:lnTo>
                  <a:pt x="582" y="725"/>
                </a:lnTo>
                <a:lnTo>
                  <a:pt x="586" y="733"/>
                </a:lnTo>
                <a:lnTo>
                  <a:pt x="587" y="740"/>
                </a:lnTo>
                <a:lnTo>
                  <a:pt x="587" y="776"/>
                </a:lnTo>
                <a:lnTo>
                  <a:pt x="587" y="778"/>
                </a:lnTo>
                <a:lnTo>
                  <a:pt x="586" y="780"/>
                </a:lnTo>
                <a:lnTo>
                  <a:pt x="583" y="782"/>
                </a:lnTo>
                <a:lnTo>
                  <a:pt x="581" y="783"/>
                </a:lnTo>
                <a:lnTo>
                  <a:pt x="579" y="783"/>
                </a:lnTo>
                <a:lnTo>
                  <a:pt x="575" y="782"/>
                </a:lnTo>
                <a:lnTo>
                  <a:pt x="558" y="773"/>
                </a:lnTo>
                <a:lnTo>
                  <a:pt x="541" y="769"/>
                </a:lnTo>
                <a:lnTo>
                  <a:pt x="524" y="768"/>
                </a:lnTo>
                <a:lnTo>
                  <a:pt x="508" y="773"/>
                </a:lnTo>
                <a:lnTo>
                  <a:pt x="491" y="782"/>
                </a:lnTo>
                <a:lnTo>
                  <a:pt x="475" y="793"/>
                </a:lnTo>
                <a:lnTo>
                  <a:pt x="459" y="801"/>
                </a:lnTo>
                <a:lnTo>
                  <a:pt x="443" y="809"/>
                </a:lnTo>
                <a:lnTo>
                  <a:pt x="427" y="811"/>
                </a:lnTo>
                <a:lnTo>
                  <a:pt x="411" y="809"/>
                </a:lnTo>
                <a:lnTo>
                  <a:pt x="395" y="801"/>
                </a:lnTo>
                <a:lnTo>
                  <a:pt x="379" y="793"/>
                </a:lnTo>
                <a:lnTo>
                  <a:pt x="363" y="782"/>
                </a:lnTo>
                <a:lnTo>
                  <a:pt x="348" y="773"/>
                </a:lnTo>
                <a:lnTo>
                  <a:pt x="334" y="769"/>
                </a:lnTo>
                <a:lnTo>
                  <a:pt x="321" y="768"/>
                </a:lnTo>
                <a:lnTo>
                  <a:pt x="307" y="769"/>
                </a:lnTo>
                <a:lnTo>
                  <a:pt x="295" y="773"/>
                </a:lnTo>
                <a:lnTo>
                  <a:pt x="278" y="782"/>
                </a:lnTo>
                <a:lnTo>
                  <a:pt x="262" y="793"/>
                </a:lnTo>
                <a:lnTo>
                  <a:pt x="246" y="801"/>
                </a:lnTo>
                <a:lnTo>
                  <a:pt x="231" y="809"/>
                </a:lnTo>
                <a:lnTo>
                  <a:pt x="214" y="811"/>
                </a:lnTo>
                <a:lnTo>
                  <a:pt x="198" y="809"/>
                </a:lnTo>
                <a:lnTo>
                  <a:pt x="183" y="801"/>
                </a:lnTo>
                <a:lnTo>
                  <a:pt x="167" y="793"/>
                </a:lnTo>
                <a:lnTo>
                  <a:pt x="151" y="782"/>
                </a:lnTo>
                <a:lnTo>
                  <a:pt x="135" y="773"/>
                </a:lnTo>
                <a:lnTo>
                  <a:pt x="118" y="768"/>
                </a:lnTo>
                <a:lnTo>
                  <a:pt x="101" y="769"/>
                </a:lnTo>
                <a:lnTo>
                  <a:pt x="83" y="773"/>
                </a:lnTo>
                <a:lnTo>
                  <a:pt x="66" y="782"/>
                </a:lnTo>
                <a:lnTo>
                  <a:pt x="64" y="783"/>
                </a:lnTo>
                <a:lnTo>
                  <a:pt x="61" y="783"/>
                </a:lnTo>
                <a:lnTo>
                  <a:pt x="58" y="782"/>
                </a:lnTo>
                <a:lnTo>
                  <a:pt x="57" y="780"/>
                </a:lnTo>
                <a:lnTo>
                  <a:pt x="54" y="778"/>
                </a:lnTo>
                <a:lnTo>
                  <a:pt x="54" y="776"/>
                </a:lnTo>
                <a:lnTo>
                  <a:pt x="54" y="740"/>
                </a:lnTo>
                <a:lnTo>
                  <a:pt x="55" y="733"/>
                </a:lnTo>
                <a:lnTo>
                  <a:pt x="60" y="725"/>
                </a:lnTo>
                <a:lnTo>
                  <a:pt x="66" y="719"/>
                </a:lnTo>
                <a:lnTo>
                  <a:pt x="83" y="712"/>
                </a:lnTo>
                <a:lnTo>
                  <a:pt x="101" y="707"/>
                </a:lnTo>
                <a:lnTo>
                  <a:pt x="118" y="707"/>
                </a:lnTo>
                <a:lnTo>
                  <a:pt x="135" y="711"/>
                </a:lnTo>
                <a:lnTo>
                  <a:pt x="151" y="721"/>
                </a:lnTo>
                <a:lnTo>
                  <a:pt x="167" y="730"/>
                </a:lnTo>
                <a:lnTo>
                  <a:pt x="183" y="740"/>
                </a:lnTo>
                <a:lnTo>
                  <a:pt x="198" y="747"/>
                </a:lnTo>
                <a:lnTo>
                  <a:pt x="214" y="750"/>
                </a:lnTo>
                <a:lnTo>
                  <a:pt x="231" y="747"/>
                </a:lnTo>
                <a:lnTo>
                  <a:pt x="246" y="740"/>
                </a:lnTo>
                <a:lnTo>
                  <a:pt x="262" y="730"/>
                </a:lnTo>
                <a:lnTo>
                  <a:pt x="278" y="721"/>
                </a:lnTo>
                <a:lnTo>
                  <a:pt x="295" y="711"/>
                </a:lnTo>
                <a:lnTo>
                  <a:pt x="307" y="707"/>
                </a:lnTo>
                <a:lnTo>
                  <a:pt x="321" y="707"/>
                </a:lnTo>
                <a:close/>
                <a:moveTo>
                  <a:pt x="174" y="105"/>
                </a:moveTo>
                <a:lnTo>
                  <a:pt x="169" y="105"/>
                </a:lnTo>
                <a:lnTo>
                  <a:pt x="165" y="107"/>
                </a:lnTo>
                <a:lnTo>
                  <a:pt x="162" y="111"/>
                </a:lnTo>
                <a:lnTo>
                  <a:pt x="159" y="115"/>
                </a:lnTo>
                <a:lnTo>
                  <a:pt x="159" y="120"/>
                </a:lnTo>
                <a:lnTo>
                  <a:pt x="159" y="167"/>
                </a:lnTo>
                <a:lnTo>
                  <a:pt x="158" y="172"/>
                </a:lnTo>
                <a:lnTo>
                  <a:pt x="157" y="176"/>
                </a:lnTo>
                <a:lnTo>
                  <a:pt x="153" y="179"/>
                </a:lnTo>
                <a:lnTo>
                  <a:pt x="149" y="182"/>
                </a:lnTo>
                <a:lnTo>
                  <a:pt x="145" y="182"/>
                </a:lnTo>
                <a:lnTo>
                  <a:pt x="126" y="182"/>
                </a:lnTo>
                <a:lnTo>
                  <a:pt x="110" y="182"/>
                </a:lnTo>
                <a:lnTo>
                  <a:pt x="98" y="182"/>
                </a:lnTo>
                <a:lnTo>
                  <a:pt x="92" y="182"/>
                </a:lnTo>
                <a:lnTo>
                  <a:pt x="92" y="258"/>
                </a:lnTo>
                <a:lnTo>
                  <a:pt x="321" y="227"/>
                </a:lnTo>
                <a:lnTo>
                  <a:pt x="550" y="258"/>
                </a:lnTo>
                <a:lnTo>
                  <a:pt x="550" y="182"/>
                </a:lnTo>
                <a:lnTo>
                  <a:pt x="544" y="182"/>
                </a:lnTo>
                <a:lnTo>
                  <a:pt x="532" y="182"/>
                </a:lnTo>
                <a:lnTo>
                  <a:pt x="515" y="182"/>
                </a:lnTo>
                <a:lnTo>
                  <a:pt x="497" y="182"/>
                </a:lnTo>
                <a:lnTo>
                  <a:pt x="493" y="182"/>
                </a:lnTo>
                <a:lnTo>
                  <a:pt x="488" y="179"/>
                </a:lnTo>
                <a:lnTo>
                  <a:pt x="486" y="176"/>
                </a:lnTo>
                <a:lnTo>
                  <a:pt x="483" y="172"/>
                </a:lnTo>
                <a:lnTo>
                  <a:pt x="483" y="167"/>
                </a:lnTo>
                <a:lnTo>
                  <a:pt x="483" y="120"/>
                </a:lnTo>
                <a:lnTo>
                  <a:pt x="482" y="115"/>
                </a:lnTo>
                <a:lnTo>
                  <a:pt x="480" y="111"/>
                </a:lnTo>
                <a:lnTo>
                  <a:pt x="477" y="107"/>
                </a:lnTo>
                <a:lnTo>
                  <a:pt x="472" y="105"/>
                </a:lnTo>
                <a:lnTo>
                  <a:pt x="469" y="105"/>
                </a:lnTo>
                <a:lnTo>
                  <a:pt x="174" y="105"/>
                </a:lnTo>
                <a:close/>
                <a:moveTo>
                  <a:pt x="290" y="0"/>
                </a:moveTo>
                <a:lnTo>
                  <a:pt x="351" y="0"/>
                </a:lnTo>
                <a:lnTo>
                  <a:pt x="366" y="2"/>
                </a:lnTo>
                <a:lnTo>
                  <a:pt x="378" y="11"/>
                </a:lnTo>
                <a:lnTo>
                  <a:pt x="385" y="23"/>
                </a:lnTo>
                <a:lnTo>
                  <a:pt x="388" y="37"/>
                </a:lnTo>
                <a:lnTo>
                  <a:pt x="388" y="57"/>
                </a:lnTo>
                <a:lnTo>
                  <a:pt x="477" y="57"/>
                </a:lnTo>
                <a:lnTo>
                  <a:pt x="492" y="60"/>
                </a:lnTo>
                <a:lnTo>
                  <a:pt x="503" y="68"/>
                </a:lnTo>
                <a:lnTo>
                  <a:pt x="511" y="79"/>
                </a:lnTo>
                <a:lnTo>
                  <a:pt x="514" y="94"/>
                </a:lnTo>
                <a:lnTo>
                  <a:pt x="514" y="150"/>
                </a:lnTo>
                <a:lnTo>
                  <a:pt x="552" y="150"/>
                </a:lnTo>
                <a:lnTo>
                  <a:pt x="566" y="153"/>
                </a:lnTo>
                <a:lnTo>
                  <a:pt x="577" y="161"/>
                </a:lnTo>
                <a:lnTo>
                  <a:pt x="586" y="172"/>
                </a:lnTo>
                <a:lnTo>
                  <a:pt x="588" y="187"/>
                </a:lnTo>
                <a:lnTo>
                  <a:pt x="588" y="264"/>
                </a:lnTo>
                <a:lnTo>
                  <a:pt x="614" y="267"/>
                </a:lnTo>
                <a:lnTo>
                  <a:pt x="627" y="272"/>
                </a:lnTo>
                <a:lnTo>
                  <a:pt x="637" y="282"/>
                </a:lnTo>
                <a:lnTo>
                  <a:pt x="642" y="296"/>
                </a:lnTo>
                <a:lnTo>
                  <a:pt x="641" y="310"/>
                </a:lnTo>
                <a:lnTo>
                  <a:pt x="526" y="684"/>
                </a:lnTo>
                <a:lnTo>
                  <a:pt x="511" y="685"/>
                </a:lnTo>
                <a:lnTo>
                  <a:pt x="498" y="690"/>
                </a:lnTo>
                <a:lnTo>
                  <a:pt x="482" y="699"/>
                </a:lnTo>
                <a:lnTo>
                  <a:pt x="466" y="708"/>
                </a:lnTo>
                <a:lnTo>
                  <a:pt x="453" y="717"/>
                </a:lnTo>
                <a:lnTo>
                  <a:pt x="439" y="724"/>
                </a:lnTo>
                <a:lnTo>
                  <a:pt x="427" y="727"/>
                </a:lnTo>
                <a:lnTo>
                  <a:pt x="415" y="724"/>
                </a:lnTo>
                <a:lnTo>
                  <a:pt x="403" y="717"/>
                </a:lnTo>
                <a:lnTo>
                  <a:pt x="388" y="708"/>
                </a:lnTo>
                <a:lnTo>
                  <a:pt x="373" y="699"/>
                </a:lnTo>
                <a:lnTo>
                  <a:pt x="357" y="690"/>
                </a:lnTo>
                <a:lnTo>
                  <a:pt x="339" y="685"/>
                </a:lnTo>
                <a:lnTo>
                  <a:pt x="321" y="684"/>
                </a:lnTo>
                <a:lnTo>
                  <a:pt x="302" y="685"/>
                </a:lnTo>
                <a:lnTo>
                  <a:pt x="285" y="690"/>
                </a:lnTo>
                <a:lnTo>
                  <a:pt x="269" y="699"/>
                </a:lnTo>
                <a:lnTo>
                  <a:pt x="253" y="708"/>
                </a:lnTo>
                <a:lnTo>
                  <a:pt x="240" y="717"/>
                </a:lnTo>
                <a:lnTo>
                  <a:pt x="227" y="724"/>
                </a:lnTo>
                <a:lnTo>
                  <a:pt x="214" y="727"/>
                </a:lnTo>
                <a:lnTo>
                  <a:pt x="202" y="724"/>
                </a:lnTo>
                <a:lnTo>
                  <a:pt x="190" y="717"/>
                </a:lnTo>
                <a:lnTo>
                  <a:pt x="175" y="708"/>
                </a:lnTo>
                <a:lnTo>
                  <a:pt x="160" y="699"/>
                </a:lnTo>
                <a:lnTo>
                  <a:pt x="145" y="690"/>
                </a:lnTo>
                <a:lnTo>
                  <a:pt x="131" y="685"/>
                </a:lnTo>
                <a:lnTo>
                  <a:pt x="116" y="684"/>
                </a:lnTo>
                <a:lnTo>
                  <a:pt x="2" y="310"/>
                </a:lnTo>
                <a:lnTo>
                  <a:pt x="0" y="296"/>
                </a:lnTo>
                <a:lnTo>
                  <a:pt x="5" y="282"/>
                </a:lnTo>
                <a:lnTo>
                  <a:pt x="15" y="272"/>
                </a:lnTo>
                <a:lnTo>
                  <a:pt x="28" y="267"/>
                </a:lnTo>
                <a:lnTo>
                  <a:pt x="53" y="264"/>
                </a:lnTo>
                <a:lnTo>
                  <a:pt x="53" y="187"/>
                </a:lnTo>
                <a:lnTo>
                  <a:pt x="57" y="172"/>
                </a:lnTo>
                <a:lnTo>
                  <a:pt x="64" y="161"/>
                </a:lnTo>
                <a:lnTo>
                  <a:pt x="76" y="153"/>
                </a:lnTo>
                <a:lnTo>
                  <a:pt x="91" y="150"/>
                </a:lnTo>
                <a:lnTo>
                  <a:pt x="127" y="150"/>
                </a:lnTo>
                <a:lnTo>
                  <a:pt x="127" y="94"/>
                </a:lnTo>
                <a:lnTo>
                  <a:pt x="130" y="79"/>
                </a:lnTo>
                <a:lnTo>
                  <a:pt x="138" y="68"/>
                </a:lnTo>
                <a:lnTo>
                  <a:pt x="151" y="60"/>
                </a:lnTo>
                <a:lnTo>
                  <a:pt x="164" y="57"/>
                </a:lnTo>
                <a:lnTo>
                  <a:pt x="253" y="57"/>
                </a:lnTo>
                <a:lnTo>
                  <a:pt x="253" y="37"/>
                </a:lnTo>
                <a:lnTo>
                  <a:pt x="256" y="23"/>
                </a:lnTo>
                <a:lnTo>
                  <a:pt x="264" y="11"/>
                </a:lnTo>
                <a:lnTo>
                  <a:pt x="277" y="2"/>
                </a:lnTo>
                <a:lnTo>
                  <a:pt x="290" y="0"/>
                </a:lnTo>
                <a:close/>
              </a:path>
            </a:pathLst>
          </a:custGeom>
          <a:solidFill>
            <a:srgbClr val="0A2966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6" name="Freeform 581">
            <a:extLst>
              <a:ext uri="{FF2B5EF4-FFF2-40B4-BE49-F238E27FC236}">
                <a16:creationId xmlns:a16="http://schemas.microsoft.com/office/drawing/2014/main" id="{B208904E-0896-4980-A3D1-3EC2BBD82537}"/>
              </a:ext>
            </a:extLst>
          </p:cNvPr>
          <p:cNvSpPr>
            <a:spLocks noEditPoints="1"/>
          </p:cNvSpPr>
          <p:nvPr/>
        </p:nvSpPr>
        <p:spPr bwMode="auto">
          <a:xfrm>
            <a:off x="10234837" y="742543"/>
            <a:ext cx="178017" cy="163812"/>
          </a:xfrm>
          <a:custGeom>
            <a:avLst/>
            <a:gdLst>
              <a:gd name="T0" fmla="*/ 363 w 642"/>
              <a:gd name="T1" fmla="*/ 721 h 811"/>
              <a:gd name="T2" fmla="*/ 427 w 642"/>
              <a:gd name="T3" fmla="*/ 750 h 811"/>
              <a:gd name="T4" fmla="*/ 491 w 642"/>
              <a:gd name="T5" fmla="*/ 721 h 811"/>
              <a:gd name="T6" fmla="*/ 558 w 642"/>
              <a:gd name="T7" fmla="*/ 712 h 811"/>
              <a:gd name="T8" fmla="*/ 587 w 642"/>
              <a:gd name="T9" fmla="*/ 740 h 811"/>
              <a:gd name="T10" fmla="*/ 583 w 642"/>
              <a:gd name="T11" fmla="*/ 782 h 811"/>
              <a:gd name="T12" fmla="*/ 558 w 642"/>
              <a:gd name="T13" fmla="*/ 773 h 811"/>
              <a:gd name="T14" fmla="*/ 491 w 642"/>
              <a:gd name="T15" fmla="*/ 782 h 811"/>
              <a:gd name="T16" fmla="*/ 427 w 642"/>
              <a:gd name="T17" fmla="*/ 811 h 811"/>
              <a:gd name="T18" fmla="*/ 363 w 642"/>
              <a:gd name="T19" fmla="*/ 782 h 811"/>
              <a:gd name="T20" fmla="*/ 307 w 642"/>
              <a:gd name="T21" fmla="*/ 769 h 811"/>
              <a:gd name="T22" fmla="*/ 246 w 642"/>
              <a:gd name="T23" fmla="*/ 801 h 811"/>
              <a:gd name="T24" fmla="*/ 183 w 642"/>
              <a:gd name="T25" fmla="*/ 801 h 811"/>
              <a:gd name="T26" fmla="*/ 118 w 642"/>
              <a:gd name="T27" fmla="*/ 768 h 811"/>
              <a:gd name="T28" fmla="*/ 64 w 642"/>
              <a:gd name="T29" fmla="*/ 783 h 811"/>
              <a:gd name="T30" fmla="*/ 54 w 642"/>
              <a:gd name="T31" fmla="*/ 778 h 811"/>
              <a:gd name="T32" fmla="*/ 60 w 642"/>
              <a:gd name="T33" fmla="*/ 725 h 811"/>
              <a:gd name="T34" fmla="*/ 118 w 642"/>
              <a:gd name="T35" fmla="*/ 707 h 811"/>
              <a:gd name="T36" fmla="*/ 183 w 642"/>
              <a:gd name="T37" fmla="*/ 740 h 811"/>
              <a:gd name="T38" fmla="*/ 246 w 642"/>
              <a:gd name="T39" fmla="*/ 740 h 811"/>
              <a:gd name="T40" fmla="*/ 307 w 642"/>
              <a:gd name="T41" fmla="*/ 707 h 811"/>
              <a:gd name="T42" fmla="*/ 165 w 642"/>
              <a:gd name="T43" fmla="*/ 107 h 811"/>
              <a:gd name="T44" fmla="*/ 159 w 642"/>
              <a:gd name="T45" fmla="*/ 167 h 811"/>
              <a:gd name="T46" fmla="*/ 149 w 642"/>
              <a:gd name="T47" fmla="*/ 182 h 811"/>
              <a:gd name="T48" fmla="*/ 98 w 642"/>
              <a:gd name="T49" fmla="*/ 182 h 811"/>
              <a:gd name="T50" fmla="*/ 550 w 642"/>
              <a:gd name="T51" fmla="*/ 258 h 811"/>
              <a:gd name="T52" fmla="*/ 515 w 642"/>
              <a:gd name="T53" fmla="*/ 182 h 811"/>
              <a:gd name="T54" fmla="*/ 486 w 642"/>
              <a:gd name="T55" fmla="*/ 176 h 811"/>
              <a:gd name="T56" fmla="*/ 482 w 642"/>
              <a:gd name="T57" fmla="*/ 115 h 811"/>
              <a:gd name="T58" fmla="*/ 469 w 642"/>
              <a:gd name="T59" fmla="*/ 105 h 811"/>
              <a:gd name="T60" fmla="*/ 366 w 642"/>
              <a:gd name="T61" fmla="*/ 2 h 811"/>
              <a:gd name="T62" fmla="*/ 388 w 642"/>
              <a:gd name="T63" fmla="*/ 57 h 811"/>
              <a:gd name="T64" fmla="*/ 511 w 642"/>
              <a:gd name="T65" fmla="*/ 79 h 811"/>
              <a:gd name="T66" fmla="*/ 566 w 642"/>
              <a:gd name="T67" fmla="*/ 153 h 811"/>
              <a:gd name="T68" fmla="*/ 588 w 642"/>
              <a:gd name="T69" fmla="*/ 264 h 811"/>
              <a:gd name="T70" fmla="*/ 642 w 642"/>
              <a:gd name="T71" fmla="*/ 296 h 811"/>
              <a:gd name="T72" fmla="*/ 498 w 642"/>
              <a:gd name="T73" fmla="*/ 690 h 811"/>
              <a:gd name="T74" fmla="*/ 439 w 642"/>
              <a:gd name="T75" fmla="*/ 724 h 811"/>
              <a:gd name="T76" fmla="*/ 388 w 642"/>
              <a:gd name="T77" fmla="*/ 708 h 811"/>
              <a:gd name="T78" fmla="*/ 321 w 642"/>
              <a:gd name="T79" fmla="*/ 684 h 811"/>
              <a:gd name="T80" fmla="*/ 253 w 642"/>
              <a:gd name="T81" fmla="*/ 708 h 811"/>
              <a:gd name="T82" fmla="*/ 202 w 642"/>
              <a:gd name="T83" fmla="*/ 724 h 811"/>
              <a:gd name="T84" fmla="*/ 145 w 642"/>
              <a:gd name="T85" fmla="*/ 690 h 811"/>
              <a:gd name="T86" fmla="*/ 0 w 642"/>
              <a:gd name="T87" fmla="*/ 296 h 811"/>
              <a:gd name="T88" fmla="*/ 53 w 642"/>
              <a:gd name="T89" fmla="*/ 264 h 811"/>
              <a:gd name="T90" fmla="*/ 76 w 642"/>
              <a:gd name="T91" fmla="*/ 153 h 811"/>
              <a:gd name="T92" fmla="*/ 130 w 642"/>
              <a:gd name="T93" fmla="*/ 79 h 811"/>
              <a:gd name="T94" fmla="*/ 253 w 642"/>
              <a:gd name="T95" fmla="*/ 57 h 811"/>
              <a:gd name="T96" fmla="*/ 277 w 642"/>
              <a:gd name="T97" fmla="*/ 2 h 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2" h="811">
                <a:moveTo>
                  <a:pt x="321" y="707"/>
                </a:moveTo>
                <a:lnTo>
                  <a:pt x="334" y="707"/>
                </a:lnTo>
                <a:lnTo>
                  <a:pt x="348" y="711"/>
                </a:lnTo>
                <a:lnTo>
                  <a:pt x="363" y="721"/>
                </a:lnTo>
                <a:lnTo>
                  <a:pt x="379" y="730"/>
                </a:lnTo>
                <a:lnTo>
                  <a:pt x="395" y="740"/>
                </a:lnTo>
                <a:lnTo>
                  <a:pt x="411" y="747"/>
                </a:lnTo>
                <a:lnTo>
                  <a:pt x="427" y="750"/>
                </a:lnTo>
                <a:lnTo>
                  <a:pt x="443" y="747"/>
                </a:lnTo>
                <a:lnTo>
                  <a:pt x="459" y="740"/>
                </a:lnTo>
                <a:lnTo>
                  <a:pt x="475" y="730"/>
                </a:lnTo>
                <a:lnTo>
                  <a:pt x="491" y="721"/>
                </a:lnTo>
                <a:lnTo>
                  <a:pt x="508" y="711"/>
                </a:lnTo>
                <a:lnTo>
                  <a:pt x="524" y="707"/>
                </a:lnTo>
                <a:lnTo>
                  <a:pt x="541" y="707"/>
                </a:lnTo>
                <a:lnTo>
                  <a:pt x="558" y="712"/>
                </a:lnTo>
                <a:lnTo>
                  <a:pt x="575" y="719"/>
                </a:lnTo>
                <a:lnTo>
                  <a:pt x="582" y="725"/>
                </a:lnTo>
                <a:lnTo>
                  <a:pt x="586" y="733"/>
                </a:lnTo>
                <a:lnTo>
                  <a:pt x="587" y="740"/>
                </a:lnTo>
                <a:lnTo>
                  <a:pt x="587" y="776"/>
                </a:lnTo>
                <a:lnTo>
                  <a:pt x="587" y="778"/>
                </a:lnTo>
                <a:lnTo>
                  <a:pt x="586" y="780"/>
                </a:lnTo>
                <a:lnTo>
                  <a:pt x="583" y="782"/>
                </a:lnTo>
                <a:lnTo>
                  <a:pt x="581" y="783"/>
                </a:lnTo>
                <a:lnTo>
                  <a:pt x="579" y="783"/>
                </a:lnTo>
                <a:lnTo>
                  <a:pt x="575" y="782"/>
                </a:lnTo>
                <a:lnTo>
                  <a:pt x="558" y="773"/>
                </a:lnTo>
                <a:lnTo>
                  <a:pt x="541" y="769"/>
                </a:lnTo>
                <a:lnTo>
                  <a:pt x="524" y="768"/>
                </a:lnTo>
                <a:lnTo>
                  <a:pt x="508" y="773"/>
                </a:lnTo>
                <a:lnTo>
                  <a:pt x="491" y="782"/>
                </a:lnTo>
                <a:lnTo>
                  <a:pt x="475" y="793"/>
                </a:lnTo>
                <a:lnTo>
                  <a:pt x="459" y="801"/>
                </a:lnTo>
                <a:lnTo>
                  <a:pt x="443" y="809"/>
                </a:lnTo>
                <a:lnTo>
                  <a:pt x="427" y="811"/>
                </a:lnTo>
                <a:lnTo>
                  <a:pt x="411" y="809"/>
                </a:lnTo>
                <a:lnTo>
                  <a:pt x="395" y="801"/>
                </a:lnTo>
                <a:lnTo>
                  <a:pt x="379" y="793"/>
                </a:lnTo>
                <a:lnTo>
                  <a:pt x="363" y="782"/>
                </a:lnTo>
                <a:lnTo>
                  <a:pt x="348" y="773"/>
                </a:lnTo>
                <a:lnTo>
                  <a:pt x="334" y="769"/>
                </a:lnTo>
                <a:lnTo>
                  <a:pt x="321" y="768"/>
                </a:lnTo>
                <a:lnTo>
                  <a:pt x="307" y="769"/>
                </a:lnTo>
                <a:lnTo>
                  <a:pt x="295" y="773"/>
                </a:lnTo>
                <a:lnTo>
                  <a:pt x="278" y="782"/>
                </a:lnTo>
                <a:lnTo>
                  <a:pt x="262" y="793"/>
                </a:lnTo>
                <a:lnTo>
                  <a:pt x="246" y="801"/>
                </a:lnTo>
                <a:lnTo>
                  <a:pt x="231" y="809"/>
                </a:lnTo>
                <a:lnTo>
                  <a:pt x="214" y="811"/>
                </a:lnTo>
                <a:lnTo>
                  <a:pt x="198" y="809"/>
                </a:lnTo>
                <a:lnTo>
                  <a:pt x="183" y="801"/>
                </a:lnTo>
                <a:lnTo>
                  <a:pt x="167" y="793"/>
                </a:lnTo>
                <a:lnTo>
                  <a:pt x="151" y="782"/>
                </a:lnTo>
                <a:lnTo>
                  <a:pt x="135" y="773"/>
                </a:lnTo>
                <a:lnTo>
                  <a:pt x="118" y="768"/>
                </a:lnTo>
                <a:lnTo>
                  <a:pt x="101" y="769"/>
                </a:lnTo>
                <a:lnTo>
                  <a:pt x="83" y="773"/>
                </a:lnTo>
                <a:lnTo>
                  <a:pt x="66" y="782"/>
                </a:lnTo>
                <a:lnTo>
                  <a:pt x="64" y="783"/>
                </a:lnTo>
                <a:lnTo>
                  <a:pt x="61" y="783"/>
                </a:lnTo>
                <a:lnTo>
                  <a:pt x="58" y="782"/>
                </a:lnTo>
                <a:lnTo>
                  <a:pt x="57" y="780"/>
                </a:lnTo>
                <a:lnTo>
                  <a:pt x="54" y="778"/>
                </a:lnTo>
                <a:lnTo>
                  <a:pt x="54" y="776"/>
                </a:lnTo>
                <a:lnTo>
                  <a:pt x="54" y="740"/>
                </a:lnTo>
                <a:lnTo>
                  <a:pt x="55" y="733"/>
                </a:lnTo>
                <a:lnTo>
                  <a:pt x="60" y="725"/>
                </a:lnTo>
                <a:lnTo>
                  <a:pt x="66" y="719"/>
                </a:lnTo>
                <a:lnTo>
                  <a:pt x="83" y="712"/>
                </a:lnTo>
                <a:lnTo>
                  <a:pt x="101" y="707"/>
                </a:lnTo>
                <a:lnTo>
                  <a:pt x="118" y="707"/>
                </a:lnTo>
                <a:lnTo>
                  <a:pt x="135" y="711"/>
                </a:lnTo>
                <a:lnTo>
                  <a:pt x="151" y="721"/>
                </a:lnTo>
                <a:lnTo>
                  <a:pt x="167" y="730"/>
                </a:lnTo>
                <a:lnTo>
                  <a:pt x="183" y="740"/>
                </a:lnTo>
                <a:lnTo>
                  <a:pt x="198" y="747"/>
                </a:lnTo>
                <a:lnTo>
                  <a:pt x="214" y="750"/>
                </a:lnTo>
                <a:lnTo>
                  <a:pt x="231" y="747"/>
                </a:lnTo>
                <a:lnTo>
                  <a:pt x="246" y="740"/>
                </a:lnTo>
                <a:lnTo>
                  <a:pt x="262" y="730"/>
                </a:lnTo>
                <a:lnTo>
                  <a:pt x="278" y="721"/>
                </a:lnTo>
                <a:lnTo>
                  <a:pt x="295" y="711"/>
                </a:lnTo>
                <a:lnTo>
                  <a:pt x="307" y="707"/>
                </a:lnTo>
                <a:lnTo>
                  <a:pt x="321" y="707"/>
                </a:lnTo>
                <a:close/>
                <a:moveTo>
                  <a:pt x="174" y="105"/>
                </a:moveTo>
                <a:lnTo>
                  <a:pt x="169" y="105"/>
                </a:lnTo>
                <a:lnTo>
                  <a:pt x="165" y="107"/>
                </a:lnTo>
                <a:lnTo>
                  <a:pt x="162" y="111"/>
                </a:lnTo>
                <a:lnTo>
                  <a:pt x="159" y="115"/>
                </a:lnTo>
                <a:lnTo>
                  <a:pt x="159" y="120"/>
                </a:lnTo>
                <a:lnTo>
                  <a:pt x="159" y="167"/>
                </a:lnTo>
                <a:lnTo>
                  <a:pt x="158" y="172"/>
                </a:lnTo>
                <a:lnTo>
                  <a:pt x="157" y="176"/>
                </a:lnTo>
                <a:lnTo>
                  <a:pt x="153" y="179"/>
                </a:lnTo>
                <a:lnTo>
                  <a:pt x="149" y="182"/>
                </a:lnTo>
                <a:lnTo>
                  <a:pt x="145" y="182"/>
                </a:lnTo>
                <a:lnTo>
                  <a:pt x="126" y="182"/>
                </a:lnTo>
                <a:lnTo>
                  <a:pt x="110" y="182"/>
                </a:lnTo>
                <a:lnTo>
                  <a:pt x="98" y="182"/>
                </a:lnTo>
                <a:lnTo>
                  <a:pt x="92" y="182"/>
                </a:lnTo>
                <a:lnTo>
                  <a:pt x="92" y="258"/>
                </a:lnTo>
                <a:lnTo>
                  <a:pt x="321" y="227"/>
                </a:lnTo>
                <a:lnTo>
                  <a:pt x="550" y="258"/>
                </a:lnTo>
                <a:lnTo>
                  <a:pt x="550" y="182"/>
                </a:lnTo>
                <a:lnTo>
                  <a:pt x="544" y="182"/>
                </a:lnTo>
                <a:lnTo>
                  <a:pt x="532" y="182"/>
                </a:lnTo>
                <a:lnTo>
                  <a:pt x="515" y="182"/>
                </a:lnTo>
                <a:lnTo>
                  <a:pt x="497" y="182"/>
                </a:lnTo>
                <a:lnTo>
                  <a:pt x="493" y="182"/>
                </a:lnTo>
                <a:lnTo>
                  <a:pt x="488" y="179"/>
                </a:lnTo>
                <a:lnTo>
                  <a:pt x="486" y="176"/>
                </a:lnTo>
                <a:lnTo>
                  <a:pt x="483" y="172"/>
                </a:lnTo>
                <a:lnTo>
                  <a:pt x="483" y="167"/>
                </a:lnTo>
                <a:lnTo>
                  <a:pt x="483" y="120"/>
                </a:lnTo>
                <a:lnTo>
                  <a:pt x="482" y="115"/>
                </a:lnTo>
                <a:lnTo>
                  <a:pt x="480" y="111"/>
                </a:lnTo>
                <a:lnTo>
                  <a:pt x="477" y="107"/>
                </a:lnTo>
                <a:lnTo>
                  <a:pt x="472" y="105"/>
                </a:lnTo>
                <a:lnTo>
                  <a:pt x="469" y="105"/>
                </a:lnTo>
                <a:lnTo>
                  <a:pt x="174" y="105"/>
                </a:lnTo>
                <a:close/>
                <a:moveTo>
                  <a:pt x="290" y="0"/>
                </a:moveTo>
                <a:lnTo>
                  <a:pt x="351" y="0"/>
                </a:lnTo>
                <a:lnTo>
                  <a:pt x="366" y="2"/>
                </a:lnTo>
                <a:lnTo>
                  <a:pt x="378" y="11"/>
                </a:lnTo>
                <a:lnTo>
                  <a:pt x="385" y="23"/>
                </a:lnTo>
                <a:lnTo>
                  <a:pt x="388" y="37"/>
                </a:lnTo>
                <a:lnTo>
                  <a:pt x="388" y="57"/>
                </a:lnTo>
                <a:lnTo>
                  <a:pt x="477" y="57"/>
                </a:lnTo>
                <a:lnTo>
                  <a:pt x="492" y="60"/>
                </a:lnTo>
                <a:lnTo>
                  <a:pt x="503" y="68"/>
                </a:lnTo>
                <a:lnTo>
                  <a:pt x="511" y="79"/>
                </a:lnTo>
                <a:lnTo>
                  <a:pt x="514" y="94"/>
                </a:lnTo>
                <a:lnTo>
                  <a:pt x="514" y="150"/>
                </a:lnTo>
                <a:lnTo>
                  <a:pt x="552" y="150"/>
                </a:lnTo>
                <a:lnTo>
                  <a:pt x="566" y="153"/>
                </a:lnTo>
                <a:lnTo>
                  <a:pt x="577" y="161"/>
                </a:lnTo>
                <a:lnTo>
                  <a:pt x="586" y="172"/>
                </a:lnTo>
                <a:lnTo>
                  <a:pt x="588" y="187"/>
                </a:lnTo>
                <a:lnTo>
                  <a:pt x="588" y="264"/>
                </a:lnTo>
                <a:lnTo>
                  <a:pt x="614" y="267"/>
                </a:lnTo>
                <a:lnTo>
                  <a:pt x="627" y="272"/>
                </a:lnTo>
                <a:lnTo>
                  <a:pt x="637" y="282"/>
                </a:lnTo>
                <a:lnTo>
                  <a:pt x="642" y="296"/>
                </a:lnTo>
                <a:lnTo>
                  <a:pt x="641" y="310"/>
                </a:lnTo>
                <a:lnTo>
                  <a:pt x="526" y="684"/>
                </a:lnTo>
                <a:lnTo>
                  <a:pt x="511" y="685"/>
                </a:lnTo>
                <a:lnTo>
                  <a:pt x="498" y="690"/>
                </a:lnTo>
                <a:lnTo>
                  <a:pt x="482" y="699"/>
                </a:lnTo>
                <a:lnTo>
                  <a:pt x="466" y="708"/>
                </a:lnTo>
                <a:lnTo>
                  <a:pt x="453" y="717"/>
                </a:lnTo>
                <a:lnTo>
                  <a:pt x="439" y="724"/>
                </a:lnTo>
                <a:lnTo>
                  <a:pt x="427" y="727"/>
                </a:lnTo>
                <a:lnTo>
                  <a:pt x="415" y="724"/>
                </a:lnTo>
                <a:lnTo>
                  <a:pt x="403" y="717"/>
                </a:lnTo>
                <a:lnTo>
                  <a:pt x="388" y="708"/>
                </a:lnTo>
                <a:lnTo>
                  <a:pt x="373" y="699"/>
                </a:lnTo>
                <a:lnTo>
                  <a:pt x="357" y="690"/>
                </a:lnTo>
                <a:lnTo>
                  <a:pt x="339" y="685"/>
                </a:lnTo>
                <a:lnTo>
                  <a:pt x="321" y="684"/>
                </a:lnTo>
                <a:lnTo>
                  <a:pt x="302" y="685"/>
                </a:lnTo>
                <a:lnTo>
                  <a:pt x="285" y="690"/>
                </a:lnTo>
                <a:lnTo>
                  <a:pt x="269" y="699"/>
                </a:lnTo>
                <a:lnTo>
                  <a:pt x="253" y="708"/>
                </a:lnTo>
                <a:lnTo>
                  <a:pt x="240" y="717"/>
                </a:lnTo>
                <a:lnTo>
                  <a:pt x="227" y="724"/>
                </a:lnTo>
                <a:lnTo>
                  <a:pt x="214" y="727"/>
                </a:lnTo>
                <a:lnTo>
                  <a:pt x="202" y="724"/>
                </a:lnTo>
                <a:lnTo>
                  <a:pt x="190" y="717"/>
                </a:lnTo>
                <a:lnTo>
                  <a:pt x="175" y="708"/>
                </a:lnTo>
                <a:lnTo>
                  <a:pt x="160" y="699"/>
                </a:lnTo>
                <a:lnTo>
                  <a:pt x="145" y="690"/>
                </a:lnTo>
                <a:lnTo>
                  <a:pt x="131" y="685"/>
                </a:lnTo>
                <a:lnTo>
                  <a:pt x="116" y="684"/>
                </a:lnTo>
                <a:lnTo>
                  <a:pt x="2" y="310"/>
                </a:lnTo>
                <a:lnTo>
                  <a:pt x="0" y="296"/>
                </a:lnTo>
                <a:lnTo>
                  <a:pt x="5" y="282"/>
                </a:lnTo>
                <a:lnTo>
                  <a:pt x="15" y="272"/>
                </a:lnTo>
                <a:lnTo>
                  <a:pt x="28" y="267"/>
                </a:lnTo>
                <a:lnTo>
                  <a:pt x="53" y="264"/>
                </a:lnTo>
                <a:lnTo>
                  <a:pt x="53" y="187"/>
                </a:lnTo>
                <a:lnTo>
                  <a:pt x="57" y="172"/>
                </a:lnTo>
                <a:lnTo>
                  <a:pt x="64" y="161"/>
                </a:lnTo>
                <a:lnTo>
                  <a:pt x="76" y="153"/>
                </a:lnTo>
                <a:lnTo>
                  <a:pt x="91" y="150"/>
                </a:lnTo>
                <a:lnTo>
                  <a:pt x="127" y="150"/>
                </a:lnTo>
                <a:lnTo>
                  <a:pt x="127" y="94"/>
                </a:lnTo>
                <a:lnTo>
                  <a:pt x="130" y="79"/>
                </a:lnTo>
                <a:lnTo>
                  <a:pt x="138" y="68"/>
                </a:lnTo>
                <a:lnTo>
                  <a:pt x="151" y="60"/>
                </a:lnTo>
                <a:lnTo>
                  <a:pt x="164" y="57"/>
                </a:lnTo>
                <a:lnTo>
                  <a:pt x="253" y="57"/>
                </a:lnTo>
                <a:lnTo>
                  <a:pt x="253" y="37"/>
                </a:lnTo>
                <a:lnTo>
                  <a:pt x="256" y="23"/>
                </a:lnTo>
                <a:lnTo>
                  <a:pt x="264" y="11"/>
                </a:lnTo>
                <a:lnTo>
                  <a:pt x="277" y="2"/>
                </a:lnTo>
                <a:lnTo>
                  <a:pt x="290" y="0"/>
                </a:lnTo>
                <a:close/>
              </a:path>
            </a:pathLst>
          </a:custGeom>
          <a:solidFill>
            <a:srgbClr val="77ED37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7" name="Freeform 581">
            <a:extLst>
              <a:ext uri="{FF2B5EF4-FFF2-40B4-BE49-F238E27FC236}">
                <a16:creationId xmlns:a16="http://schemas.microsoft.com/office/drawing/2014/main" id="{CBBC550E-E7BC-4D7B-9B8B-EE73BA8B1725}"/>
              </a:ext>
            </a:extLst>
          </p:cNvPr>
          <p:cNvSpPr>
            <a:spLocks noEditPoints="1"/>
          </p:cNvSpPr>
          <p:nvPr/>
        </p:nvSpPr>
        <p:spPr bwMode="auto">
          <a:xfrm>
            <a:off x="3083254" y="3908013"/>
            <a:ext cx="216000" cy="180000"/>
          </a:xfrm>
          <a:custGeom>
            <a:avLst/>
            <a:gdLst>
              <a:gd name="T0" fmla="*/ 363 w 642"/>
              <a:gd name="T1" fmla="*/ 721 h 811"/>
              <a:gd name="T2" fmla="*/ 427 w 642"/>
              <a:gd name="T3" fmla="*/ 750 h 811"/>
              <a:gd name="T4" fmla="*/ 491 w 642"/>
              <a:gd name="T5" fmla="*/ 721 h 811"/>
              <a:gd name="T6" fmla="*/ 558 w 642"/>
              <a:gd name="T7" fmla="*/ 712 h 811"/>
              <a:gd name="T8" fmla="*/ 587 w 642"/>
              <a:gd name="T9" fmla="*/ 740 h 811"/>
              <a:gd name="T10" fmla="*/ 583 w 642"/>
              <a:gd name="T11" fmla="*/ 782 h 811"/>
              <a:gd name="T12" fmla="*/ 558 w 642"/>
              <a:gd name="T13" fmla="*/ 773 h 811"/>
              <a:gd name="T14" fmla="*/ 491 w 642"/>
              <a:gd name="T15" fmla="*/ 782 h 811"/>
              <a:gd name="T16" fmla="*/ 427 w 642"/>
              <a:gd name="T17" fmla="*/ 811 h 811"/>
              <a:gd name="T18" fmla="*/ 363 w 642"/>
              <a:gd name="T19" fmla="*/ 782 h 811"/>
              <a:gd name="T20" fmla="*/ 307 w 642"/>
              <a:gd name="T21" fmla="*/ 769 h 811"/>
              <a:gd name="T22" fmla="*/ 246 w 642"/>
              <a:gd name="T23" fmla="*/ 801 h 811"/>
              <a:gd name="T24" fmla="*/ 183 w 642"/>
              <a:gd name="T25" fmla="*/ 801 h 811"/>
              <a:gd name="T26" fmla="*/ 118 w 642"/>
              <a:gd name="T27" fmla="*/ 768 h 811"/>
              <a:gd name="T28" fmla="*/ 64 w 642"/>
              <a:gd name="T29" fmla="*/ 783 h 811"/>
              <a:gd name="T30" fmla="*/ 54 w 642"/>
              <a:gd name="T31" fmla="*/ 778 h 811"/>
              <a:gd name="T32" fmla="*/ 60 w 642"/>
              <a:gd name="T33" fmla="*/ 725 h 811"/>
              <a:gd name="T34" fmla="*/ 118 w 642"/>
              <a:gd name="T35" fmla="*/ 707 h 811"/>
              <a:gd name="T36" fmla="*/ 183 w 642"/>
              <a:gd name="T37" fmla="*/ 740 h 811"/>
              <a:gd name="T38" fmla="*/ 246 w 642"/>
              <a:gd name="T39" fmla="*/ 740 h 811"/>
              <a:gd name="T40" fmla="*/ 307 w 642"/>
              <a:gd name="T41" fmla="*/ 707 h 811"/>
              <a:gd name="T42" fmla="*/ 165 w 642"/>
              <a:gd name="T43" fmla="*/ 107 h 811"/>
              <a:gd name="T44" fmla="*/ 159 w 642"/>
              <a:gd name="T45" fmla="*/ 167 h 811"/>
              <a:gd name="T46" fmla="*/ 149 w 642"/>
              <a:gd name="T47" fmla="*/ 182 h 811"/>
              <a:gd name="T48" fmla="*/ 98 w 642"/>
              <a:gd name="T49" fmla="*/ 182 h 811"/>
              <a:gd name="T50" fmla="*/ 550 w 642"/>
              <a:gd name="T51" fmla="*/ 258 h 811"/>
              <a:gd name="T52" fmla="*/ 515 w 642"/>
              <a:gd name="T53" fmla="*/ 182 h 811"/>
              <a:gd name="T54" fmla="*/ 486 w 642"/>
              <a:gd name="T55" fmla="*/ 176 h 811"/>
              <a:gd name="T56" fmla="*/ 482 w 642"/>
              <a:gd name="T57" fmla="*/ 115 h 811"/>
              <a:gd name="T58" fmla="*/ 469 w 642"/>
              <a:gd name="T59" fmla="*/ 105 h 811"/>
              <a:gd name="T60" fmla="*/ 366 w 642"/>
              <a:gd name="T61" fmla="*/ 2 h 811"/>
              <a:gd name="T62" fmla="*/ 388 w 642"/>
              <a:gd name="T63" fmla="*/ 57 h 811"/>
              <a:gd name="T64" fmla="*/ 511 w 642"/>
              <a:gd name="T65" fmla="*/ 79 h 811"/>
              <a:gd name="T66" fmla="*/ 566 w 642"/>
              <a:gd name="T67" fmla="*/ 153 h 811"/>
              <a:gd name="T68" fmla="*/ 588 w 642"/>
              <a:gd name="T69" fmla="*/ 264 h 811"/>
              <a:gd name="T70" fmla="*/ 642 w 642"/>
              <a:gd name="T71" fmla="*/ 296 h 811"/>
              <a:gd name="T72" fmla="*/ 498 w 642"/>
              <a:gd name="T73" fmla="*/ 690 h 811"/>
              <a:gd name="T74" fmla="*/ 439 w 642"/>
              <a:gd name="T75" fmla="*/ 724 h 811"/>
              <a:gd name="T76" fmla="*/ 388 w 642"/>
              <a:gd name="T77" fmla="*/ 708 h 811"/>
              <a:gd name="T78" fmla="*/ 321 w 642"/>
              <a:gd name="T79" fmla="*/ 684 h 811"/>
              <a:gd name="T80" fmla="*/ 253 w 642"/>
              <a:gd name="T81" fmla="*/ 708 h 811"/>
              <a:gd name="T82" fmla="*/ 202 w 642"/>
              <a:gd name="T83" fmla="*/ 724 h 811"/>
              <a:gd name="T84" fmla="*/ 145 w 642"/>
              <a:gd name="T85" fmla="*/ 690 h 811"/>
              <a:gd name="T86" fmla="*/ 0 w 642"/>
              <a:gd name="T87" fmla="*/ 296 h 811"/>
              <a:gd name="T88" fmla="*/ 53 w 642"/>
              <a:gd name="T89" fmla="*/ 264 h 811"/>
              <a:gd name="T90" fmla="*/ 76 w 642"/>
              <a:gd name="T91" fmla="*/ 153 h 811"/>
              <a:gd name="T92" fmla="*/ 130 w 642"/>
              <a:gd name="T93" fmla="*/ 79 h 811"/>
              <a:gd name="T94" fmla="*/ 253 w 642"/>
              <a:gd name="T95" fmla="*/ 57 h 811"/>
              <a:gd name="T96" fmla="*/ 277 w 642"/>
              <a:gd name="T97" fmla="*/ 2 h 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2" h="811">
                <a:moveTo>
                  <a:pt x="321" y="707"/>
                </a:moveTo>
                <a:lnTo>
                  <a:pt x="334" y="707"/>
                </a:lnTo>
                <a:lnTo>
                  <a:pt x="348" y="711"/>
                </a:lnTo>
                <a:lnTo>
                  <a:pt x="363" y="721"/>
                </a:lnTo>
                <a:lnTo>
                  <a:pt x="379" y="730"/>
                </a:lnTo>
                <a:lnTo>
                  <a:pt x="395" y="740"/>
                </a:lnTo>
                <a:lnTo>
                  <a:pt x="411" y="747"/>
                </a:lnTo>
                <a:lnTo>
                  <a:pt x="427" y="750"/>
                </a:lnTo>
                <a:lnTo>
                  <a:pt x="443" y="747"/>
                </a:lnTo>
                <a:lnTo>
                  <a:pt x="459" y="740"/>
                </a:lnTo>
                <a:lnTo>
                  <a:pt x="475" y="730"/>
                </a:lnTo>
                <a:lnTo>
                  <a:pt x="491" y="721"/>
                </a:lnTo>
                <a:lnTo>
                  <a:pt x="508" y="711"/>
                </a:lnTo>
                <a:lnTo>
                  <a:pt x="524" y="707"/>
                </a:lnTo>
                <a:lnTo>
                  <a:pt x="541" y="707"/>
                </a:lnTo>
                <a:lnTo>
                  <a:pt x="558" y="712"/>
                </a:lnTo>
                <a:lnTo>
                  <a:pt x="575" y="719"/>
                </a:lnTo>
                <a:lnTo>
                  <a:pt x="582" y="725"/>
                </a:lnTo>
                <a:lnTo>
                  <a:pt x="586" y="733"/>
                </a:lnTo>
                <a:lnTo>
                  <a:pt x="587" y="740"/>
                </a:lnTo>
                <a:lnTo>
                  <a:pt x="587" y="776"/>
                </a:lnTo>
                <a:lnTo>
                  <a:pt x="587" y="778"/>
                </a:lnTo>
                <a:lnTo>
                  <a:pt x="586" y="780"/>
                </a:lnTo>
                <a:lnTo>
                  <a:pt x="583" y="782"/>
                </a:lnTo>
                <a:lnTo>
                  <a:pt x="581" y="783"/>
                </a:lnTo>
                <a:lnTo>
                  <a:pt x="579" y="783"/>
                </a:lnTo>
                <a:lnTo>
                  <a:pt x="575" y="782"/>
                </a:lnTo>
                <a:lnTo>
                  <a:pt x="558" y="773"/>
                </a:lnTo>
                <a:lnTo>
                  <a:pt x="541" y="769"/>
                </a:lnTo>
                <a:lnTo>
                  <a:pt x="524" y="768"/>
                </a:lnTo>
                <a:lnTo>
                  <a:pt x="508" y="773"/>
                </a:lnTo>
                <a:lnTo>
                  <a:pt x="491" y="782"/>
                </a:lnTo>
                <a:lnTo>
                  <a:pt x="475" y="793"/>
                </a:lnTo>
                <a:lnTo>
                  <a:pt x="459" y="801"/>
                </a:lnTo>
                <a:lnTo>
                  <a:pt x="443" y="809"/>
                </a:lnTo>
                <a:lnTo>
                  <a:pt x="427" y="811"/>
                </a:lnTo>
                <a:lnTo>
                  <a:pt x="411" y="809"/>
                </a:lnTo>
                <a:lnTo>
                  <a:pt x="395" y="801"/>
                </a:lnTo>
                <a:lnTo>
                  <a:pt x="379" y="793"/>
                </a:lnTo>
                <a:lnTo>
                  <a:pt x="363" y="782"/>
                </a:lnTo>
                <a:lnTo>
                  <a:pt x="348" y="773"/>
                </a:lnTo>
                <a:lnTo>
                  <a:pt x="334" y="769"/>
                </a:lnTo>
                <a:lnTo>
                  <a:pt x="321" y="768"/>
                </a:lnTo>
                <a:lnTo>
                  <a:pt x="307" y="769"/>
                </a:lnTo>
                <a:lnTo>
                  <a:pt x="295" y="773"/>
                </a:lnTo>
                <a:lnTo>
                  <a:pt x="278" y="782"/>
                </a:lnTo>
                <a:lnTo>
                  <a:pt x="262" y="793"/>
                </a:lnTo>
                <a:lnTo>
                  <a:pt x="246" y="801"/>
                </a:lnTo>
                <a:lnTo>
                  <a:pt x="231" y="809"/>
                </a:lnTo>
                <a:lnTo>
                  <a:pt x="214" y="811"/>
                </a:lnTo>
                <a:lnTo>
                  <a:pt x="198" y="809"/>
                </a:lnTo>
                <a:lnTo>
                  <a:pt x="183" y="801"/>
                </a:lnTo>
                <a:lnTo>
                  <a:pt x="167" y="793"/>
                </a:lnTo>
                <a:lnTo>
                  <a:pt x="151" y="782"/>
                </a:lnTo>
                <a:lnTo>
                  <a:pt x="135" y="773"/>
                </a:lnTo>
                <a:lnTo>
                  <a:pt x="118" y="768"/>
                </a:lnTo>
                <a:lnTo>
                  <a:pt x="101" y="769"/>
                </a:lnTo>
                <a:lnTo>
                  <a:pt x="83" y="773"/>
                </a:lnTo>
                <a:lnTo>
                  <a:pt x="66" y="782"/>
                </a:lnTo>
                <a:lnTo>
                  <a:pt x="64" y="783"/>
                </a:lnTo>
                <a:lnTo>
                  <a:pt x="61" y="783"/>
                </a:lnTo>
                <a:lnTo>
                  <a:pt x="58" y="782"/>
                </a:lnTo>
                <a:lnTo>
                  <a:pt x="57" y="780"/>
                </a:lnTo>
                <a:lnTo>
                  <a:pt x="54" y="778"/>
                </a:lnTo>
                <a:lnTo>
                  <a:pt x="54" y="776"/>
                </a:lnTo>
                <a:lnTo>
                  <a:pt x="54" y="740"/>
                </a:lnTo>
                <a:lnTo>
                  <a:pt x="55" y="733"/>
                </a:lnTo>
                <a:lnTo>
                  <a:pt x="60" y="725"/>
                </a:lnTo>
                <a:lnTo>
                  <a:pt x="66" y="719"/>
                </a:lnTo>
                <a:lnTo>
                  <a:pt x="83" y="712"/>
                </a:lnTo>
                <a:lnTo>
                  <a:pt x="101" y="707"/>
                </a:lnTo>
                <a:lnTo>
                  <a:pt x="118" y="707"/>
                </a:lnTo>
                <a:lnTo>
                  <a:pt x="135" y="711"/>
                </a:lnTo>
                <a:lnTo>
                  <a:pt x="151" y="721"/>
                </a:lnTo>
                <a:lnTo>
                  <a:pt x="167" y="730"/>
                </a:lnTo>
                <a:lnTo>
                  <a:pt x="183" y="740"/>
                </a:lnTo>
                <a:lnTo>
                  <a:pt x="198" y="747"/>
                </a:lnTo>
                <a:lnTo>
                  <a:pt x="214" y="750"/>
                </a:lnTo>
                <a:lnTo>
                  <a:pt x="231" y="747"/>
                </a:lnTo>
                <a:lnTo>
                  <a:pt x="246" y="740"/>
                </a:lnTo>
                <a:lnTo>
                  <a:pt x="262" y="730"/>
                </a:lnTo>
                <a:lnTo>
                  <a:pt x="278" y="721"/>
                </a:lnTo>
                <a:lnTo>
                  <a:pt x="295" y="711"/>
                </a:lnTo>
                <a:lnTo>
                  <a:pt x="307" y="707"/>
                </a:lnTo>
                <a:lnTo>
                  <a:pt x="321" y="707"/>
                </a:lnTo>
                <a:close/>
                <a:moveTo>
                  <a:pt x="174" y="105"/>
                </a:moveTo>
                <a:lnTo>
                  <a:pt x="169" y="105"/>
                </a:lnTo>
                <a:lnTo>
                  <a:pt x="165" y="107"/>
                </a:lnTo>
                <a:lnTo>
                  <a:pt x="162" y="111"/>
                </a:lnTo>
                <a:lnTo>
                  <a:pt x="159" y="115"/>
                </a:lnTo>
                <a:lnTo>
                  <a:pt x="159" y="120"/>
                </a:lnTo>
                <a:lnTo>
                  <a:pt x="159" y="167"/>
                </a:lnTo>
                <a:lnTo>
                  <a:pt x="158" y="172"/>
                </a:lnTo>
                <a:lnTo>
                  <a:pt x="157" y="176"/>
                </a:lnTo>
                <a:lnTo>
                  <a:pt x="153" y="179"/>
                </a:lnTo>
                <a:lnTo>
                  <a:pt x="149" y="182"/>
                </a:lnTo>
                <a:lnTo>
                  <a:pt x="145" y="182"/>
                </a:lnTo>
                <a:lnTo>
                  <a:pt x="126" y="182"/>
                </a:lnTo>
                <a:lnTo>
                  <a:pt x="110" y="182"/>
                </a:lnTo>
                <a:lnTo>
                  <a:pt x="98" y="182"/>
                </a:lnTo>
                <a:lnTo>
                  <a:pt x="92" y="182"/>
                </a:lnTo>
                <a:lnTo>
                  <a:pt x="92" y="258"/>
                </a:lnTo>
                <a:lnTo>
                  <a:pt x="321" y="227"/>
                </a:lnTo>
                <a:lnTo>
                  <a:pt x="550" y="258"/>
                </a:lnTo>
                <a:lnTo>
                  <a:pt x="550" y="182"/>
                </a:lnTo>
                <a:lnTo>
                  <a:pt x="544" y="182"/>
                </a:lnTo>
                <a:lnTo>
                  <a:pt x="532" y="182"/>
                </a:lnTo>
                <a:lnTo>
                  <a:pt x="515" y="182"/>
                </a:lnTo>
                <a:lnTo>
                  <a:pt x="497" y="182"/>
                </a:lnTo>
                <a:lnTo>
                  <a:pt x="493" y="182"/>
                </a:lnTo>
                <a:lnTo>
                  <a:pt x="488" y="179"/>
                </a:lnTo>
                <a:lnTo>
                  <a:pt x="486" y="176"/>
                </a:lnTo>
                <a:lnTo>
                  <a:pt x="483" y="172"/>
                </a:lnTo>
                <a:lnTo>
                  <a:pt x="483" y="167"/>
                </a:lnTo>
                <a:lnTo>
                  <a:pt x="483" y="120"/>
                </a:lnTo>
                <a:lnTo>
                  <a:pt x="482" y="115"/>
                </a:lnTo>
                <a:lnTo>
                  <a:pt x="480" y="111"/>
                </a:lnTo>
                <a:lnTo>
                  <a:pt x="477" y="107"/>
                </a:lnTo>
                <a:lnTo>
                  <a:pt x="472" y="105"/>
                </a:lnTo>
                <a:lnTo>
                  <a:pt x="469" y="105"/>
                </a:lnTo>
                <a:lnTo>
                  <a:pt x="174" y="105"/>
                </a:lnTo>
                <a:close/>
                <a:moveTo>
                  <a:pt x="290" y="0"/>
                </a:moveTo>
                <a:lnTo>
                  <a:pt x="351" y="0"/>
                </a:lnTo>
                <a:lnTo>
                  <a:pt x="366" y="2"/>
                </a:lnTo>
                <a:lnTo>
                  <a:pt x="378" y="11"/>
                </a:lnTo>
                <a:lnTo>
                  <a:pt x="385" y="23"/>
                </a:lnTo>
                <a:lnTo>
                  <a:pt x="388" y="37"/>
                </a:lnTo>
                <a:lnTo>
                  <a:pt x="388" y="57"/>
                </a:lnTo>
                <a:lnTo>
                  <a:pt x="477" y="57"/>
                </a:lnTo>
                <a:lnTo>
                  <a:pt x="492" y="60"/>
                </a:lnTo>
                <a:lnTo>
                  <a:pt x="503" y="68"/>
                </a:lnTo>
                <a:lnTo>
                  <a:pt x="511" y="79"/>
                </a:lnTo>
                <a:lnTo>
                  <a:pt x="514" y="94"/>
                </a:lnTo>
                <a:lnTo>
                  <a:pt x="514" y="150"/>
                </a:lnTo>
                <a:lnTo>
                  <a:pt x="552" y="150"/>
                </a:lnTo>
                <a:lnTo>
                  <a:pt x="566" y="153"/>
                </a:lnTo>
                <a:lnTo>
                  <a:pt x="577" y="161"/>
                </a:lnTo>
                <a:lnTo>
                  <a:pt x="586" y="172"/>
                </a:lnTo>
                <a:lnTo>
                  <a:pt x="588" y="187"/>
                </a:lnTo>
                <a:lnTo>
                  <a:pt x="588" y="264"/>
                </a:lnTo>
                <a:lnTo>
                  <a:pt x="614" y="267"/>
                </a:lnTo>
                <a:lnTo>
                  <a:pt x="627" y="272"/>
                </a:lnTo>
                <a:lnTo>
                  <a:pt x="637" y="282"/>
                </a:lnTo>
                <a:lnTo>
                  <a:pt x="642" y="296"/>
                </a:lnTo>
                <a:lnTo>
                  <a:pt x="641" y="310"/>
                </a:lnTo>
                <a:lnTo>
                  <a:pt x="526" y="684"/>
                </a:lnTo>
                <a:lnTo>
                  <a:pt x="511" y="685"/>
                </a:lnTo>
                <a:lnTo>
                  <a:pt x="498" y="690"/>
                </a:lnTo>
                <a:lnTo>
                  <a:pt x="482" y="699"/>
                </a:lnTo>
                <a:lnTo>
                  <a:pt x="466" y="708"/>
                </a:lnTo>
                <a:lnTo>
                  <a:pt x="453" y="717"/>
                </a:lnTo>
                <a:lnTo>
                  <a:pt x="439" y="724"/>
                </a:lnTo>
                <a:lnTo>
                  <a:pt x="427" y="727"/>
                </a:lnTo>
                <a:lnTo>
                  <a:pt x="415" y="724"/>
                </a:lnTo>
                <a:lnTo>
                  <a:pt x="403" y="717"/>
                </a:lnTo>
                <a:lnTo>
                  <a:pt x="388" y="708"/>
                </a:lnTo>
                <a:lnTo>
                  <a:pt x="373" y="699"/>
                </a:lnTo>
                <a:lnTo>
                  <a:pt x="357" y="690"/>
                </a:lnTo>
                <a:lnTo>
                  <a:pt x="339" y="685"/>
                </a:lnTo>
                <a:lnTo>
                  <a:pt x="321" y="684"/>
                </a:lnTo>
                <a:lnTo>
                  <a:pt x="302" y="685"/>
                </a:lnTo>
                <a:lnTo>
                  <a:pt x="285" y="690"/>
                </a:lnTo>
                <a:lnTo>
                  <a:pt x="269" y="699"/>
                </a:lnTo>
                <a:lnTo>
                  <a:pt x="253" y="708"/>
                </a:lnTo>
                <a:lnTo>
                  <a:pt x="240" y="717"/>
                </a:lnTo>
                <a:lnTo>
                  <a:pt x="227" y="724"/>
                </a:lnTo>
                <a:lnTo>
                  <a:pt x="214" y="727"/>
                </a:lnTo>
                <a:lnTo>
                  <a:pt x="202" y="724"/>
                </a:lnTo>
                <a:lnTo>
                  <a:pt x="190" y="717"/>
                </a:lnTo>
                <a:lnTo>
                  <a:pt x="175" y="708"/>
                </a:lnTo>
                <a:lnTo>
                  <a:pt x="160" y="699"/>
                </a:lnTo>
                <a:lnTo>
                  <a:pt x="145" y="690"/>
                </a:lnTo>
                <a:lnTo>
                  <a:pt x="131" y="685"/>
                </a:lnTo>
                <a:lnTo>
                  <a:pt x="116" y="684"/>
                </a:lnTo>
                <a:lnTo>
                  <a:pt x="2" y="310"/>
                </a:lnTo>
                <a:lnTo>
                  <a:pt x="0" y="296"/>
                </a:lnTo>
                <a:lnTo>
                  <a:pt x="5" y="282"/>
                </a:lnTo>
                <a:lnTo>
                  <a:pt x="15" y="272"/>
                </a:lnTo>
                <a:lnTo>
                  <a:pt x="28" y="267"/>
                </a:lnTo>
                <a:lnTo>
                  <a:pt x="53" y="264"/>
                </a:lnTo>
                <a:lnTo>
                  <a:pt x="53" y="187"/>
                </a:lnTo>
                <a:lnTo>
                  <a:pt x="57" y="172"/>
                </a:lnTo>
                <a:lnTo>
                  <a:pt x="64" y="161"/>
                </a:lnTo>
                <a:lnTo>
                  <a:pt x="76" y="153"/>
                </a:lnTo>
                <a:lnTo>
                  <a:pt x="91" y="150"/>
                </a:lnTo>
                <a:lnTo>
                  <a:pt x="127" y="150"/>
                </a:lnTo>
                <a:lnTo>
                  <a:pt x="127" y="94"/>
                </a:lnTo>
                <a:lnTo>
                  <a:pt x="130" y="79"/>
                </a:lnTo>
                <a:lnTo>
                  <a:pt x="138" y="68"/>
                </a:lnTo>
                <a:lnTo>
                  <a:pt x="151" y="60"/>
                </a:lnTo>
                <a:lnTo>
                  <a:pt x="164" y="57"/>
                </a:lnTo>
                <a:lnTo>
                  <a:pt x="253" y="57"/>
                </a:lnTo>
                <a:lnTo>
                  <a:pt x="253" y="37"/>
                </a:lnTo>
                <a:lnTo>
                  <a:pt x="256" y="23"/>
                </a:lnTo>
                <a:lnTo>
                  <a:pt x="264" y="11"/>
                </a:lnTo>
                <a:lnTo>
                  <a:pt x="277" y="2"/>
                </a:lnTo>
                <a:lnTo>
                  <a:pt x="290" y="0"/>
                </a:ln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8" name="Freeform 581">
            <a:extLst>
              <a:ext uri="{FF2B5EF4-FFF2-40B4-BE49-F238E27FC236}">
                <a16:creationId xmlns:a16="http://schemas.microsoft.com/office/drawing/2014/main" id="{CBBC550E-E7BC-4D7B-9B8B-EE73BA8B1725}"/>
              </a:ext>
            </a:extLst>
          </p:cNvPr>
          <p:cNvSpPr>
            <a:spLocks noEditPoints="1"/>
          </p:cNvSpPr>
          <p:nvPr/>
        </p:nvSpPr>
        <p:spPr bwMode="auto">
          <a:xfrm>
            <a:off x="1226546" y="2245129"/>
            <a:ext cx="216000" cy="180000"/>
          </a:xfrm>
          <a:custGeom>
            <a:avLst/>
            <a:gdLst>
              <a:gd name="T0" fmla="*/ 363 w 642"/>
              <a:gd name="T1" fmla="*/ 721 h 811"/>
              <a:gd name="T2" fmla="*/ 427 w 642"/>
              <a:gd name="T3" fmla="*/ 750 h 811"/>
              <a:gd name="T4" fmla="*/ 491 w 642"/>
              <a:gd name="T5" fmla="*/ 721 h 811"/>
              <a:gd name="T6" fmla="*/ 558 w 642"/>
              <a:gd name="T7" fmla="*/ 712 h 811"/>
              <a:gd name="T8" fmla="*/ 587 w 642"/>
              <a:gd name="T9" fmla="*/ 740 h 811"/>
              <a:gd name="T10" fmla="*/ 583 w 642"/>
              <a:gd name="T11" fmla="*/ 782 h 811"/>
              <a:gd name="T12" fmla="*/ 558 w 642"/>
              <a:gd name="T13" fmla="*/ 773 h 811"/>
              <a:gd name="T14" fmla="*/ 491 w 642"/>
              <a:gd name="T15" fmla="*/ 782 h 811"/>
              <a:gd name="T16" fmla="*/ 427 w 642"/>
              <a:gd name="T17" fmla="*/ 811 h 811"/>
              <a:gd name="T18" fmla="*/ 363 w 642"/>
              <a:gd name="T19" fmla="*/ 782 h 811"/>
              <a:gd name="T20" fmla="*/ 307 w 642"/>
              <a:gd name="T21" fmla="*/ 769 h 811"/>
              <a:gd name="T22" fmla="*/ 246 w 642"/>
              <a:gd name="T23" fmla="*/ 801 h 811"/>
              <a:gd name="T24" fmla="*/ 183 w 642"/>
              <a:gd name="T25" fmla="*/ 801 h 811"/>
              <a:gd name="T26" fmla="*/ 118 w 642"/>
              <a:gd name="T27" fmla="*/ 768 h 811"/>
              <a:gd name="T28" fmla="*/ 64 w 642"/>
              <a:gd name="T29" fmla="*/ 783 h 811"/>
              <a:gd name="T30" fmla="*/ 54 w 642"/>
              <a:gd name="T31" fmla="*/ 778 h 811"/>
              <a:gd name="T32" fmla="*/ 60 w 642"/>
              <a:gd name="T33" fmla="*/ 725 h 811"/>
              <a:gd name="T34" fmla="*/ 118 w 642"/>
              <a:gd name="T35" fmla="*/ 707 h 811"/>
              <a:gd name="T36" fmla="*/ 183 w 642"/>
              <a:gd name="T37" fmla="*/ 740 h 811"/>
              <a:gd name="T38" fmla="*/ 246 w 642"/>
              <a:gd name="T39" fmla="*/ 740 h 811"/>
              <a:gd name="T40" fmla="*/ 307 w 642"/>
              <a:gd name="T41" fmla="*/ 707 h 811"/>
              <a:gd name="T42" fmla="*/ 165 w 642"/>
              <a:gd name="T43" fmla="*/ 107 h 811"/>
              <a:gd name="T44" fmla="*/ 159 w 642"/>
              <a:gd name="T45" fmla="*/ 167 h 811"/>
              <a:gd name="T46" fmla="*/ 149 w 642"/>
              <a:gd name="T47" fmla="*/ 182 h 811"/>
              <a:gd name="T48" fmla="*/ 98 w 642"/>
              <a:gd name="T49" fmla="*/ 182 h 811"/>
              <a:gd name="T50" fmla="*/ 550 w 642"/>
              <a:gd name="T51" fmla="*/ 258 h 811"/>
              <a:gd name="T52" fmla="*/ 515 w 642"/>
              <a:gd name="T53" fmla="*/ 182 h 811"/>
              <a:gd name="T54" fmla="*/ 486 w 642"/>
              <a:gd name="T55" fmla="*/ 176 h 811"/>
              <a:gd name="T56" fmla="*/ 482 w 642"/>
              <a:gd name="T57" fmla="*/ 115 h 811"/>
              <a:gd name="T58" fmla="*/ 469 w 642"/>
              <a:gd name="T59" fmla="*/ 105 h 811"/>
              <a:gd name="T60" fmla="*/ 366 w 642"/>
              <a:gd name="T61" fmla="*/ 2 h 811"/>
              <a:gd name="T62" fmla="*/ 388 w 642"/>
              <a:gd name="T63" fmla="*/ 57 h 811"/>
              <a:gd name="T64" fmla="*/ 511 w 642"/>
              <a:gd name="T65" fmla="*/ 79 h 811"/>
              <a:gd name="T66" fmla="*/ 566 w 642"/>
              <a:gd name="T67" fmla="*/ 153 h 811"/>
              <a:gd name="T68" fmla="*/ 588 w 642"/>
              <a:gd name="T69" fmla="*/ 264 h 811"/>
              <a:gd name="T70" fmla="*/ 642 w 642"/>
              <a:gd name="T71" fmla="*/ 296 h 811"/>
              <a:gd name="T72" fmla="*/ 498 w 642"/>
              <a:gd name="T73" fmla="*/ 690 h 811"/>
              <a:gd name="T74" fmla="*/ 439 w 642"/>
              <a:gd name="T75" fmla="*/ 724 h 811"/>
              <a:gd name="T76" fmla="*/ 388 w 642"/>
              <a:gd name="T77" fmla="*/ 708 h 811"/>
              <a:gd name="T78" fmla="*/ 321 w 642"/>
              <a:gd name="T79" fmla="*/ 684 h 811"/>
              <a:gd name="T80" fmla="*/ 253 w 642"/>
              <a:gd name="T81" fmla="*/ 708 h 811"/>
              <a:gd name="T82" fmla="*/ 202 w 642"/>
              <a:gd name="T83" fmla="*/ 724 h 811"/>
              <a:gd name="T84" fmla="*/ 145 w 642"/>
              <a:gd name="T85" fmla="*/ 690 h 811"/>
              <a:gd name="T86" fmla="*/ 0 w 642"/>
              <a:gd name="T87" fmla="*/ 296 h 811"/>
              <a:gd name="T88" fmla="*/ 53 w 642"/>
              <a:gd name="T89" fmla="*/ 264 h 811"/>
              <a:gd name="T90" fmla="*/ 76 w 642"/>
              <a:gd name="T91" fmla="*/ 153 h 811"/>
              <a:gd name="T92" fmla="*/ 130 w 642"/>
              <a:gd name="T93" fmla="*/ 79 h 811"/>
              <a:gd name="T94" fmla="*/ 253 w 642"/>
              <a:gd name="T95" fmla="*/ 57 h 811"/>
              <a:gd name="T96" fmla="*/ 277 w 642"/>
              <a:gd name="T97" fmla="*/ 2 h 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2" h="811">
                <a:moveTo>
                  <a:pt x="321" y="707"/>
                </a:moveTo>
                <a:lnTo>
                  <a:pt x="334" y="707"/>
                </a:lnTo>
                <a:lnTo>
                  <a:pt x="348" y="711"/>
                </a:lnTo>
                <a:lnTo>
                  <a:pt x="363" y="721"/>
                </a:lnTo>
                <a:lnTo>
                  <a:pt x="379" y="730"/>
                </a:lnTo>
                <a:lnTo>
                  <a:pt x="395" y="740"/>
                </a:lnTo>
                <a:lnTo>
                  <a:pt x="411" y="747"/>
                </a:lnTo>
                <a:lnTo>
                  <a:pt x="427" y="750"/>
                </a:lnTo>
                <a:lnTo>
                  <a:pt x="443" y="747"/>
                </a:lnTo>
                <a:lnTo>
                  <a:pt x="459" y="740"/>
                </a:lnTo>
                <a:lnTo>
                  <a:pt x="475" y="730"/>
                </a:lnTo>
                <a:lnTo>
                  <a:pt x="491" y="721"/>
                </a:lnTo>
                <a:lnTo>
                  <a:pt x="508" y="711"/>
                </a:lnTo>
                <a:lnTo>
                  <a:pt x="524" y="707"/>
                </a:lnTo>
                <a:lnTo>
                  <a:pt x="541" y="707"/>
                </a:lnTo>
                <a:lnTo>
                  <a:pt x="558" y="712"/>
                </a:lnTo>
                <a:lnTo>
                  <a:pt x="575" y="719"/>
                </a:lnTo>
                <a:lnTo>
                  <a:pt x="582" y="725"/>
                </a:lnTo>
                <a:lnTo>
                  <a:pt x="586" y="733"/>
                </a:lnTo>
                <a:lnTo>
                  <a:pt x="587" y="740"/>
                </a:lnTo>
                <a:lnTo>
                  <a:pt x="587" y="776"/>
                </a:lnTo>
                <a:lnTo>
                  <a:pt x="587" y="778"/>
                </a:lnTo>
                <a:lnTo>
                  <a:pt x="586" y="780"/>
                </a:lnTo>
                <a:lnTo>
                  <a:pt x="583" y="782"/>
                </a:lnTo>
                <a:lnTo>
                  <a:pt x="581" y="783"/>
                </a:lnTo>
                <a:lnTo>
                  <a:pt x="579" y="783"/>
                </a:lnTo>
                <a:lnTo>
                  <a:pt x="575" y="782"/>
                </a:lnTo>
                <a:lnTo>
                  <a:pt x="558" y="773"/>
                </a:lnTo>
                <a:lnTo>
                  <a:pt x="541" y="769"/>
                </a:lnTo>
                <a:lnTo>
                  <a:pt x="524" y="768"/>
                </a:lnTo>
                <a:lnTo>
                  <a:pt x="508" y="773"/>
                </a:lnTo>
                <a:lnTo>
                  <a:pt x="491" y="782"/>
                </a:lnTo>
                <a:lnTo>
                  <a:pt x="475" y="793"/>
                </a:lnTo>
                <a:lnTo>
                  <a:pt x="459" y="801"/>
                </a:lnTo>
                <a:lnTo>
                  <a:pt x="443" y="809"/>
                </a:lnTo>
                <a:lnTo>
                  <a:pt x="427" y="811"/>
                </a:lnTo>
                <a:lnTo>
                  <a:pt x="411" y="809"/>
                </a:lnTo>
                <a:lnTo>
                  <a:pt x="395" y="801"/>
                </a:lnTo>
                <a:lnTo>
                  <a:pt x="379" y="793"/>
                </a:lnTo>
                <a:lnTo>
                  <a:pt x="363" y="782"/>
                </a:lnTo>
                <a:lnTo>
                  <a:pt x="348" y="773"/>
                </a:lnTo>
                <a:lnTo>
                  <a:pt x="334" y="769"/>
                </a:lnTo>
                <a:lnTo>
                  <a:pt x="321" y="768"/>
                </a:lnTo>
                <a:lnTo>
                  <a:pt x="307" y="769"/>
                </a:lnTo>
                <a:lnTo>
                  <a:pt x="295" y="773"/>
                </a:lnTo>
                <a:lnTo>
                  <a:pt x="278" y="782"/>
                </a:lnTo>
                <a:lnTo>
                  <a:pt x="262" y="793"/>
                </a:lnTo>
                <a:lnTo>
                  <a:pt x="246" y="801"/>
                </a:lnTo>
                <a:lnTo>
                  <a:pt x="231" y="809"/>
                </a:lnTo>
                <a:lnTo>
                  <a:pt x="214" y="811"/>
                </a:lnTo>
                <a:lnTo>
                  <a:pt x="198" y="809"/>
                </a:lnTo>
                <a:lnTo>
                  <a:pt x="183" y="801"/>
                </a:lnTo>
                <a:lnTo>
                  <a:pt x="167" y="793"/>
                </a:lnTo>
                <a:lnTo>
                  <a:pt x="151" y="782"/>
                </a:lnTo>
                <a:lnTo>
                  <a:pt x="135" y="773"/>
                </a:lnTo>
                <a:lnTo>
                  <a:pt x="118" y="768"/>
                </a:lnTo>
                <a:lnTo>
                  <a:pt x="101" y="769"/>
                </a:lnTo>
                <a:lnTo>
                  <a:pt x="83" y="773"/>
                </a:lnTo>
                <a:lnTo>
                  <a:pt x="66" y="782"/>
                </a:lnTo>
                <a:lnTo>
                  <a:pt x="64" y="783"/>
                </a:lnTo>
                <a:lnTo>
                  <a:pt x="61" y="783"/>
                </a:lnTo>
                <a:lnTo>
                  <a:pt x="58" y="782"/>
                </a:lnTo>
                <a:lnTo>
                  <a:pt x="57" y="780"/>
                </a:lnTo>
                <a:lnTo>
                  <a:pt x="54" y="778"/>
                </a:lnTo>
                <a:lnTo>
                  <a:pt x="54" y="776"/>
                </a:lnTo>
                <a:lnTo>
                  <a:pt x="54" y="740"/>
                </a:lnTo>
                <a:lnTo>
                  <a:pt x="55" y="733"/>
                </a:lnTo>
                <a:lnTo>
                  <a:pt x="60" y="725"/>
                </a:lnTo>
                <a:lnTo>
                  <a:pt x="66" y="719"/>
                </a:lnTo>
                <a:lnTo>
                  <a:pt x="83" y="712"/>
                </a:lnTo>
                <a:lnTo>
                  <a:pt x="101" y="707"/>
                </a:lnTo>
                <a:lnTo>
                  <a:pt x="118" y="707"/>
                </a:lnTo>
                <a:lnTo>
                  <a:pt x="135" y="711"/>
                </a:lnTo>
                <a:lnTo>
                  <a:pt x="151" y="721"/>
                </a:lnTo>
                <a:lnTo>
                  <a:pt x="167" y="730"/>
                </a:lnTo>
                <a:lnTo>
                  <a:pt x="183" y="740"/>
                </a:lnTo>
                <a:lnTo>
                  <a:pt x="198" y="747"/>
                </a:lnTo>
                <a:lnTo>
                  <a:pt x="214" y="750"/>
                </a:lnTo>
                <a:lnTo>
                  <a:pt x="231" y="747"/>
                </a:lnTo>
                <a:lnTo>
                  <a:pt x="246" y="740"/>
                </a:lnTo>
                <a:lnTo>
                  <a:pt x="262" y="730"/>
                </a:lnTo>
                <a:lnTo>
                  <a:pt x="278" y="721"/>
                </a:lnTo>
                <a:lnTo>
                  <a:pt x="295" y="711"/>
                </a:lnTo>
                <a:lnTo>
                  <a:pt x="307" y="707"/>
                </a:lnTo>
                <a:lnTo>
                  <a:pt x="321" y="707"/>
                </a:lnTo>
                <a:close/>
                <a:moveTo>
                  <a:pt x="174" y="105"/>
                </a:moveTo>
                <a:lnTo>
                  <a:pt x="169" y="105"/>
                </a:lnTo>
                <a:lnTo>
                  <a:pt x="165" y="107"/>
                </a:lnTo>
                <a:lnTo>
                  <a:pt x="162" y="111"/>
                </a:lnTo>
                <a:lnTo>
                  <a:pt x="159" y="115"/>
                </a:lnTo>
                <a:lnTo>
                  <a:pt x="159" y="120"/>
                </a:lnTo>
                <a:lnTo>
                  <a:pt x="159" y="167"/>
                </a:lnTo>
                <a:lnTo>
                  <a:pt x="158" y="172"/>
                </a:lnTo>
                <a:lnTo>
                  <a:pt x="157" y="176"/>
                </a:lnTo>
                <a:lnTo>
                  <a:pt x="153" y="179"/>
                </a:lnTo>
                <a:lnTo>
                  <a:pt x="149" y="182"/>
                </a:lnTo>
                <a:lnTo>
                  <a:pt x="145" y="182"/>
                </a:lnTo>
                <a:lnTo>
                  <a:pt x="126" y="182"/>
                </a:lnTo>
                <a:lnTo>
                  <a:pt x="110" y="182"/>
                </a:lnTo>
                <a:lnTo>
                  <a:pt x="98" y="182"/>
                </a:lnTo>
                <a:lnTo>
                  <a:pt x="92" y="182"/>
                </a:lnTo>
                <a:lnTo>
                  <a:pt x="92" y="258"/>
                </a:lnTo>
                <a:lnTo>
                  <a:pt x="321" y="227"/>
                </a:lnTo>
                <a:lnTo>
                  <a:pt x="550" y="258"/>
                </a:lnTo>
                <a:lnTo>
                  <a:pt x="550" y="182"/>
                </a:lnTo>
                <a:lnTo>
                  <a:pt x="544" y="182"/>
                </a:lnTo>
                <a:lnTo>
                  <a:pt x="532" y="182"/>
                </a:lnTo>
                <a:lnTo>
                  <a:pt x="515" y="182"/>
                </a:lnTo>
                <a:lnTo>
                  <a:pt x="497" y="182"/>
                </a:lnTo>
                <a:lnTo>
                  <a:pt x="493" y="182"/>
                </a:lnTo>
                <a:lnTo>
                  <a:pt x="488" y="179"/>
                </a:lnTo>
                <a:lnTo>
                  <a:pt x="486" y="176"/>
                </a:lnTo>
                <a:lnTo>
                  <a:pt x="483" y="172"/>
                </a:lnTo>
                <a:lnTo>
                  <a:pt x="483" y="167"/>
                </a:lnTo>
                <a:lnTo>
                  <a:pt x="483" y="120"/>
                </a:lnTo>
                <a:lnTo>
                  <a:pt x="482" y="115"/>
                </a:lnTo>
                <a:lnTo>
                  <a:pt x="480" y="111"/>
                </a:lnTo>
                <a:lnTo>
                  <a:pt x="477" y="107"/>
                </a:lnTo>
                <a:lnTo>
                  <a:pt x="472" y="105"/>
                </a:lnTo>
                <a:lnTo>
                  <a:pt x="469" y="105"/>
                </a:lnTo>
                <a:lnTo>
                  <a:pt x="174" y="105"/>
                </a:lnTo>
                <a:close/>
                <a:moveTo>
                  <a:pt x="290" y="0"/>
                </a:moveTo>
                <a:lnTo>
                  <a:pt x="351" y="0"/>
                </a:lnTo>
                <a:lnTo>
                  <a:pt x="366" y="2"/>
                </a:lnTo>
                <a:lnTo>
                  <a:pt x="378" y="11"/>
                </a:lnTo>
                <a:lnTo>
                  <a:pt x="385" y="23"/>
                </a:lnTo>
                <a:lnTo>
                  <a:pt x="388" y="37"/>
                </a:lnTo>
                <a:lnTo>
                  <a:pt x="388" y="57"/>
                </a:lnTo>
                <a:lnTo>
                  <a:pt x="477" y="57"/>
                </a:lnTo>
                <a:lnTo>
                  <a:pt x="492" y="60"/>
                </a:lnTo>
                <a:lnTo>
                  <a:pt x="503" y="68"/>
                </a:lnTo>
                <a:lnTo>
                  <a:pt x="511" y="79"/>
                </a:lnTo>
                <a:lnTo>
                  <a:pt x="514" y="94"/>
                </a:lnTo>
                <a:lnTo>
                  <a:pt x="514" y="150"/>
                </a:lnTo>
                <a:lnTo>
                  <a:pt x="552" y="150"/>
                </a:lnTo>
                <a:lnTo>
                  <a:pt x="566" y="153"/>
                </a:lnTo>
                <a:lnTo>
                  <a:pt x="577" y="161"/>
                </a:lnTo>
                <a:lnTo>
                  <a:pt x="586" y="172"/>
                </a:lnTo>
                <a:lnTo>
                  <a:pt x="588" y="187"/>
                </a:lnTo>
                <a:lnTo>
                  <a:pt x="588" y="264"/>
                </a:lnTo>
                <a:lnTo>
                  <a:pt x="614" y="267"/>
                </a:lnTo>
                <a:lnTo>
                  <a:pt x="627" y="272"/>
                </a:lnTo>
                <a:lnTo>
                  <a:pt x="637" y="282"/>
                </a:lnTo>
                <a:lnTo>
                  <a:pt x="642" y="296"/>
                </a:lnTo>
                <a:lnTo>
                  <a:pt x="641" y="310"/>
                </a:lnTo>
                <a:lnTo>
                  <a:pt x="526" y="684"/>
                </a:lnTo>
                <a:lnTo>
                  <a:pt x="511" y="685"/>
                </a:lnTo>
                <a:lnTo>
                  <a:pt x="498" y="690"/>
                </a:lnTo>
                <a:lnTo>
                  <a:pt x="482" y="699"/>
                </a:lnTo>
                <a:lnTo>
                  <a:pt x="466" y="708"/>
                </a:lnTo>
                <a:lnTo>
                  <a:pt x="453" y="717"/>
                </a:lnTo>
                <a:lnTo>
                  <a:pt x="439" y="724"/>
                </a:lnTo>
                <a:lnTo>
                  <a:pt x="427" y="727"/>
                </a:lnTo>
                <a:lnTo>
                  <a:pt x="415" y="724"/>
                </a:lnTo>
                <a:lnTo>
                  <a:pt x="403" y="717"/>
                </a:lnTo>
                <a:lnTo>
                  <a:pt x="388" y="708"/>
                </a:lnTo>
                <a:lnTo>
                  <a:pt x="373" y="699"/>
                </a:lnTo>
                <a:lnTo>
                  <a:pt x="357" y="690"/>
                </a:lnTo>
                <a:lnTo>
                  <a:pt x="339" y="685"/>
                </a:lnTo>
                <a:lnTo>
                  <a:pt x="321" y="684"/>
                </a:lnTo>
                <a:lnTo>
                  <a:pt x="302" y="685"/>
                </a:lnTo>
                <a:lnTo>
                  <a:pt x="285" y="690"/>
                </a:lnTo>
                <a:lnTo>
                  <a:pt x="269" y="699"/>
                </a:lnTo>
                <a:lnTo>
                  <a:pt x="253" y="708"/>
                </a:lnTo>
                <a:lnTo>
                  <a:pt x="240" y="717"/>
                </a:lnTo>
                <a:lnTo>
                  <a:pt x="227" y="724"/>
                </a:lnTo>
                <a:lnTo>
                  <a:pt x="214" y="727"/>
                </a:lnTo>
                <a:lnTo>
                  <a:pt x="202" y="724"/>
                </a:lnTo>
                <a:lnTo>
                  <a:pt x="190" y="717"/>
                </a:lnTo>
                <a:lnTo>
                  <a:pt x="175" y="708"/>
                </a:lnTo>
                <a:lnTo>
                  <a:pt x="160" y="699"/>
                </a:lnTo>
                <a:lnTo>
                  <a:pt x="145" y="690"/>
                </a:lnTo>
                <a:lnTo>
                  <a:pt x="131" y="685"/>
                </a:lnTo>
                <a:lnTo>
                  <a:pt x="116" y="684"/>
                </a:lnTo>
                <a:lnTo>
                  <a:pt x="2" y="310"/>
                </a:lnTo>
                <a:lnTo>
                  <a:pt x="0" y="296"/>
                </a:lnTo>
                <a:lnTo>
                  <a:pt x="5" y="282"/>
                </a:lnTo>
                <a:lnTo>
                  <a:pt x="15" y="272"/>
                </a:lnTo>
                <a:lnTo>
                  <a:pt x="28" y="267"/>
                </a:lnTo>
                <a:lnTo>
                  <a:pt x="53" y="264"/>
                </a:lnTo>
                <a:lnTo>
                  <a:pt x="53" y="187"/>
                </a:lnTo>
                <a:lnTo>
                  <a:pt x="57" y="172"/>
                </a:lnTo>
                <a:lnTo>
                  <a:pt x="64" y="161"/>
                </a:lnTo>
                <a:lnTo>
                  <a:pt x="76" y="153"/>
                </a:lnTo>
                <a:lnTo>
                  <a:pt x="91" y="150"/>
                </a:lnTo>
                <a:lnTo>
                  <a:pt x="127" y="150"/>
                </a:lnTo>
                <a:lnTo>
                  <a:pt x="127" y="94"/>
                </a:lnTo>
                <a:lnTo>
                  <a:pt x="130" y="79"/>
                </a:lnTo>
                <a:lnTo>
                  <a:pt x="138" y="68"/>
                </a:lnTo>
                <a:lnTo>
                  <a:pt x="151" y="60"/>
                </a:lnTo>
                <a:lnTo>
                  <a:pt x="164" y="57"/>
                </a:lnTo>
                <a:lnTo>
                  <a:pt x="253" y="57"/>
                </a:lnTo>
                <a:lnTo>
                  <a:pt x="253" y="37"/>
                </a:lnTo>
                <a:lnTo>
                  <a:pt x="256" y="23"/>
                </a:lnTo>
                <a:lnTo>
                  <a:pt x="264" y="11"/>
                </a:lnTo>
                <a:lnTo>
                  <a:pt x="277" y="2"/>
                </a:lnTo>
                <a:lnTo>
                  <a:pt x="290" y="0"/>
                </a:ln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9" name="Freeform 581">
            <a:extLst>
              <a:ext uri="{FF2B5EF4-FFF2-40B4-BE49-F238E27FC236}">
                <a16:creationId xmlns:a16="http://schemas.microsoft.com/office/drawing/2014/main" id="{2DAE6360-BA16-497F-A0A2-49BD862C4B18}"/>
              </a:ext>
            </a:extLst>
          </p:cNvPr>
          <p:cNvSpPr>
            <a:spLocks noEditPoints="1"/>
          </p:cNvSpPr>
          <p:nvPr/>
        </p:nvSpPr>
        <p:spPr bwMode="auto">
          <a:xfrm>
            <a:off x="1026389" y="2402156"/>
            <a:ext cx="178017" cy="163812"/>
          </a:xfrm>
          <a:custGeom>
            <a:avLst/>
            <a:gdLst>
              <a:gd name="T0" fmla="*/ 363 w 642"/>
              <a:gd name="T1" fmla="*/ 721 h 811"/>
              <a:gd name="T2" fmla="*/ 427 w 642"/>
              <a:gd name="T3" fmla="*/ 750 h 811"/>
              <a:gd name="T4" fmla="*/ 491 w 642"/>
              <a:gd name="T5" fmla="*/ 721 h 811"/>
              <a:gd name="T6" fmla="*/ 558 w 642"/>
              <a:gd name="T7" fmla="*/ 712 h 811"/>
              <a:gd name="T8" fmla="*/ 587 w 642"/>
              <a:gd name="T9" fmla="*/ 740 h 811"/>
              <a:gd name="T10" fmla="*/ 583 w 642"/>
              <a:gd name="T11" fmla="*/ 782 h 811"/>
              <a:gd name="T12" fmla="*/ 558 w 642"/>
              <a:gd name="T13" fmla="*/ 773 h 811"/>
              <a:gd name="T14" fmla="*/ 491 w 642"/>
              <a:gd name="T15" fmla="*/ 782 h 811"/>
              <a:gd name="T16" fmla="*/ 427 w 642"/>
              <a:gd name="T17" fmla="*/ 811 h 811"/>
              <a:gd name="T18" fmla="*/ 363 w 642"/>
              <a:gd name="T19" fmla="*/ 782 h 811"/>
              <a:gd name="T20" fmla="*/ 307 w 642"/>
              <a:gd name="T21" fmla="*/ 769 h 811"/>
              <a:gd name="T22" fmla="*/ 246 w 642"/>
              <a:gd name="T23" fmla="*/ 801 h 811"/>
              <a:gd name="T24" fmla="*/ 183 w 642"/>
              <a:gd name="T25" fmla="*/ 801 h 811"/>
              <a:gd name="T26" fmla="*/ 118 w 642"/>
              <a:gd name="T27" fmla="*/ 768 h 811"/>
              <a:gd name="T28" fmla="*/ 64 w 642"/>
              <a:gd name="T29" fmla="*/ 783 h 811"/>
              <a:gd name="T30" fmla="*/ 54 w 642"/>
              <a:gd name="T31" fmla="*/ 778 h 811"/>
              <a:gd name="T32" fmla="*/ 60 w 642"/>
              <a:gd name="T33" fmla="*/ 725 h 811"/>
              <a:gd name="T34" fmla="*/ 118 w 642"/>
              <a:gd name="T35" fmla="*/ 707 h 811"/>
              <a:gd name="T36" fmla="*/ 183 w 642"/>
              <a:gd name="T37" fmla="*/ 740 h 811"/>
              <a:gd name="T38" fmla="*/ 246 w 642"/>
              <a:gd name="T39" fmla="*/ 740 h 811"/>
              <a:gd name="T40" fmla="*/ 307 w 642"/>
              <a:gd name="T41" fmla="*/ 707 h 811"/>
              <a:gd name="T42" fmla="*/ 165 w 642"/>
              <a:gd name="T43" fmla="*/ 107 h 811"/>
              <a:gd name="T44" fmla="*/ 159 w 642"/>
              <a:gd name="T45" fmla="*/ 167 h 811"/>
              <a:gd name="T46" fmla="*/ 149 w 642"/>
              <a:gd name="T47" fmla="*/ 182 h 811"/>
              <a:gd name="T48" fmla="*/ 98 w 642"/>
              <a:gd name="T49" fmla="*/ 182 h 811"/>
              <a:gd name="T50" fmla="*/ 550 w 642"/>
              <a:gd name="T51" fmla="*/ 258 h 811"/>
              <a:gd name="T52" fmla="*/ 515 w 642"/>
              <a:gd name="T53" fmla="*/ 182 h 811"/>
              <a:gd name="T54" fmla="*/ 486 w 642"/>
              <a:gd name="T55" fmla="*/ 176 h 811"/>
              <a:gd name="T56" fmla="*/ 482 w 642"/>
              <a:gd name="T57" fmla="*/ 115 h 811"/>
              <a:gd name="T58" fmla="*/ 469 w 642"/>
              <a:gd name="T59" fmla="*/ 105 h 811"/>
              <a:gd name="T60" fmla="*/ 366 w 642"/>
              <a:gd name="T61" fmla="*/ 2 h 811"/>
              <a:gd name="T62" fmla="*/ 388 w 642"/>
              <a:gd name="T63" fmla="*/ 57 h 811"/>
              <a:gd name="T64" fmla="*/ 511 w 642"/>
              <a:gd name="T65" fmla="*/ 79 h 811"/>
              <a:gd name="T66" fmla="*/ 566 w 642"/>
              <a:gd name="T67" fmla="*/ 153 h 811"/>
              <a:gd name="T68" fmla="*/ 588 w 642"/>
              <a:gd name="T69" fmla="*/ 264 h 811"/>
              <a:gd name="T70" fmla="*/ 642 w 642"/>
              <a:gd name="T71" fmla="*/ 296 h 811"/>
              <a:gd name="T72" fmla="*/ 498 w 642"/>
              <a:gd name="T73" fmla="*/ 690 h 811"/>
              <a:gd name="T74" fmla="*/ 439 w 642"/>
              <a:gd name="T75" fmla="*/ 724 h 811"/>
              <a:gd name="T76" fmla="*/ 388 w 642"/>
              <a:gd name="T77" fmla="*/ 708 h 811"/>
              <a:gd name="T78" fmla="*/ 321 w 642"/>
              <a:gd name="T79" fmla="*/ 684 h 811"/>
              <a:gd name="T80" fmla="*/ 253 w 642"/>
              <a:gd name="T81" fmla="*/ 708 h 811"/>
              <a:gd name="T82" fmla="*/ 202 w 642"/>
              <a:gd name="T83" fmla="*/ 724 h 811"/>
              <a:gd name="T84" fmla="*/ 145 w 642"/>
              <a:gd name="T85" fmla="*/ 690 h 811"/>
              <a:gd name="T86" fmla="*/ 0 w 642"/>
              <a:gd name="T87" fmla="*/ 296 h 811"/>
              <a:gd name="T88" fmla="*/ 53 w 642"/>
              <a:gd name="T89" fmla="*/ 264 h 811"/>
              <a:gd name="T90" fmla="*/ 76 w 642"/>
              <a:gd name="T91" fmla="*/ 153 h 811"/>
              <a:gd name="T92" fmla="*/ 130 w 642"/>
              <a:gd name="T93" fmla="*/ 79 h 811"/>
              <a:gd name="T94" fmla="*/ 253 w 642"/>
              <a:gd name="T95" fmla="*/ 57 h 811"/>
              <a:gd name="T96" fmla="*/ 277 w 642"/>
              <a:gd name="T97" fmla="*/ 2 h 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2" h="811">
                <a:moveTo>
                  <a:pt x="321" y="707"/>
                </a:moveTo>
                <a:lnTo>
                  <a:pt x="334" y="707"/>
                </a:lnTo>
                <a:lnTo>
                  <a:pt x="348" y="711"/>
                </a:lnTo>
                <a:lnTo>
                  <a:pt x="363" y="721"/>
                </a:lnTo>
                <a:lnTo>
                  <a:pt x="379" y="730"/>
                </a:lnTo>
                <a:lnTo>
                  <a:pt x="395" y="740"/>
                </a:lnTo>
                <a:lnTo>
                  <a:pt x="411" y="747"/>
                </a:lnTo>
                <a:lnTo>
                  <a:pt x="427" y="750"/>
                </a:lnTo>
                <a:lnTo>
                  <a:pt x="443" y="747"/>
                </a:lnTo>
                <a:lnTo>
                  <a:pt x="459" y="740"/>
                </a:lnTo>
                <a:lnTo>
                  <a:pt x="475" y="730"/>
                </a:lnTo>
                <a:lnTo>
                  <a:pt x="491" y="721"/>
                </a:lnTo>
                <a:lnTo>
                  <a:pt x="508" y="711"/>
                </a:lnTo>
                <a:lnTo>
                  <a:pt x="524" y="707"/>
                </a:lnTo>
                <a:lnTo>
                  <a:pt x="541" y="707"/>
                </a:lnTo>
                <a:lnTo>
                  <a:pt x="558" y="712"/>
                </a:lnTo>
                <a:lnTo>
                  <a:pt x="575" y="719"/>
                </a:lnTo>
                <a:lnTo>
                  <a:pt x="582" y="725"/>
                </a:lnTo>
                <a:lnTo>
                  <a:pt x="586" y="733"/>
                </a:lnTo>
                <a:lnTo>
                  <a:pt x="587" y="740"/>
                </a:lnTo>
                <a:lnTo>
                  <a:pt x="587" y="776"/>
                </a:lnTo>
                <a:lnTo>
                  <a:pt x="587" y="778"/>
                </a:lnTo>
                <a:lnTo>
                  <a:pt x="586" y="780"/>
                </a:lnTo>
                <a:lnTo>
                  <a:pt x="583" y="782"/>
                </a:lnTo>
                <a:lnTo>
                  <a:pt x="581" y="783"/>
                </a:lnTo>
                <a:lnTo>
                  <a:pt x="579" y="783"/>
                </a:lnTo>
                <a:lnTo>
                  <a:pt x="575" y="782"/>
                </a:lnTo>
                <a:lnTo>
                  <a:pt x="558" y="773"/>
                </a:lnTo>
                <a:lnTo>
                  <a:pt x="541" y="769"/>
                </a:lnTo>
                <a:lnTo>
                  <a:pt x="524" y="768"/>
                </a:lnTo>
                <a:lnTo>
                  <a:pt x="508" y="773"/>
                </a:lnTo>
                <a:lnTo>
                  <a:pt x="491" y="782"/>
                </a:lnTo>
                <a:lnTo>
                  <a:pt x="475" y="793"/>
                </a:lnTo>
                <a:lnTo>
                  <a:pt x="459" y="801"/>
                </a:lnTo>
                <a:lnTo>
                  <a:pt x="443" y="809"/>
                </a:lnTo>
                <a:lnTo>
                  <a:pt x="427" y="811"/>
                </a:lnTo>
                <a:lnTo>
                  <a:pt x="411" y="809"/>
                </a:lnTo>
                <a:lnTo>
                  <a:pt x="395" y="801"/>
                </a:lnTo>
                <a:lnTo>
                  <a:pt x="379" y="793"/>
                </a:lnTo>
                <a:lnTo>
                  <a:pt x="363" y="782"/>
                </a:lnTo>
                <a:lnTo>
                  <a:pt x="348" y="773"/>
                </a:lnTo>
                <a:lnTo>
                  <a:pt x="334" y="769"/>
                </a:lnTo>
                <a:lnTo>
                  <a:pt x="321" y="768"/>
                </a:lnTo>
                <a:lnTo>
                  <a:pt x="307" y="769"/>
                </a:lnTo>
                <a:lnTo>
                  <a:pt x="295" y="773"/>
                </a:lnTo>
                <a:lnTo>
                  <a:pt x="278" y="782"/>
                </a:lnTo>
                <a:lnTo>
                  <a:pt x="262" y="793"/>
                </a:lnTo>
                <a:lnTo>
                  <a:pt x="246" y="801"/>
                </a:lnTo>
                <a:lnTo>
                  <a:pt x="231" y="809"/>
                </a:lnTo>
                <a:lnTo>
                  <a:pt x="214" y="811"/>
                </a:lnTo>
                <a:lnTo>
                  <a:pt x="198" y="809"/>
                </a:lnTo>
                <a:lnTo>
                  <a:pt x="183" y="801"/>
                </a:lnTo>
                <a:lnTo>
                  <a:pt x="167" y="793"/>
                </a:lnTo>
                <a:lnTo>
                  <a:pt x="151" y="782"/>
                </a:lnTo>
                <a:lnTo>
                  <a:pt x="135" y="773"/>
                </a:lnTo>
                <a:lnTo>
                  <a:pt x="118" y="768"/>
                </a:lnTo>
                <a:lnTo>
                  <a:pt x="101" y="769"/>
                </a:lnTo>
                <a:lnTo>
                  <a:pt x="83" y="773"/>
                </a:lnTo>
                <a:lnTo>
                  <a:pt x="66" y="782"/>
                </a:lnTo>
                <a:lnTo>
                  <a:pt x="64" y="783"/>
                </a:lnTo>
                <a:lnTo>
                  <a:pt x="61" y="783"/>
                </a:lnTo>
                <a:lnTo>
                  <a:pt x="58" y="782"/>
                </a:lnTo>
                <a:lnTo>
                  <a:pt x="57" y="780"/>
                </a:lnTo>
                <a:lnTo>
                  <a:pt x="54" y="778"/>
                </a:lnTo>
                <a:lnTo>
                  <a:pt x="54" y="776"/>
                </a:lnTo>
                <a:lnTo>
                  <a:pt x="54" y="740"/>
                </a:lnTo>
                <a:lnTo>
                  <a:pt x="55" y="733"/>
                </a:lnTo>
                <a:lnTo>
                  <a:pt x="60" y="725"/>
                </a:lnTo>
                <a:lnTo>
                  <a:pt x="66" y="719"/>
                </a:lnTo>
                <a:lnTo>
                  <a:pt x="83" y="712"/>
                </a:lnTo>
                <a:lnTo>
                  <a:pt x="101" y="707"/>
                </a:lnTo>
                <a:lnTo>
                  <a:pt x="118" y="707"/>
                </a:lnTo>
                <a:lnTo>
                  <a:pt x="135" y="711"/>
                </a:lnTo>
                <a:lnTo>
                  <a:pt x="151" y="721"/>
                </a:lnTo>
                <a:lnTo>
                  <a:pt x="167" y="730"/>
                </a:lnTo>
                <a:lnTo>
                  <a:pt x="183" y="740"/>
                </a:lnTo>
                <a:lnTo>
                  <a:pt x="198" y="747"/>
                </a:lnTo>
                <a:lnTo>
                  <a:pt x="214" y="750"/>
                </a:lnTo>
                <a:lnTo>
                  <a:pt x="231" y="747"/>
                </a:lnTo>
                <a:lnTo>
                  <a:pt x="246" y="740"/>
                </a:lnTo>
                <a:lnTo>
                  <a:pt x="262" y="730"/>
                </a:lnTo>
                <a:lnTo>
                  <a:pt x="278" y="721"/>
                </a:lnTo>
                <a:lnTo>
                  <a:pt x="295" y="711"/>
                </a:lnTo>
                <a:lnTo>
                  <a:pt x="307" y="707"/>
                </a:lnTo>
                <a:lnTo>
                  <a:pt x="321" y="707"/>
                </a:lnTo>
                <a:close/>
                <a:moveTo>
                  <a:pt x="174" y="105"/>
                </a:moveTo>
                <a:lnTo>
                  <a:pt x="169" y="105"/>
                </a:lnTo>
                <a:lnTo>
                  <a:pt x="165" y="107"/>
                </a:lnTo>
                <a:lnTo>
                  <a:pt x="162" y="111"/>
                </a:lnTo>
                <a:lnTo>
                  <a:pt x="159" y="115"/>
                </a:lnTo>
                <a:lnTo>
                  <a:pt x="159" y="120"/>
                </a:lnTo>
                <a:lnTo>
                  <a:pt x="159" y="167"/>
                </a:lnTo>
                <a:lnTo>
                  <a:pt x="158" y="172"/>
                </a:lnTo>
                <a:lnTo>
                  <a:pt x="157" y="176"/>
                </a:lnTo>
                <a:lnTo>
                  <a:pt x="153" y="179"/>
                </a:lnTo>
                <a:lnTo>
                  <a:pt x="149" y="182"/>
                </a:lnTo>
                <a:lnTo>
                  <a:pt x="145" y="182"/>
                </a:lnTo>
                <a:lnTo>
                  <a:pt x="126" y="182"/>
                </a:lnTo>
                <a:lnTo>
                  <a:pt x="110" y="182"/>
                </a:lnTo>
                <a:lnTo>
                  <a:pt x="98" y="182"/>
                </a:lnTo>
                <a:lnTo>
                  <a:pt x="92" y="182"/>
                </a:lnTo>
                <a:lnTo>
                  <a:pt x="92" y="258"/>
                </a:lnTo>
                <a:lnTo>
                  <a:pt x="321" y="227"/>
                </a:lnTo>
                <a:lnTo>
                  <a:pt x="550" y="258"/>
                </a:lnTo>
                <a:lnTo>
                  <a:pt x="550" y="182"/>
                </a:lnTo>
                <a:lnTo>
                  <a:pt x="544" y="182"/>
                </a:lnTo>
                <a:lnTo>
                  <a:pt x="532" y="182"/>
                </a:lnTo>
                <a:lnTo>
                  <a:pt x="515" y="182"/>
                </a:lnTo>
                <a:lnTo>
                  <a:pt x="497" y="182"/>
                </a:lnTo>
                <a:lnTo>
                  <a:pt x="493" y="182"/>
                </a:lnTo>
                <a:lnTo>
                  <a:pt x="488" y="179"/>
                </a:lnTo>
                <a:lnTo>
                  <a:pt x="486" y="176"/>
                </a:lnTo>
                <a:lnTo>
                  <a:pt x="483" y="172"/>
                </a:lnTo>
                <a:lnTo>
                  <a:pt x="483" y="167"/>
                </a:lnTo>
                <a:lnTo>
                  <a:pt x="483" y="120"/>
                </a:lnTo>
                <a:lnTo>
                  <a:pt x="482" y="115"/>
                </a:lnTo>
                <a:lnTo>
                  <a:pt x="480" y="111"/>
                </a:lnTo>
                <a:lnTo>
                  <a:pt x="477" y="107"/>
                </a:lnTo>
                <a:lnTo>
                  <a:pt x="472" y="105"/>
                </a:lnTo>
                <a:lnTo>
                  <a:pt x="469" y="105"/>
                </a:lnTo>
                <a:lnTo>
                  <a:pt x="174" y="105"/>
                </a:lnTo>
                <a:close/>
                <a:moveTo>
                  <a:pt x="290" y="0"/>
                </a:moveTo>
                <a:lnTo>
                  <a:pt x="351" y="0"/>
                </a:lnTo>
                <a:lnTo>
                  <a:pt x="366" y="2"/>
                </a:lnTo>
                <a:lnTo>
                  <a:pt x="378" y="11"/>
                </a:lnTo>
                <a:lnTo>
                  <a:pt x="385" y="23"/>
                </a:lnTo>
                <a:lnTo>
                  <a:pt x="388" y="37"/>
                </a:lnTo>
                <a:lnTo>
                  <a:pt x="388" y="57"/>
                </a:lnTo>
                <a:lnTo>
                  <a:pt x="477" y="57"/>
                </a:lnTo>
                <a:lnTo>
                  <a:pt x="492" y="60"/>
                </a:lnTo>
                <a:lnTo>
                  <a:pt x="503" y="68"/>
                </a:lnTo>
                <a:lnTo>
                  <a:pt x="511" y="79"/>
                </a:lnTo>
                <a:lnTo>
                  <a:pt x="514" y="94"/>
                </a:lnTo>
                <a:lnTo>
                  <a:pt x="514" y="150"/>
                </a:lnTo>
                <a:lnTo>
                  <a:pt x="552" y="150"/>
                </a:lnTo>
                <a:lnTo>
                  <a:pt x="566" y="153"/>
                </a:lnTo>
                <a:lnTo>
                  <a:pt x="577" y="161"/>
                </a:lnTo>
                <a:lnTo>
                  <a:pt x="586" y="172"/>
                </a:lnTo>
                <a:lnTo>
                  <a:pt x="588" y="187"/>
                </a:lnTo>
                <a:lnTo>
                  <a:pt x="588" y="264"/>
                </a:lnTo>
                <a:lnTo>
                  <a:pt x="614" y="267"/>
                </a:lnTo>
                <a:lnTo>
                  <a:pt x="627" y="272"/>
                </a:lnTo>
                <a:lnTo>
                  <a:pt x="637" y="282"/>
                </a:lnTo>
                <a:lnTo>
                  <a:pt x="642" y="296"/>
                </a:lnTo>
                <a:lnTo>
                  <a:pt x="641" y="310"/>
                </a:lnTo>
                <a:lnTo>
                  <a:pt x="526" y="684"/>
                </a:lnTo>
                <a:lnTo>
                  <a:pt x="511" y="685"/>
                </a:lnTo>
                <a:lnTo>
                  <a:pt x="498" y="690"/>
                </a:lnTo>
                <a:lnTo>
                  <a:pt x="482" y="699"/>
                </a:lnTo>
                <a:lnTo>
                  <a:pt x="466" y="708"/>
                </a:lnTo>
                <a:lnTo>
                  <a:pt x="453" y="717"/>
                </a:lnTo>
                <a:lnTo>
                  <a:pt x="439" y="724"/>
                </a:lnTo>
                <a:lnTo>
                  <a:pt x="427" y="727"/>
                </a:lnTo>
                <a:lnTo>
                  <a:pt x="415" y="724"/>
                </a:lnTo>
                <a:lnTo>
                  <a:pt x="403" y="717"/>
                </a:lnTo>
                <a:lnTo>
                  <a:pt x="388" y="708"/>
                </a:lnTo>
                <a:lnTo>
                  <a:pt x="373" y="699"/>
                </a:lnTo>
                <a:lnTo>
                  <a:pt x="357" y="690"/>
                </a:lnTo>
                <a:lnTo>
                  <a:pt x="339" y="685"/>
                </a:lnTo>
                <a:lnTo>
                  <a:pt x="321" y="684"/>
                </a:lnTo>
                <a:lnTo>
                  <a:pt x="302" y="685"/>
                </a:lnTo>
                <a:lnTo>
                  <a:pt x="285" y="690"/>
                </a:lnTo>
                <a:lnTo>
                  <a:pt x="269" y="699"/>
                </a:lnTo>
                <a:lnTo>
                  <a:pt x="253" y="708"/>
                </a:lnTo>
                <a:lnTo>
                  <a:pt x="240" y="717"/>
                </a:lnTo>
                <a:lnTo>
                  <a:pt x="227" y="724"/>
                </a:lnTo>
                <a:lnTo>
                  <a:pt x="214" y="727"/>
                </a:lnTo>
                <a:lnTo>
                  <a:pt x="202" y="724"/>
                </a:lnTo>
                <a:lnTo>
                  <a:pt x="190" y="717"/>
                </a:lnTo>
                <a:lnTo>
                  <a:pt x="175" y="708"/>
                </a:lnTo>
                <a:lnTo>
                  <a:pt x="160" y="699"/>
                </a:lnTo>
                <a:lnTo>
                  <a:pt x="145" y="690"/>
                </a:lnTo>
                <a:lnTo>
                  <a:pt x="131" y="685"/>
                </a:lnTo>
                <a:lnTo>
                  <a:pt x="116" y="684"/>
                </a:lnTo>
                <a:lnTo>
                  <a:pt x="2" y="310"/>
                </a:lnTo>
                <a:lnTo>
                  <a:pt x="0" y="296"/>
                </a:lnTo>
                <a:lnTo>
                  <a:pt x="5" y="282"/>
                </a:lnTo>
                <a:lnTo>
                  <a:pt x="15" y="272"/>
                </a:lnTo>
                <a:lnTo>
                  <a:pt x="28" y="267"/>
                </a:lnTo>
                <a:lnTo>
                  <a:pt x="53" y="264"/>
                </a:lnTo>
                <a:lnTo>
                  <a:pt x="53" y="187"/>
                </a:lnTo>
                <a:lnTo>
                  <a:pt x="57" y="172"/>
                </a:lnTo>
                <a:lnTo>
                  <a:pt x="64" y="161"/>
                </a:lnTo>
                <a:lnTo>
                  <a:pt x="76" y="153"/>
                </a:lnTo>
                <a:lnTo>
                  <a:pt x="91" y="150"/>
                </a:lnTo>
                <a:lnTo>
                  <a:pt x="127" y="150"/>
                </a:lnTo>
                <a:lnTo>
                  <a:pt x="127" y="94"/>
                </a:lnTo>
                <a:lnTo>
                  <a:pt x="130" y="79"/>
                </a:lnTo>
                <a:lnTo>
                  <a:pt x="138" y="68"/>
                </a:lnTo>
                <a:lnTo>
                  <a:pt x="151" y="60"/>
                </a:lnTo>
                <a:lnTo>
                  <a:pt x="164" y="57"/>
                </a:lnTo>
                <a:lnTo>
                  <a:pt x="253" y="57"/>
                </a:lnTo>
                <a:lnTo>
                  <a:pt x="253" y="37"/>
                </a:lnTo>
                <a:lnTo>
                  <a:pt x="256" y="23"/>
                </a:lnTo>
                <a:lnTo>
                  <a:pt x="264" y="11"/>
                </a:lnTo>
                <a:lnTo>
                  <a:pt x="277" y="2"/>
                </a:lnTo>
                <a:lnTo>
                  <a:pt x="290" y="0"/>
                </a:lnTo>
                <a:close/>
              </a:path>
            </a:pathLst>
          </a:custGeom>
          <a:solidFill>
            <a:srgbClr val="0A2966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0" name="Freeform 581"/>
          <p:cNvSpPr>
            <a:spLocks noEditPoints="1"/>
          </p:cNvSpPr>
          <p:nvPr/>
        </p:nvSpPr>
        <p:spPr bwMode="auto">
          <a:xfrm>
            <a:off x="2890905" y="1803763"/>
            <a:ext cx="184865" cy="177411"/>
          </a:xfrm>
          <a:custGeom>
            <a:avLst/>
            <a:gdLst>
              <a:gd name="T0" fmla="*/ 363 w 642"/>
              <a:gd name="T1" fmla="*/ 721 h 811"/>
              <a:gd name="T2" fmla="*/ 427 w 642"/>
              <a:gd name="T3" fmla="*/ 750 h 811"/>
              <a:gd name="T4" fmla="*/ 491 w 642"/>
              <a:gd name="T5" fmla="*/ 721 h 811"/>
              <a:gd name="T6" fmla="*/ 558 w 642"/>
              <a:gd name="T7" fmla="*/ 712 h 811"/>
              <a:gd name="T8" fmla="*/ 587 w 642"/>
              <a:gd name="T9" fmla="*/ 740 h 811"/>
              <a:gd name="T10" fmla="*/ 583 w 642"/>
              <a:gd name="T11" fmla="*/ 782 h 811"/>
              <a:gd name="T12" fmla="*/ 558 w 642"/>
              <a:gd name="T13" fmla="*/ 773 h 811"/>
              <a:gd name="T14" fmla="*/ 491 w 642"/>
              <a:gd name="T15" fmla="*/ 782 h 811"/>
              <a:gd name="T16" fmla="*/ 427 w 642"/>
              <a:gd name="T17" fmla="*/ 811 h 811"/>
              <a:gd name="T18" fmla="*/ 363 w 642"/>
              <a:gd name="T19" fmla="*/ 782 h 811"/>
              <a:gd name="T20" fmla="*/ 307 w 642"/>
              <a:gd name="T21" fmla="*/ 769 h 811"/>
              <a:gd name="T22" fmla="*/ 246 w 642"/>
              <a:gd name="T23" fmla="*/ 801 h 811"/>
              <a:gd name="T24" fmla="*/ 183 w 642"/>
              <a:gd name="T25" fmla="*/ 801 h 811"/>
              <a:gd name="T26" fmla="*/ 118 w 642"/>
              <a:gd name="T27" fmla="*/ 768 h 811"/>
              <a:gd name="T28" fmla="*/ 64 w 642"/>
              <a:gd name="T29" fmla="*/ 783 h 811"/>
              <a:gd name="T30" fmla="*/ 54 w 642"/>
              <a:gd name="T31" fmla="*/ 778 h 811"/>
              <a:gd name="T32" fmla="*/ 60 w 642"/>
              <a:gd name="T33" fmla="*/ 725 h 811"/>
              <a:gd name="T34" fmla="*/ 118 w 642"/>
              <a:gd name="T35" fmla="*/ 707 h 811"/>
              <a:gd name="T36" fmla="*/ 183 w 642"/>
              <a:gd name="T37" fmla="*/ 740 h 811"/>
              <a:gd name="T38" fmla="*/ 246 w 642"/>
              <a:gd name="T39" fmla="*/ 740 h 811"/>
              <a:gd name="T40" fmla="*/ 307 w 642"/>
              <a:gd name="T41" fmla="*/ 707 h 811"/>
              <a:gd name="T42" fmla="*/ 165 w 642"/>
              <a:gd name="T43" fmla="*/ 107 h 811"/>
              <a:gd name="T44" fmla="*/ 159 w 642"/>
              <a:gd name="T45" fmla="*/ 167 h 811"/>
              <a:gd name="T46" fmla="*/ 149 w 642"/>
              <a:gd name="T47" fmla="*/ 182 h 811"/>
              <a:gd name="T48" fmla="*/ 98 w 642"/>
              <a:gd name="T49" fmla="*/ 182 h 811"/>
              <a:gd name="T50" fmla="*/ 550 w 642"/>
              <a:gd name="T51" fmla="*/ 258 h 811"/>
              <a:gd name="T52" fmla="*/ 515 w 642"/>
              <a:gd name="T53" fmla="*/ 182 h 811"/>
              <a:gd name="T54" fmla="*/ 486 w 642"/>
              <a:gd name="T55" fmla="*/ 176 h 811"/>
              <a:gd name="T56" fmla="*/ 482 w 642"/>
              <a:gd name="T57" fmla="*/ 115 h 811"/>
              <a:gd name="T58" fmla="*/ 469 w 642"/>
              <a:gd name="T59" fmla="*/ 105 h 811"/>
              <a:gd name="T60" fmla="*/ 366 w 642"/>
              <a:gd name="T61" fmla="*/ 2 h 811"/>
              <a:gd name="T62" fmla="*/ 388 w 642"/>
              <a:gd name="T63" fmla="*/ 57 h 811"/>
              <a:gd name="T64" fmla="*/ 511 w 642"/>
              <a:gd name="T65" fmla="*/ 79 h 811"/>
              <a:gd name="T66" fmla="*/ 566 w 642"/>
              <a:gd name="T67" fmla="*/ 153 h 811"/>
              <a:gd name="T68" fmla="*/ 588 w 642"/>
              <a:gd name="T69" fmla="*/ 264 h 811"/>
              <a:gd name="T70" fmla="*/ 642 w 642"/>
              <a:gd name="T71" fmla="*/ 296 h 811"/>
              <a:gd name="T72" fmla="*/ 498 w 642"/>
              <a:gd name="T73" fmla="*/ 690 h 811"/>
              <a:gd name="T74" fmla="*/ 439 w 642"/>
              <a:gd name="T75" fmla="*/ 724 h 811"/>
              <a:gd name="T76" fmla="*/ 388 w 642"/>
              <a:gd name="T77" fmla="*/ 708 h 811"/>
              <a:gd name="T78" fmla="*/ 321 w 642"/>
              <a:gd name="T79" fmla="*/ 684 h 811"/>
              <a:gd name="T80" fmla="*/ 253 w 642"/>
              <a:gd name="T81" fmla="*/ 708 h 811"/>
              <a:gd name="T82" fmla="*/ 202 w 642"/>
              <a:gd name="T83" fmla="*/ 724 h 811"/>
              <a:gd name="T84" fmla="*/ 145 w 642"/>
              <a:gd name="T85" fmla="*/ 690 h 811"/>
              <a:gd name="T86" fmla="*/ 0 w 642"/>
              <a:gd name="T87" fmla="*/ 296 h 811"/>
              <a:gd name="T88" fmla="*/ 53 w 642"/>
              <a:gd name="T89" fmla="*/ 264 h 811"/>
              <a:gd name="T90" fmla="*/ 76 w 642"/>
              <a:gd name="T91" fmla="*/ 153 h 811"/>
              <a:gd name="T92" fmla="*/ 130 w 642"/>
              <a:gd name="T93" fmla="*/ 79 h 811"/>
              <a:gd name="T94" fmla="*/ 253 w 642"/>
              <a:gd name="T95" fmla="*/ 57 h 811"/>
              <a:gd name="T96" fmla="*/ 277 w 642"/>
              <a:gd name="T97" fmla="*/ 2 h 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2" h="811">
                <a:moveTo>
                  <a:pt x="321" y="707"/>
                </a:moveTo>
                <a:lnTo>
                  <a:pt x="334" y="707"/>
                </a:lnTo>
                <a:lnTo>
                  <a:pt x="348" y="711"/>
                </a:lnTo>
                <a:lnTo>
                  <a:pt x="363" y="721"/>
                </a:lnTo>
                <a:lnTo>
                  <a:pt x="379" y="730"/>
                </a:lnTo>
                <a:lnTo>
                  <a:pt x="395" y="740"/>
                </a:lnTo>
                <a:lnTo>
                  <a:pt x="411" y="747"/>
                </a:lnTo>
                <a:lnTo>
                  <a:pt x="427" y="750"/>
                </a:lnTo>
                <a:lnTo>
                  <a:pt x="443" y="747"/>
                </a:lnTo>
                <a:lnTo>
                  <a:pt x="459" y="740"/>
                </a:lnTo>
                <a:lnTo>
                  <a:pt x="475" y="730"/>
                </a:lnTo>
                <a:lnTo>
                  <a:pt x="491" y="721"/>
                </a:lnTo>
                <a:lnTo>
                  <a:pt x="508" y="711"/>
                </a:lnTo>
                <a:lnTo>
                  <a:pt x="524" y="707"/>
                </a:lnTo>
                <a:lnTo>
                  <a:pt x="541" y="707"/>
                </a:lnTo>
                <a:lnTo>
                  <a:pt x="558" y="712"/>
                </a:lnTo>
                <a:lnTo>
                  <a:pt x="575" y="719"/>
                </a:lnTo>
                <a:lnTo>
                  <a:pt x="582" y="725"/>
                </a:lnTo>
                <a:lnTo>
                  <a:pt x="586" y="733"/>
                </a:lnTo>
                <a:lnTo>
                  <a:pt x="587" y="740"/>
                </a:lnTo>
                <a:lnTo>
                  <a:pt x="587" y="776"/>
                </a:lnTo>
                <a:lnTo>
                  <a:pt x="587" y="778"/>
                </a:lnTo>
                <a:lnTo>
                  <a:pt x="586" y="780"/>
                </a:lnTo>
                <a:lnTo>
                  <a:pt x="583" y="782"/>
                </a:lnTo>
                <a:lnTo>
                  <a:pt x="581" y="783"/>
                </a:lnTo>
                <a:lnTo>
                  <a:pt x="579" y="783"/>
                </a:lnTo>
                <a:lnTo>
                  <a:pt x="575" y="782"/>
                </a:lnTo>
                <a:lnTo>
                  <a:pt x="558" y="773"/>
                </a:lnTo>
                <a:lnTo>
                  <a:pt x="541" y="769"/>
                </a:lnTo>
                <a:lnTo>
                  <a:pt x="524" y="768"/>
                </a:lnTo>
                <a:lnTo>
                  <a:pt x="508" y="773"/>
                </a:lnTo>
                <a:lnTo>
                  <a:pt x="491" y="782"/>
                </a:lnTo>
                <a:lnTo>
                  <a:pt x="475" y="793"/>
                </a:lnTo>
                <a:lnTo>
                  <a:pt x="459" y="801"/>
                </a:lnTo>
                <a:lnTo>
                  <a:pt x="443" y="809"/>
                </a:lnTo>
                <a:lnTo>
                  <a:pt x="427" y="811"/>
                </a:lnTo>
                <a:lnTo>
                  <a:pt x="411" y="809"/>
                </a:lnTo>
                <a:lnTo>
                  <a:pt x="395" y="801"/>
                </a:lnTo>
                <a:lnTo>
                  <a:pt x="379" y="793"/>
                </a:lnTo>
                <a:lnTo>
                  <a:pt x="363" y="782"/>
                </a:lnTo>
                <a:lnTo>
                  <a:pt x="348" y="773"/>
                </a:lnTo>
                <a:lnTo>
                  <a:pt x="334" y="769"/>
                </a:lnTo>
                <a:lnTo>
                  <a:pt x="321" y="768"/>
                </a:lnTo>
                <a:lnTo>
                  <a:pt x="307" y="769"/>
                </a:lnTo>
                <a:lnTo>
                  <a:pt x="295" y="773"/>
                </a:lnTo>
                <a:lnTo>
                  <a:pt x="278" y="782"/>
                </a:lnTo>
                <a:lnTo>
                  <a:pt x="262" y="793"/>
                </a:lnTo>
                <a:lnTo>
                  <a:pt x="246" y="801"/>
                </a:lnTo>
                <a:lnTo>
                  <a:pt x="231" y="809"/>
                </a:lnTo>
                <a:lnTo>
                  <a:pt x="214" y="811"/>
                </a:lnTo>
                <a:lnTo>
                  <a:pt x="198" y="809"/>
                </a:lnTo>
                <a:lnTo>
                  <a:pt x="183" y="801"/>
                </a:lnTo>
                <a:lnTo>
                  <a:pt x="167" y="793"/>
                </a:lnTo>
                <a:lnTo>
                  <a:pt x="151" y="782"/>
                </a:lnTo>
                <a:lnTo>
                  <a:pt x="135" y="773"/>
                </a:lnTo>
                <a:lnTo>
                  <a:pt x="118" y="768"/>
                </a:lnTo>
                <a:lnTo>
                  <a:pt x="101" y="769"/>
                </a:lnTo>
                <a:lnTo>
                  <a:pt x="83" y="773"/>
                </a:lnTo>
                <a:lnTo>
                  <a:pt x="66" y="782"/>
                </a:lnTo>
                <a:lnTo>
                  <a:pt x="64" y="783"/>
                </a:lnTo>
                <a:lnTo>
                  <a:pt x="61" y="783"/>
                </a:lnTo>
                <a:lnTo>
                  <a:pt x="58" y="782"/>
                </a:lnTo>
                <a:lnTo>
                  <a:pt x="57" y="780"/>
                </a:lnTo>
                <a:lnTo>
                  <a:pt x="54" y="778"/>
                </a:lnTo>
                <a:lnTo>
                  <a:pt x="54" y="776"/>
                </a:lnTo>
                <a:lnTo>
                  <a:pt x="54" y="740"/>
                </a:lnTo>
                <a:lnTo>
                  <a:pt x="55" y="733"/>
                </a:lnTo>
                <a:lnTo>
                  <a:pt x="60" y="725"/>
                </a:lnTo>
                <a:lnTo>
                  <a:pt x="66" y="719"/>
                </a:lnTo>
                <a:lnTo>
                  <a:pt x="83" y="712"/>
                </a:lnTo>
                <a:lnTo>
                  <a:pt x="101" y="707"/>
                </a:lnTo>
                <a:lnTo>
                  <a:pt x="118" y="707"/>
                </a:lnTo>
                <a:lnTo>
                  <a:pt x="135" y="711"/>
                </a:lnTo>
                <a:lnTo>
                  <a:pt x="151" y="721"/>
                </a:lnTo>
                <a:lnTo>
                  <a:pt x="167" y="730"/>
                </a:lnTo>
                <a:lnTo>
                  <a:pt x="183" y="740"/>
                </a:lnTo>
                <a:lnTo>
                  <a:pt x="198" y="747"/>
                </a:lnTo>
                <a:lnTo>
                  <a:pt x="214" y="750"/>
                </a:lnTo>
                <a:lnTo>
                  <a:pt x="231" y="747"/>
                </a:lnTo>
                <a:lnTo>
                  <a:pt x="246" y="740"/>
                </a:lnTo>
                <a:lnTo>
                  <a:pt x="262" y="730"/>
                </a:lnTo>
                <a:lnTo>
                  <a:pt x="278" y="721"/>
                </a:lnTo>
                <a:lnTo>
                  <a:pt x="295" y="711"/>
                </a:lnTo>
                <a:lnTo>
                  <a:pt x="307" y="707"/>
                </a:lnTo>
                <a:lnTo>
                  <a:pt x="321" y="707"/>
                </a:lnTo>
                <a:close/>
                <a:moveTo>
                  <a:pt x="174" y="105"/>
                </a:moveTo>
                <a:lnTo>
                  <a:pt x="169" y="105"/>
                </a:lnTo>
                <a:lnTo>
                  <a:pt x="165" y="107"/>
                </a:lnTo>
                <a:lnTo>
                  <a:pt x="162" y="111"/>
                </a:lnTo>
                <a:lnTo>
                  <a:pt x="159" y="115"/>
                </a:lnTo>
                <a:lnTo>
                  <a:pt x="159" y="120"/>
                </a:lnTo>
                <a:lnTo>
                  <a:pt x="159" y="167"/>
                </a:lnTo>
                <a:lnTo>
                  <a:pt x="158" y="172"/>
                </a:lnTo>
                <a:lnTo>
                  <a:pt x="157" y="176"/>
                </a:lnTo>
                <a:lnTo>
                  <a:pt x="153" y="179"/>
                </a:lnTo>
                <a:lnTo>
                  <a:pt x="149" y="182"/>
                </a:lnTo>
                <a:lnTo>
                  <a:pt x="145" y="182"/>
                </a:lnTo>
                <a:lnTo>
                  <a:pt x="126" y="182"/>
                </a:lnTo>
                <a:lnTo>
                  <a:pt x="110" y="182"/>
                </a:lnTo>
                <a:lnTo>
                  <a:pt x="98" y="182"/>
                </a:lnTo>
                <a:lnTo>
                  <a:pt x="92" y="182"/>
                </a:lnTo>
                <a:lnTo>
                  <a:pt x="92" y="258"/>
                </a:lnTo>
                <a:lnTo>
                  <a:pt x="321" y="227"/>
                </a:lnTo>
                <a:lnTo>
                  <a:pt x="550" y="258"/>
                </a:lnTo>
                <a:lnTo>
                  <a:pt x="550" y="182"/>
                </a:lnTo>
                <a:lnTo>
                  <a:pt x="544" y="182"/>
                </a:lnTo>
                <a:lnTo>
                  <a:pt x="532" y="182"/>
                </a:lnTo>
                <a:lnTo>
                  <a:pt x="515" y="182"/>
                </a:lnTo>
                <a:lnTo>
                  <a:pt x="497" y="182"/>
                </a:lnTo>
                <a:lnTo>
                  <a:pt x="493" y="182"/>
                </a:lnTo>
                <a:lnTo>
                  <a:pt x="488" y="179"/>
                </a:lnTo>
                <a:lnTo>
                  <a:pt x="486" y="176"/>
                </a:lnTo>
                <a:lnTo>
                  <a:pt x="483" y="172"/>
                </a:lnTo>
                <a:lnTo>
                  <a:pt x="483" y="167"/>
                </a:lnTo>
                <a:lnTo>
                  <a:pt x="483" y="120"/>
                </a:lnTo>
                <a:lnTo>
                  <a:pt x="482" y="115"/>
                </a:lnTo>
                <a:lnTo>
                  <a:pt x="480" y="111"/>
                </a:lnTo>
                <a:lnTo>
                  <a:pt x="477" y="107"/>
                </a:lnTo>
                <a:lnTo>
                  <a:pt x="472" y="105"/>
                </a:lnTo>
                <a:lnTo>
                  <a:pt x="469" y="105"/>
                </a:lnTo>
                <a:lnTo>
                  <a:pt x="174" y="105"/>
                </a:lnTo>
                <a:close/>
                <a:moveTo>
                  <a:pt x="290" y="0"/>
                </a:moveTo>
                <a:lnTo>
                  <a:pt x="351" y="0"/>
                </a:lnTo>
                <a:lnTo>
                  <a:pt x="366" y="2"/>
                </a:lnTo>
                <a:lnTo>
                  <a:pt x="378" y="11"/>
                </a:lnTo>
                <a:lnTo>
                  <a:pt x="385" y="23"/>
                </a:lnTo>
                <a:lnTo>
                  <a:pt x="388" y="37"/>
                </a:lnTo>
                <a:lnTo>
                  <a:pt x="388" y="57"/>
                </a:lnTo>
                <a:lnTo>
                  <a:pt x="477" y="57"/>
                </a:lnTo>
                <a:lnTo>
                  <a:pt x="492" y="60"/>
                </a:lnTo>
                <a:lnTo>
                  <a:pt x="503" y="68"/>
                </a:lnTo>
                <a:lnTo>
                  <a:pt x="511" y="79"/>
                </a:lnTo>
                <a:lnTo>
                  <a:pt x="514" y="94"/>
                </a:lnTo>
                <a:lnTo>
                  <a:pt x="514" y="150"/>
                </a:lnTo>
                <a:lnTo>
                  <a:pt x="552" y="150"/>
                </a:lnTo>
                <a:lnTo>
                  <a:pt x="566" y="153"/>
                </a:lnTo>
                <a:lnTo>
                  <a:pt x="577" y="161"/>
                </a:lnTo>
                <a:lnTo>
                  <a:pt x="586" y="172"/>
                </a:lnTo>
                <a:lnTo>
                  <a:pt x="588" y="187"/>
                </a:lnTo>
                <a:lnTo>
                  <a:pt x="588" y="264"/>
                </a:lnTo>
                <a:lnTo>
                  <a:pt x="614" y="267"/>
                </a:lnTo>
                <a:lnTo>
                  <a:pt x="627" y="272"/>
                </a:lnTo>
                <a:lnTo>
                  <a:pt x="637" y="282"/>
                </a:lnTo>
                <a:lnTo>
                  <a:pt x="642" y="296"/>
                </a:lnTo>
                <a:lnTo>
                  <a:pt x="641" y="310"/>
                </a:lnTo>
                <a:lnTo>
                  <a:pt x="526" y="684"/>
                </a:lnTo>
                <a:lnTo>
                  <a:pt x="511" y="685"/>
                </a:lnTo>
                <a:lnTo>
                  <a:pt x="498" y="690"/>
                </a:lnTo>
                <a:lnTo>
                  <a:pt x="482" y="699"/>
                </a:lnTo>
                <a:lnTo>
                  <a:pt x="466" y="708"/>
                </a:lnTo>
                <a:lnTo>
                  <a:pt x="453" y="717"/>
                </a:lnTo>
                <a:lnTo>
                  <a:pt x="439" y="724"/>
                </a:lnTo>
                <a:lnTo>
                  <a:pt x="427" y="727"/>
                </a:lnTo>
                <a:lnTo>
                  <a:pt x="415" y="724"/>
                </a:lnTo>
                <a:lnTo>
                  <a:pt x="403" y="717"/>
                </a:lnTo>
                <a:lnTo>
                  <a:pt x="388" y="708"/>
                </a:lnTo>
                <a:lnTo>
                  <a:pt x="373" y="699"/>
                </a:lnTo>
                <a:lnTo>
                  <a:pt x="357" y="690"/>
                </a:lnTo>
                <a:lnTo>
                  <a:pt x="339" y="685"/>
                </a:lnTo>
                <a:lnTo>
                  <a:pt x="321" y="684"/>
                </a:lnTo>
                <a:lnTo>
                  <a:pt x="302" y="685"/>
                </a:lnTo>
                <a:lnTo>
                  <a:pt x="285" y="690"/>
                </a:lnTo>
                <a:lnTo>
                  <a:pt x="269" y="699"/>
                </a:lnTo>
                <a:lnTo>
                  <a:pt x="253" y="708"/>
                </a:lnTo>
                <a:lnTo>
                  <a:pt x="240" y="717"/>
                </a:lnTo>
                <a:lnTo>
                  <a:pt x="227" y="724"/>
                </a:lnTo>
                <a:lnTo>
                  <a:pt x="214" y="727"/>
                </a:lnTo>
                <a:lnTo>
                  <a:pt x="202" y="724"/>
                </a:lnTo>
                <a:lnTo>
                  <a:pt x="190" y="717"/>
                </a:lnTo>
                <a:lnTo>
                  <a:pt x="175" y="708"/>
                </a:lnTo>
                <a:lnTo>
                  <a:pt x="160" y="699"/>
                </a:lnTo>
                <a:lnTo>
                  <a:pt x="145" y="690"/>
                </a:lnTo>
                <a:lnTo>
                  <a:pt x="131" y="685"/>
                </a:lnTo>
                <a:lnTo>
                  <a:pt x="116" y="684"/>
                </a:lnTo>
                <a:lnTo>
                  <a:pt x="2" y="310"/>
                </a:lnTo>
                <a:lnTo>
                  <a:pt x="0" y="296"/>
                </a:lnTo>
                <a:lnTo>
                  <a:pt x="5" y="282"/>
                </a:lnTo>
                <a:lnTo>
                  <a:pt x="15" y="272"/>
                </a:lnTo>
                <a:lnTo>
                  <a:pt x="28" y="267"/>
                </a:lnTo>
                <a:lnTo>
                  <a:pt x="53" y="264"/>
                </a:lnTo>
                <a:lnTo>
                  <a:pt x="53" y="187"/>
                </a:lnTo>
                <a:lnTo>
                  <a:pt x="57" y="172"/>
                </a:lnTo>
                <a:lnTo>
                  <a:pt x="64" y="161"/>
                </a:lnTo>
                <a:lnTo>
                  <a:pt x="76" y="153"/>
                </a:lnTo>
                <a:lnTo>
                  <a:pt x="91" y="150"/>
                </a:lnTo>
                <a:lnTo>
                  <a:pt x="127" y="150"/>
                </a:lnTo>
                <a:lnTo>
                  <a:pt x="127" y="94"/>
                </a:lnTo>
                <a:lnTo>
                  <a:pt x="130" y="79"/>
                </a:lnTo>
                <a:lnTo>
                  <a:pt x="138" y="68"/>
                </a:lnTo>
                <a:lnTo>
                  <a:pt x="151" y="60"/>
                </a:lnTo>
                <a:lnTo>
                  <a:pt x="164" y="57"/>
                </a:lnTo>
                <a:lnTo>
                  <a:pt x="253" y="57"/>
                </a:lnTo>
                <a:lnTo>
                  <a:pt x="253" y="37"/>
                </a:lnTo>
                <a:lnTo>
                  <a:pt x="256" y="23"/>
                </a:lnTo>
                <a:lnTo>
                  <a:pt x="264" y="11"/>
                </a:lnTo>
                <a:lnTo>
                  <a:pt x="277" y="2"/>
                </a:lnTo>
                <a:lnTo>
                  <a:pt x="290" y="0"/>
                </a:ln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91" name="Freeform 581"/>
          <p:cNvSpPr>
            <a:spLocks noEditPoints="1"/>
          </p:cNvSpPr>
          <p:nvPr/>
        </p:nvSpPr>
        <p:spPr bwMode="auto">
          <a:xfrm>
            <a:off x="3352921" y="5331434"/>
            <a:ext cx="184865" cy="203196"/>
          </a:xfrm>
          <a:custGeom>
            <a:avLst/>
            <a:gdLst>
              <a:gd name="T0" fmla="*/ 363 w 642"/>
              <a:gd name="T1" fmla="*/ 721 h 811"/>
              <a:gd name="T2" fmla="*/ 427 w 642"/>
              <a:gd name="T3" fmla="*/ 750 h 811"/>
              <a:gd name="T4" fmla="*/ 491 w 642"/>
              <a:gd name="T5" fmla="*/ 721 h 811"/>
              <a:gd name="T6" fmla="*/ 558 w 642"/>
              <a:gd name="T7" fmla="*/ 712 h 811"/>
              <a:gd name="T8" fmla="*/ 587 w 642"/>
              <a:gd name="T9" fmla="*/ 740 h 811"/>
              <a:gd name="T10" fmla="*/ 583 w 642"/>
              <a:gd name="T11" fmla="*/ 782 h 811"/>
              <a:gd name="T12" fmla="*/ 558 w 642"/>
              <a:gd name="T13" fmla="*/ 773 h 811"/>
              <a:gd name="T14" fmla="*/ 491 w 642"/>
              <a:gd name="T15" fmla="*/ 782 h 811"/>
              <a:gd name="T16" fmla="*/ 427 w 642"/>
              <a:gd name="T17" fmla="*/ 811 h 811"/>
              <a:gd name="T18" fmla="*/ 363 w 642"/>
              <a:gd name="T19" fmla="*/ 782 h 811"/>
              <a:gd name="T20" fmla="*/ 307 w 642"/>
              <a:gd name="T21" fmla="*/ 769 h 811"/>
              <a:gd name="T22" fmla="*/ 246 w 642"/>
              <a:gd name="T23" fmla="*/ 801 h 811"/>
              <a:gd name="T24" fmla="*/ 183 w 642"/>
              <a:gd name="T25" fmla="*/ 801 h 811"/>
              <a:gd name="T26" fmla="*/ 118 w 642"/>
              <a:gd name="T27" fmla="*/ 768 h 811"/>
              <a:gd name="T28" fmla="*/ 64 w 642"/>
              <a:gd name="T29" fmla="*/ 783 h 811"/>
              <a:gd name="T30" fmla="*/ 54 w 642"/>
              <a:gd name="T31" fmla="*/ 778 h 811"/>
              <a:gd name="T32" fmla="*/ 60 w 642"/>
              <a:gd name="T33" fmla="*/ 725 h 811"/>
              <a:gd name="T34" fmla="*/ 118 w 642"/>
              <a:gd name="T35" fmla="*/ 707 h 811"/>
              <a:gd name="T36" fmla="*/ 183 w 642"/>
              <a:gd name="T37" fmla="*/ 740 h 811"/>
              <a:gd name="T38" fmla="*/ 246 w 642"/>
              <a:gd name="T39" fmla="*/ 740 h 811"/>
              <a:gd name="T40" fmla="*/ 307 w 642"/>
              <a:gd name="T41" fmla="*/ 707 h 811"/>
              <a:gd name="T42" fmla="*/ 165 w 642"/>
              <a:gd name="T43" fmla="*/ 107 h 811"/>
              <a:gd name="T44" fmla="*/ 159 w 642"/>
              <a:gd name="T45" fmla="*/ 167 h 811"/>
              <a:gd name="T46" fmla="*/ 149 w 642"/>
              <a:gd name="T47" fmla="*/ 182 h 811"/>
              <a:gd name="T48" fmla="*/ 98 w 642"/>
              <a:gd name="T49" fmla="*/ 182 h 811"/>
              <a:gd name="T50" fmla="*/ 550 w 642"/>
              <a:gd name="T51" fmla="*/ 258 h 811"/>
              <a:gd name="T52" fmla="*/ 515 w 642"/>
              <a:gd name="T53" fmla="*/ 182 h 811"/>
              <a:gd name="T54" fmla="*/ 486 w 642"/>
              <a:gd name="T55" fmla="*/ 176 h 811"/>
              <a:gd name="T56" fmla="*/ 482 w 642"/>
              <a:gd name="T57" fmla="*/ 115 h 811"/>
              <a:gd name="T58" fmla="*/ 469 w 642"/>
              <a:gd name="T59" fmla="*/ 105 h 811"/>
              <a:gd name="T60" fmla="*/ 366 w 642"/>
              <a:gd name="T61" fmla="*/ 2 h 811"/>
              <a:gd name="T62" fmla="*/ 388 w 642"/>
              <a:gd name="T63" fmla="*/ 57 h 811"/>
              <a:gd name="T64" fmla="*/ 511 w 642"/>
              <a:gd name="T65" fmla="*/ 79 h 811"/>
              <a:gd name="T66" fmla="*/ 566 w 642"/>
              <a:gd name="T67" fmla="*/ 153 h 811"/>
              <a:gd name="T68" fmla="*/ 588 w 642"/>
              <a:gd name="T69" fmla="*/ 264 h 811"/>
              <a:gd name="T70" fmla="*/ 642 w 642"/>
              <a:gd name="T71" fmla="*/ 296 h 811"/>
              <a:gd name="T72" fmla="*/ 498 w 642"/>
              <a:gd name="T73" fmla="*/ 690 h 811"/>
              <a:gd name="T74" fmla="*/ 439 w 642"/>
              <a:gd name="T75" fmla="*/ 724 h 811"/>
              <a:gd name="T76" fmla="*/ 388 w 642"/>
              <a:gd name="T77" fmla="*/ 708 h 811"/>
              <a:gd name="T78" fmla="*/ 321 w 642"/>
              <a:gd name="T79" fmla="*/ 684 h 811"/>
              <a:gd name="T80" fmla="*/ 253 w 642"/>
              <a:gd name="T81" fmla="*/ 708 h 811"/>
              <a:gd name="T82" fmla="*/ 202 w 642"/>
              <a:gd name="T83" fmla="*/ 724 h 811"/>
              <a:gd name="T84" fmla="*/ 145 w 642"/>
              <a:gd name="T85" fmla="*/ 690 h 811"/>
              <a:gd name="T86" fmla="*/ 0 w 642"/>
              <a:gd name="T87" fmla="*/ 296 h 811"/>
              <a:gd name="T88" fmla="*/ 53 w 642"/>
              <a:gd name="T89" fmla="*/ 264 h 811"/>
              <a:gd name="T90" fmla="*/ 76 w 642"/>
              <a:gd name="T91" fmla="*/ 153 h 811"/>
              <a:gd name="T92" fmla="*/ 130 w 642"/>
              <a:gd name="T93" fmla="*/ 79 h 811"/>
              <a:gd name="T94" fmla="*/ 253 w 642"/>
              <a:gd name="T95" fmla="*/ 57 h 811"/>
              <a:gd name="T96" fmla="*/ 277 w 642"/>
              <a:gd name="T97" fmla="*/ 2 h 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2" h="811">
                <a:moveTo>
                  <a:pt x="321" y="707"/>
                </a:moveTo>
                <a:lnTo>
                  <a:pt x="334" y="707"/>
                </a:lnTo>
                <a:lnTo>
                  <a:pt x="348" y="711"/>
                </a:lnTo>
                <a:lnTo>
                  <a:pt x="363" y="721"/>
                </a:lnTo>
                <a:lnTo>
                  <a:pt x="379" y="730"/>
                </a:lnTo>
                <a:lnTo>
                  <a:pt x="395" y="740"/>
                </a:lnTo>
                <a:lnTo>
                  <a:pt x="411" y="747"/>
                </a:lnTo>
                <a:lnTo>
                  <a:pt x="427" y="750"/>
                </a:lnTo>
                <a:lnTo>
                  <a:pt x="443" y="747"/>
                </a:lnTo>
                <a:lnTo>
                  <a:pt x="459" y="740"/>
                </a:lnTo>
                <a:lnTo>
                  <a:pt x="475" y="730"/>
                </a:lnTo>
                <a:lnTo>
                  <a:pt x="491" y="721"/>
                </a:lnTo>
                <a:lnTo>
                  <a:pt x="508" y="711"/>
                </a:lnTo>
                <a:lnTo>
                  <a:pt x="524" y="707"/>
                </a:lnTo>
                <a:lnTo>
                  <a:pt x="541" y="707"/>
                </a:lnTo>
                <a:lnTo>
                  <a:pt x="558" y="712"/>
                </a:lnTo>
                <a:lnTo>
                  <a:pt x="575" y="719"/>
                </a:lnTo>
                <a:lnTo>
                  <a:pt x="582" y="725"/>
                </a:lnTo>
                <a:lnTo>
                  <a:pt x="586" y="733"/>
                </a:lnTo>
                <a:lnTo>
                  <a:pt x="587" y="740"/>
                </a:lnTo>
                <a:lnTo>
                  <a:pt x="587" y="776"/>
                </a:lnTo>
                <a:lnTo>
                  <a:pt x="587" y="778"/>
                </a:lnTo>
                <a:lnTo>
                  <a:pt x="586" y="780"/>
                </a:lnTo>
                <a:lnTo>
                  <a:pt x="583" y="782"/>
                </a:lnTo>
                <a:lnTo>
                  <a:pt x="581" y="783"/>
                </a:lnTo>
                <a:lnTo>
                  <a:pt x="579" y="783"/>
                </a:lnTo>
                <a:lnTo>
                  <a:pt x="575" y="782"/>
                </a:lnTo>
                <a:lnTo>
                  <a:pt x="558" y="773"/>
                </a:lnTo>
                <a:lnTo>
                  <a:pt x="541" y="769"/>
                </a:lnTo>
                <a:lnTo>
                  <a:pt x="524" y="768"/>
                </a:lnTo>
                <a:lnTo>
                  <a:pt x="508" y="773"/>
                </a:lnTo>
                <a:lnTo>
                  <a:pt x="491" y="782"/>
                </a:lnTo>
                <a:lnTo>
                  <a:pt x="475" y="793"/>
                </a:lnTo>
                <a:lnTo>
                  <a:pt x="459" y="801"/>
                </a:lnTo>
                <a:lnTo>
                  <a:pt x="443" y="809"/>
                </a:lnTo>
                <a:lnTo>
                  <a:pt x="427" y="811"/>
                </a:lnTo>
                <a:lnTo>
                  <a:pt x="411" y="809"/>
                </a:lnTo>
                <a:lnTo>
                  <a:pt x="395" y="801"/>
                </a:lnTo>
                <a:lnTo>
                  <a:pt x="379" y="793"/>
                </a:lnTo>
                <a:lnTo>
                  <a:pt x="363" y="782"/>
                </a:lnTo>
                <a:lnTo>
                  <a:pt x="348" y="773"/>
                </a:lnTo>
                <a:lnTo>
                  <a:pt x="334" y="769"/>
                </a:lnTo>
                <a:lnTo>
                  <a:pt x="321" y="768"/>
                </a:lnTo>
                <a:lnTo>
                  <a:pt x="307" y="769"/>
                </a:lnTo>
                <a:lnTo>
                  <a:pt x="295" y="773"/>
                </a:lnTo>
                <a:lnTo>
                  <a:pt x="278" y="782"/>
                </a:lnTo>
                <a:lnTo>
                  <a:pt x="262" y="793"/>
                </a:lnTo>
                <a:lnTo>
                  <a:pt x="246" y="801"/>
                </a:lnTo>
                <a:lnTo>
                  <a:pt x="231" y="809"/>
                </a:lnTo>
                <a:lnTo>
                  <a:pt x="214" y="811"/>
                </a:lnTo>
                <a:lnTo>
                  <a:pt x="198" y="809"/>
                </a:lnTo>
                <a:lnTo>
                  <a:pt x="183" y="801"/>
                </a:lnTo>
                <a:lnTo>
                  <a:pt x="167" y="793"/>
                </a:lnTo>
                <a:lnTo>
                  <a:pt x="151" y="782"/>
                </a:lnTo>
                <a:lnTo>
                  <a:pt x="135" y="773"/>
                </a:lnTo>
                <a:lnTo>
                  <a:pt x="118" y="768"/>
                </a:lnTo>
                <a:lnTo>
                  <a:pt x="101" y="769"/>
                </a:lnTo>
                <a:lnTo>
                  <a:pt x="83" y="773"/>
                </a:lnTo>
                <a:lnTo>
                  <a:pt x="66" y="782"/>
                </a:lnTo>
                <a:lnTo>
                  <a:pt x="64" y="783"/>
                </a:lnTo>
                <a:lnTo>
                  <a:pt x="61" y="783"/>
                </a:lnTo>
                <a:lnTo>
                  <a:pt x="58" y="782"/>
                </a:lnTo>
                <a:lnTo>
                  <a:pt x="57" y="780"/>
                </a:lnTo>
                <a:lnTo>
                  <a:pt x="54" y="778"/>
                </a:lnTo>
                <a:lnTo>
                  <a:pt x="54" y="776"/>
                </a:lnTo>
                <a:lnTo>
                  <a:pt x="54" y="740"/>
                </a:lnTo>
                <a:lnTo>
                  <a:pt x="55" y="733"/>
                </a:lnTo>
                <a:lnTo>
                  <a:pt x="60" y="725"/>
                </a:lnTo>
                <a:lnTo>
                  <a:pt x="66" y="719"/>
                </a:lnTo>
                <a:lnTo>
                  <a:pt x="83" y="712"/>
                </a:lnTo>
                <a:lnTo>
                  <a:pt x="101" y="707"/>
                </a:lnTo>
                <a:lnTo>
                  <a:pt x="118" y="707"/>
                </a:lnTo>
                <a:lnTo>
                  <a:pt x="135" y="711"/>
                </a:lnTo>
                <a:lnTo>
                  <a:pt x="151" y="721"/>
                </a:lnTo>
                <a:lnTo>
                  <a:pt x="167" y="730"/>
                </a:lnTo>
                <a:lnTo>
                  <a:pt x="183" y="740"/>
                </a:lnTo>
                <a:lnTo>
                  <a:pt x="198" y="747"/>
                </a:lnTo>
                <a:lnTo>
                  <a:pt x="214" y="750"/>
                </a:lnTo>
                <a:lnTo>
                  <a:pt x="231" y="747"/>
                </a:lnTo>
                <a:lnTo>
                  <a:pt x="246" y="740"/>
                </a:lnTo>
                <a:lnTo>
                  <a:pt x="262" y="730"/>
                </a:lnTo>
                <a:lnTo>
                  <a:pt x="278" y="721"/>
                </a:lnTo>
                <a:lnTo>
                  <a:pt x="295" y="711"/>
                </a:lnTo>
                <a:lnTo>
                  <a:pt x="307" y="707"/>
                </a:lnTo>
                <a:lnTo>
                  <a:pt x="321" y="707"/>
                </a:lnTo>
                <a:close/>
                <a:moveTo>
                  <a:pt x="174" y="105"/>
                </a:moveTo>
                <a:lnTo>
                  <a:pt x="169" y="105"/>
                </a:lnTo>
                <a:lnTo>
                  <a:pt x="165" y="107"/>
                </a:lnTo>
                <a:lnTo>
                  <a:pt x="162" y="111"/>
                </a:lnTo>
                <a:lnTo>
                  <a:pt x="159" y="115"/>
                </a:lnTo>
                <a:lnTo>
                  <a:pt x="159" y="120"/>
                </a:lnTo>
                <a:lnTo>
                  <a:pt x="159" y="167"/>
                </a:lnTo>
                <a:lnTo>
                  <a:pt x="158" y="172"/>
                </a:lnTo>
                <a:lnTo>
                  <a:pt x="157" y="176"/>
                </a:lnTo>
                <a:lnTo>
                  <a:pt x="153" y="179"/>
                </a:lnTo>
                <a:lnTo>
                  <a:pt x="149" y="182"/>
                </a:lnTo>
                <a:lnTo>
                  <a:pt x="145" y="182"/>
                </a:lnTo>
                <a:lnTo>
                  <a:pt x="126" y="182"/>
                </a:lnTo>
                <a:lnTo>
                  <a:pt x="110" y="182"/>
                </a:lnTo>
                <a:lnTo>
                  <a:pt x="98" y="182"/>
                </a:lnTo>
                <a:lnTo>
                  <a:pt x="92" y="182"/>
                </a:lnTo>
                <a:lnTo>
                  <a:pt x="92" y="258"/>
                </a:lnTo>
                <a:lnTo>
                  <a:pt x="321" y="227"/>
                </a:lnTo>
                <a:lnTo>
                  <a:pt x="550" y="258"/>
                </a:lnTo>
                <a:lnTo>
                  <a:pt x="550" y="182"/>
                </a:lnTo>
                <a:lnTo>
                  <a:pt x="544" y="182"/>
                </a:lnTo>
                <a:lnTo>
                  <a:pt x="532" y="182"/>
                </a:lnTo>
                <a:lnTo>
                  <a:pt x="515" y="182"/>
                </a:lnTo>
                <a:lnTo>
                  <a:pt x="497" y="182"/>
                </a:lnTo>
                <a:lnTo>
                  <a:pt x="493" y="182"/>
                </a:lnTo>
                <a:lnTo>
                  <a:pt x="488" y="179"/>
                </a:lnTo>
                <a:lnTo>
                  <a:pt x="486" y="176"/>
                </a:lnTo>
                <a:lnTo>
                  <a:pt x="483" y="172"/>
                </a:lnTo>
                <a:lnTo>
                  <a:pt x="483" y="167"/>
                </a:lnTo>
                <a:lnTo>
                  <a:pt x="483" y="120"/>
                </a:lnTo>
                <a:lnTo>
                  <a:pt x="482" y="115"/>
                </a:lnTo>
                <a:lnTo>
                  <a:pt x="480" y="111"/>
                </a:lnTo>
                <a:lnTo>
                  <a:pt x="477" y="107"/>
                </a:lnTo>
                <a:lnTo>
                  <a:pt x="472" y="105"/>
                </a:lnTo>
                <a:lnTo>
                  <a:pt x="469" y="105"/>
                </a:lnTo>
                <a:lnTo>
                  <a:pt x="174" y="105"/>
                </a:lnTo>
                <a:close/>
                <a:moveTo>
                  <a:pt x="290" y="0"/>
                </a:moveTo>
                <a:lnTo>
                  <a:pt x="351" y="0"/>
                </a:lnTo>
                <a:lnTo>
                  <a:pt x="366" y="2"/>
                </a:lnTo>
                <a:lnTo>
                  <a:pt x="378" y="11"/>
                </a:lnTo>
                <a:lnTo>
                  <a:pt x="385" y="23"/>
                </a:lnTo>
                <a:lnTo>
                  <a:pt x="388" y="37"/>
                </a:lnTo>
                <a:lnTo>
                  <a:pt x="388" y="57"/>
                </a:lnTo>
                <a:lnTo>
                  <a:pt x="477" y="57"/>
                </a:lnTo>
                <a:lnTo>
                  <a:pt x="492" y="60"/>
                </a:lnTo>
                <a:lnTo>
                  <a:pt x="503" y="68"/>
                </a:lnTo>
                <a:lnTo>
                  <a:pt x="511" y="79"/>
                </a:lnTo>
                <a:lnTo>
                  <a:pt x="514" y="94"/>
                </a:lnTo>
                <a:lnTo>
                  <a:pt x="514" y="150"/>
                </a:lnTo>
                <a:lnTo>
                  <a:pt x="552" y="150"/>
                </a:lnTo>
                <a:lnTo>
                  <a:pt x="566" y="153"/>
                </a:lnTo>
                <a:lnTo>
                  <a:pt x="577" y="161"/>
                </a:lnTo>
                <a:lnTo>
                  <a:pt x="586" y="172"/>
                </a:lnTo>
                <a:lnTo>
                  <a:pt x="588" y="187"/>
                </a:lnTo>
                <a:lnTo>
                  <a:pt x="588" y="264"/>
                </a:lnTo>
                <a:lnTo>
                  <a:pt x="614" y="267"/>
                </a:lnTo>
                <a:lnTo>
                  <a:pt x="627" y="272"/>
                </a:lnTo>
                <a:lnTo>
                  <a:pt x="637" y="282"/>
                </a:lnTo>
                <a:lnTo>
                  <a:pt x="642" y="296"/>
                </a:lnTo>
                <a:lnTo>
                  <a:pt x="641" y="310"/>
                </a:lnTo>
                <a:lnTo>
                  <a:pt x="526" y="684"/>
                </a:lnTo>
                <a:lnTo>
                  <a:pt x="511" y="685"/>
                </a:lnTo>
                <a:lnTo>
                  <a:pt x="498" y="690"/>
                </a:lnTo>
                <a:lnTo>
                  <a:pt x="482" y="699"/>
                </a:lnTo>
                <a:lnTo>
                  <a:pt x="466" y="708"/>
                </a:lnTo>
                <a:lnTo>
                  <a:pt x="453" y="717"/>
                </a:lnTo>
                <a:lnTo>
                  <a:pt x="439" y="724"/>
                </a:lnTo>
                <a:lnTo>
                  <a:pt x="427" y="727"/>
                </a:lnTo>
                <a:lnTo>
                  <a:pt x="415" y="724"/>
                </a:lnTo>
                <a:lnTo>
                  <a:pt x="403" y="717"/>
                </a:lnTo>
                <a:lnTo>
                  <a:pt x="388" y="708"/>
                </a:lnTo>
                <a:lnTo>
                  <a:pt x="373" y="699"/>
                </a:lnTo>
                <a:lnTo>
                  <a:pt x="357" y="690"/>
                </a:lnTo>
                <a:lnTo>
                  <a:pt x="339" y="685"/>
                </a:lnTo>
                <a:lnTo>
                  <a:pt x="321" y="684"/>
                </a:lnTo>
                <a:lnTo>
                  <a:pt x="302" y="685"/>
                </a:lnTo>
                <a:lnTo>
                  <a:pt x="285" y="690"/>
                </a:lnTo>
                <a:lnTo>
                  <a:pt x="269" y="699"/>
                </a:lnTo>
                <a:lnTo>
                  <a:pt x="253" y="708"/>
                </a:lnTo>
                <a:lnTo>
                  <a:pt x="240" y="717"/>
                </a:lnTo>
                <a:lnTo>
                  <a:pt x="227" y="724"/>
                </a:lnTo>
                <a:lnTo>
                  <a:pt x="214" y="727"/>
                </a:lnTo>
                <a:lnTo>
                  <a:pt x="202" y="724"/>
                </a:lnTo>
                <a:lnTo>
                  <a:pt x="190" y="717"/>
                </a:lnTo>
                <a:lnTo>
                  <a:pt x="175" y="708"/>
                </a:lnTo>
                <a:lnTo>
                  <a:pt x="160" y="699"/>
                </a:lnTo>
                <a:lnTo>
                  <a:pt x="145" y="690"/>
                </a:lnTo>
                <a:lnTo>
                  <a:pt x="131" y="685"/>
                </a:lnTo>
                <a:lnTo>
                  <a:pt x="116" y="684"/>
                </a:lnTo>
                <a:lnTo>
                  <a:pt x="2" y="310"/>
                </a:lnTo>
                <a:lnTo>
                  <a:pt x="0" y="296"/>
                </a:lnTo>
                <a:lnTo>
                  <a:pt x="5" y="282"/>
                </a:lnTo>
                <a:lnTo>
                  <a:pt x="15" y="272"/>
                </a:lnTo>
                <a:lnTo>
                  <a:pt x="28" y="267"/>
                </a:lnTo>
                <a:lnTo>
                  <a:pt x="53" y="264"/>
                </a:lnTo>
                <a:lnTo>
                  <a:pt x="53" y="187"/>
                </a:lnTo>
                <a:lnTo>
                  <a:pt x="57" y="172"/>
                </a:lnTo>
                <a:lnTo>
                  <a:pt x="64" y="161"/>
                </a:lnTo>
                <a:lnTo>
                  <a:pt x="76" y="153"/>
                </a:lnTo>
                <a:lnTo>
                  <a:pt x="91" y="150"/>
                </a:lnTo>
                <a:lnTo>
                  <a:pt x="127" y="150"/>
                </a:lnTo>
                <a:lnTo>
                  <a:pt x="127" y="94"/>
                </a:lnTo>
                <a:lnTo>
                  <a:pt x="130" y="79"/>
                </a:lnTo>
                <a:lnTo>
                  <a:pt x="138" y="68"/>
                </a:lnTo>
                <a:lnTo>
                  <a:pt x="151" y="60"/>
                </a:lnTo>
                <a:lnTo>
                  <a:pt x="164" y="57"/>
                </a:lnTo>
                <a:lnTo>
                  <a:pt x="253" y="57"/>
                </a:lnTo>
                <a:lnTo>
                  <a:pt x="253" y="37"/>
                </a:lnTo>
                <a:lnTo>
                  <a:pt x="256" y="23"/>
                </a:lnTo>
                <a:lnTo>
                  <a:pt x="264" y="11"/>
                </a:lnTo>
                <a:lnTo>
                  <a:pt x="277" y="2"/>
                </a:lnTo>
                <a:lnTo>
                  <a:pt x="290" y="0"/>
                </a:ln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92" name="Freeform 581"/>
          <p:cNvSpPr>
            <a:spLocks noEditPoints="1"/>
          </p:cNvSpPr>
          <p:nvPr/>
        </p:nvSpPr>
        <p:spPr bwMode="auto">
          <a:xfrm>
            <a:off x="4060668" y="4015063"/>
            <a:ext cx="184865" cy="203196"/>
          </a:xfrm>
          <a:custGeom>
            <a:avLst/>
            <a:gdLst>
              <a:gd name="T0" fmla="*/ 363 w 642"/>
              <a:gd name="T1" fmla="*/ 721 h 811"/>
              <a:gd name="T2" fmla="*/ 427 w 642"/>
              <a:gd name="T3" fmla="*/ 750 h 811"/>
              <a:gd name="T4" fmla="*/ 491 w 642"/>
              <a:gd name="T5" fmla="*/ 721 h 811"/>
              <a:gd name="T6" fmla="*/ 558 w 642"/>
              <a:gd name="T7" fmla="*/ 712 h 811"/>
              <a:gd name="T8" fmla="*/ 587 w 642"/>
              <a:gd name="T9" fmla="*/ 740 h 811"/>
              <a:gd name="T10" fmla="*/ 583 w 642"/>
              <a:gd name="T11" fmla="*/ 782 h 811"/>
              <a:gd name="T12" fmla="*/ 558 w 642"/>
              <a:gd name="T13" fmla="*/ 773 h 811"/>
              <a:gd name="T14" fmla="*/ 491 w 642"/>
              <a:gd name="T15" fmla="*/ 782 h 811"/>
              <a:gd name="T16" fmla="*/ 427 w 642"/>
              <a:gd name="T17" fmla="*/ 811 h 811"/>
              <a:gd name="T18" fmla="*/ 363 w 642"/>
              <a:gd name="T19" fmla="*/ 782 h 811"/>
              <a:gd name="T20" fmla="*/ 307 w 642"/>
              <a:gd name="T21" fmla="*/ 769 h 811"/>
              <a:gd name="T22" fmla="*/ 246 w 642"/>
              <a:gd name="T23" fmla="*/ 801 h 811"/>
              <a:gd name="T24" fmla="*/ 183 w 642"/>
              <a:gd name="T25" fmla="*/ 801 h 811"/>
              <a:gd name="T26" fmla="*/ 118 w 642"/>
              <a:gd name="T27" fmla="*/ 768 h 811"/>
              <a:gd name="T28" fmla="*/ 64 w 642"/>
              <a:gd name="T29" fmla="*/ 783 h 811"/>
              <a:gd name="T30" fmla="*/ 54 w 642"/>
              <a:gd name="T31" fmla="*/ 778 h 811"/>
              <a:gd name="T32" fmla="*/ 60 w 642"/>
              <a:gd name="T33" fmla="*/ 725 h 811"/>
              <a:gd name="T34" fmla="*/ 118 w 642"/>
              <a:gd name="T35" fmla="*/ 707 h 811"/>
              <a:gd name="T36" fmla="*/ 183 w 642"/>
              <a:gd name="T37" fmla="*/ 740 h 811"/>
              <a:gd name="T38" fmla="*/ 246 w 642"/>
              <a:gd name="T39" fmla="*/ 740 h 811"/>
              <a:gd name="T40" fmla="*/ 307 w 642"/>
              <a:gd name="T41" fmla="*/ 707 h 811"/>
              <a:gd name="T42" fmla="*/ 165 w 642"/>
              <a:gd name="T43" fmla="*/ 107 h 811"/>
              <a:gd name="T44" fmla="*/ 159 w 642"/>
              <a:gd name="T45" fmla="*/ 167 h 811"/>
              <a:gd name="T46" fmla="*/ 149 w 642"/>
              <a:gd name="T47" fmla="*/ 182 h 811"/>
              <a:gd name="T48" fmla="*/ 98 w 642"/>
              <a:gd name="T49" fmla="*/ 182 h 811"/>
              <a:gd name="T50" fmla="*/ 550 w 642"/>
              <a:gd name="T51" fmla="*/ 258 h 811"/>
              <a:gd name="T52" fmla="*/ 515 w 642"/>
              <a:gd name="T53" fmla="*/ 182 h 811"/>
              <a:gd name="T54" fmla="*/ 486 w 642"/>
              <a:gd name="T55" fmla="*/ 176 h 811"/>
              <a:gd name="T56" fmla="*/ 482 w 642"/>
              <a:gd name="T57" fmla="*/ 115 h 811"/>
              <a:gd name="T58" fmla="*/ 469 w 642"/>
              <a:gd name="T59" fmla="*/ 105 h 811"/>
              <a:gd name="T60" fmla="*/ 366 w 642"/>
              <a:gd name="T61" fmla="*/ 2 h 811"/>
              <a:gd name="T62" fmla="*/ 388 w 642"/>
              <a:gd name="T63" fmla="*/ 57 h 811"/>
              <a:gd name="T64" fmla="*/ 511 w 642"/>
              <a:gd name="T65" fmla="*/ 79 h 811"/>
              <a:gd name="T66" fmla="*/ 566 w 642"/>
              <a:gd name="T67" fmla="*/ 153 h 811"/>
              <a:gd name="T68" fmla="*/ 588 w 642"/>
              <a:gd name="T69" fmla="*/ 264 h 811"/>
              <a:gd name="T70" fmla="*/ 642 w 642"/>
              <a:gd name="T71" fmla="*/ 296 h 811"/>
              <a:gd name="T72" fmla="*/ 498 w 642"/>
              <a:gd name="T73" fmla="*/ 690 h 811"/>
              <a:gd name="T74" fmla="*/ 439 w 642"/>
              <a:gd name="T75" fmla="*/ 724 h 811"/>
              <a:gd name="T76" fmla="*/ 388 w 642"/>
              <a:gd name="T77" fmla="*/ 708 h 811"/>
              <a:gd name="T78" fmla="*/ 321 w 642"/>
              <a:gd name="T79" fmla="*/ 684 h 811"/>
              <a:gd name="T80" fmla="*/ 253 w 642"/>
              <a:gd name="T81" fmla="*/ 708 h 811"/>
              <a:gd name="T82" fmla="*/ 202 w 642"/>
              <a:gd name="T83" fmla="*/ 724 h 811"/>
              <a:gd name="T84" fmla="*/ 145 w 642"/>
              <a:gd name="T85" fmla="*/ 690 h 811"/>
              <a:gd name="T86" fmla="*/ 0 w 642"/>
              <a:gd name="T87" fmla="*/ 296 h 811"/>
              <a:gd name="T88" fmla="*/ 53 w 642"/>
              <a:gd name="T89" fmla="*/ 264 h 811"/>
              <a:gd name="T90" fmla="*/ 76 w 642"/>
              <a:gd name="T91" fmla="*/ 153 h 811"/>
              <a:gd name="T92" fmla="*/ 130 w 642"/>
              <a:gd name="T93" fmla="*/ 79 h 811"/>
              <a:gd name="T94" fmla="*/ 253 w 642"/>
              <a:gd name="T95" fmla="*/ 57 h 811"/>
              <a:gd name="T96" fmla="*/ 277 w 642"/>
              <a:gd name="T97" fmla="*/ 2 h 8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642" h="811">
                <a:moveTo>
                  <a:pt x="321" y="707"/>
                </a:moveTo>
                <a:lnTo>
                  <a:pt x="334" y="707"/>
                </a:lnTo>
                <a:lnTo>
                  <a:pt x="348" y="711"/>
                </a:lnTo>
                <a:lnTo>
                  <a:pt x="363" y="721"/>
                </a:lnTo>
                <a:lnTo>
                  <a:pt x="379" y="730"/>
                </a:lnTo>
                <a:lnTo>
                  <a:pt x="395" y="740"/>
                </a:lnTo>
                <a:lnTo>
                  <a:pt x="411" y="747"/>
                </a:lnTo>
                <a:lnTo>
                  <a:pt x="427" y="750"/>
                </a:lnTo>
                <a:lnTo>
                  <a:pt x="443" y="747"/>
                </a:lnTo>
                <a:lnTo>
                  <a:pt x="459" y="740"/>
                </a:lnTo>
                <a:lnTo>
                  <a:pt x="475" y="730"/>
                </a:lnTo>
                <a:lnTo>
                  <a:pt x="491" y="721"/>
                </a:lnTo>
                <a:lnTo>
                  <a:pt x="508" y="711"/>
                </a:lnTo>
                <a:lnTo>
                  <a:pt x="524" y="707"/>
                </a:lnTo>
                <a:lnTo>
                  <a:pt x="541" y="707"/>
                </a:lnTo>
                <a:lnTo>
                  <a:pt x="558" y="712"/>
                </a:lnTo>
                <a:lnTo>
                  <a:pt x="575" y="719"/>
                </a:lnTo>
                <a:lnTo>
                  <a:pt x="582" y="725"/>
                </a:lnTo>
                <a:lnTo>
                  <a:pt x="586" y="733"/>
                </a:lnTo>
                <a:lnTo>
                  <a:pt x="587" y="740"/>
                </a:lnTo>
                <a:lnTo>
                  <a:pt x="587" y="776"/>
                </a:lnTo>
                <a:lnTo>
                  <a:pt x="587" y="778"/>
                </a:lnTo>
                <a:lnTo>
                  <a:pt x="586" y="780"/>
                </a:lnTo>
                <a:lnTo>
                  <a:pt x="583" y="782"/>
                </a:lnTo>
                <a:lnTo>
                  <a:pt x="581" y="783"/>
                </a:lnTo>
                <a:lnTo>
                  <a:pt x="579" y="783"/>
                </a:lnTo>
                <a:lnTo>
                  <a:pt x="575" y="782"/>
                </a:lnTo>
                <a:lnTo>
                  <a:pt x="558" y="773"/>
                </a:lnTo>
                <a:lnTo>
                  <a:pt x="541" y="769"/>
                </a:lnTo>
                <a:lnTo>
                  <a:pt x="524" y="768"/>
                </a:lnTo>
                <a:lnTo>
                  <a:pt x="508" y="773"/>
                </a:lnTo>
                <a:lnTo>
                  <a:pt x="491" y="782"/>
                </a:lnTo>
                <a:lnTo>
                  <a:pt x="475" y="793"/>
                </a:lnTo>
                <a:lnTo>
                  <a:pt x="459" y="801"/>
                </a:lnTo>
                <a:lnTo>
                  <a:pt x="443" y="809"/>
                </a:lnTo>
                <a:lnTo>
                  <a:pt x="427" y="811"/>
                </a:lnTo>
                <a:lnTo>
                  <a:pt x="411" y="809"/>
                </a:lnTo>
                <a:lnTo>
                  <a:pt x="395" y="801"/>
                </a:lnTo>
                <a:lnTo>
                  <a:pt x="379" y="793"/>
                </a:lnTo>
                <a:lnTo>
                  <a:pt x="363" y="782"/>
                </a:lnTo>
                <a:lnTo>
                  <a:pt x="348" y="773"/>
                </a:lnTo>
                <a:lnTo>
                  <a:pt x="334" y="769"/>
                </a:lnTo>
                <a:lnTo>
                  <a:pt x="321" y="768"/>
                </a:lnTo>
                <a:lnTo>
                  <a:pt x="307" y="769"/>
                </a:lnTo>
                <a:lnTo>
                  <a:pt x="295" y="773"/>
                </a:lnTo>
                <a:lnTo>
                  <a:pt x="278" y="782"/>
                </a:lnTo>
                <a:lnTo>
                  <a:pt x="262" y="793"/>
                </a:lnTo>
                <a:lnTo>
                  <a:pt x="246" y="801"/>
                </a:lnTo>
                <a:lnTo>
                  <a:pt x="231" y="809"/>
                </a:lnTo>
                <a:lnTo>
                  <a:pt x="214" y="811"/>
                </a:lnTo>
                <a:lnTo>
                  <a:pt x="198" y="809"/>
                </a:lnTo>
                <a:lnTo>
                  <a:pt x="183" y="801"/>
                </a:lnTo>
                <a:lnTo>
                  <a:pt x="167" y="793"/>
                </a:lnTo>
                <a:lnTo>
                  <a:pt x="151" y="782"/>
                </a:lnTo>
                <a:lnTo>
                  <a:pt x="135" y="773"/>
                </a:lnTo>
                <a:lnTo>
                  <a:pt x="118" y="768"/>
                </a:lnTo>
                <a:lnTo>
                  <a:pt x="101" y="769"/>
                </a:lnTo>
                <a:lnTo>
                  <a:pt x="83" y="773"/>
                </a:lnTo>
                <a:lnTo>
                  <a:pt x="66" y="782"/>
                </a:lnTo>
                <a:lnTo>
                  <a:pt x="64" y="783"/>
                </a:lnTo>
                <a:lnTo>
                  <a:pt x="61" y="783"/>
                </a:lnTo>
                <a:lnTo>
                  <a:pt x="58" y="782"/>
                </a:lnTo>
                <a:lnTo>
                  <a:pt x="57" y="780"/>
                </a:lnTo>
                <a:lnTo>
                  <a:pt x="54" y="778"/>
                </a:lnTo>
                <a:lnTo>
                  <a:pt x="54" y="776"/>
                </a:lnTo>
                <a:lnTo>
                  <a:pt x="54" y="740"/>
                </a:lnTo>
                <a:lnTo>
                  <a:pt x="55" y="733"/>
                </a:lnTo>
                <a:lnTo>
                  <a:pt x="60" y="725"/>
                </a:lnTo>
                <a:lnTo>
                  <a:pt x="66" y="719"/>
                </a:lnTo>
                <a:lnTo>
                  <a:pt x="83" y="712"/>
                </a:lnTo>
                <a:lnTo>
                  <a:pt x="101" y="707"/>
                </a:lnTo>
                <a:lnTo>
                  <a:pt x="118" y="707"/>
                </a:lnTo>
                <a:lnTo>
                  <a:pt x="135" y="711"/>
                </a:lnTo>
                <a:lnTo>
                  <a:pt x="151" y="721"/>
                </a:lnTo>
                <a:lnTo>
                  <a:pt x="167" y="730"/>
                </a:lnTo>
                <a:lnTo>
                  <a:pt x="183" y="740"/>
                </a:lnTo>
                <a:lnTo>
                  <a:pt x="198" y="747"/>
                </a:lnTo>
                <a:lnTo>
                  <a:pt x="214" y="750"/>
                </a:lnTo>
                <a:lnTo>
                  <a:pt x="231" y="747"/>
                </a:lnTo>
                <a:lnTo>
                  <a:pt x="246" y="740"/>
                </a:lnTo>
                <a:lnTo>
                  <a:pt x="262" y="730"/>
                </a:lnTo>
                <a:lnTo>
                  <a:pt x="278" y="721"/>
                </a:lnTo>
                <a:lnTo>
                  <a:pt x="295" y="711"/>
                </a:lnTo>
                <a:lnTo>
                  <a:pt x="307" y="707"/>
                </a:lnTo>
                <a:lnTo>
                  <a:pt x="321" y="707"/>
                </a:lnTo>
                <a:close/>
                <a:moveTo>
                  <a:pt x="174" y="105"/>
                </a:moveTo>
                <a:lnTo>
                  <a:pt x="169" y="105"/>
                </a:lnTo>
                <a:lnTo>
                  <a:pt x="165" y="107"/>
                </a:lnTo>
                <a:lnTo>
                  <a:pt x="162" y="111"/>
                </a:lnTo>
                <a:lnTo>
                  <a:pt x="159" y="115"/>
                </a:lnTo>
                <a:lnTo>
                  <a:pt x="159" y="120"/>
                </a:lnTo>
                <a:lnTo>
                  <a:pt x="159" y="167"/>
                </a:lnTo>
                <a:lnTo>
                  <a:pt x="158" y="172"/>
                </a:lnTo>
                <a:lnTo>
                  <a:pt x="157" y="176"/>
                </a:lnTo>
                <a:lnTo>
                  <a:pt x="153" y="179"/>
                </a:lnTo>
                <a:lnTo>
                  <a:pt x="149" y="182"/>
                </a:lnTo>
                <a:lnTo>
                  <a:pt x="145" y="182"/>
                </a:lnTo>
                <a:lnTo>
                  <a:pt x="126" y="182"/>
                </a:lnTo>
                <a:lnTo>
                  <a:pt x="110" y="182"/>
                </a:lnTo>
                <a:lnTo>
                  <a:pt x="98" y="182"/>
                </a:lnTo>
                <a:lnTo>
                  <a:pt x="92" y="182"/>
                </a:lnTo>
                <a:lnTo>
                  <a:pt x="92" y="258"/>
                </a:lnTo>
                <a:lnTo>
                  <a:pt x="321" y="227"/>
                </a:lnTo>
                <a:lnTo>
                  <a:pt x="550" y="258"/>
                </a:lnTo>
                <a:lnTo>
                  <a:pt x="550" y="182"/>
                </a:lnTo>
                <a:lnTo>
                  <a:pt x="544" y="182"/>
                </a:lnTo>
                <a:lnTo>
                  <a:pt x="532" y="182"/>
                </a:lnTo>
                <a:lnTo>
                  <a:pt x="515" y="182"/>
                </a:lnTo>
                <a:lnTo>
                  <a:pt x="497" y="182"/>
                </a:lnTo>
                <a:lnTo>
                  <a:pt x="493" y="182"/>
                </a:lnTo>
                <a:lnTo>
                  <a:pt x="488" y="179"/>
                </a:lnTo>
                <a:lnTo>
                  <a:pt x="486" y="176"/>
                </a:lnTo>
                <a:lnTo>
                  <a:pt x="483" y="172"/>
                </a:lnTo>
                <a:lnTo>
                  <a:pt x="483" y="167"/>
                </a:lnTo>
                <a:lnTo>
                  <a:pt x="483" y="120"/>
                </a:lnTo>
                <a:lnTo>
                  <a:pt x="482" y="115"/>
                </a:lnTo>
                <a:lnTo>
                  <a:pt x="480" y="111"/>
                </a:lnTo>
                <a:lnTo>
                  <a:pt x="477" y="107"/>
                </a:lnTo>
                <a:lnTo>
                  <a:pt x="472" y="105"/>
                </a:lnTo>
                <a:lnTo>
                  <a:pt x="469" y="105"/>
                </a:lnTo>
                <a:lnTo>
                  <a:pt x="174" y="105"/>
                </a:lnTo>
                <a:close/>
                <a:moveTo>
                  <a:pt x="290" y="0"/>
                </a:moveTo>
                <a:lnTo>
                  <a:pt x="351" y="0"/>
                </a:lnTo>
                <a:lnTo>
                  <a:pt x="366" y="2"/>
                </a:lnTo>
                <a:lnTo>
                  <a:pt x="378" y="11"/>
                </a:lnTo>
                <a:lnTo>
                  <a:pt x="385" y="23"/>
                </a:lnTo>
                <a:lnTo>
                  <a:pt x="388" y="37"/>
                </a:lnTo>
                <a:lnTo>
                  <a:pt x="388" y="57"/>
                </a:lnTo>
                <a:lnTo>
                  <a:pt x="477" y="57"/>
                </a:lnTo>
                <a:lnTo>
                  <a:pt x="492" y="60"/>
                </a:lnTo>
                <a:lnTo>
                  <a:pt x="503" y="68"/>
                </a:lnTo>
                <a:lnTo>
                  <a:pt x="511" y="79"/>
                </a:lnTo>
                <a:lnTo>
                  <a:pt x="514" y="94"/>
                </a:lnTo>
                <a:lnTo>
                  <a:pt x="514" y="150"/>
                </a:lnTo>
                <a:lnTo>
                  <a:pt x="552" y="150"/>
                </a:lnTo>
                <a:lnTo>
                  <a:pt x="566" y="153"/>
                </a:lnTo>
                <a:lnTo>
                  <a:pt x="577" y="161"/>
                </a:lnTo>
                <a:lnTo>
                  <a:pt x="586" y="172"/>
                </a:lnTo>
                <a:lnTo>
                  <a:pt x="588" y="187"/>
                </a:lnTo>
                <a:lnTo>
                  <a:pt x="588" y="264"/>
                </a:lnTo>
                <a:lnTo>
                  <a:pt x="614" y="267"/>
                </a:lnTo>
                <a:lnTo>
                  <a:pt x="627" y="272"/>
                </a:lnTo>
                <a:lnTo>
                  <a:pt x="637" y="282"/>
                </a:lnTo>
                <a:lnTo>
                  <a:pt x="642" y="296"/>
                </a:lnTo>
                <a:lnTo>
                  <a:pt x="641" y="310"/>
                </a:lnTo>
                <a:lnTo>
                  <a:pt x="526" y="684"/>
                </a:lnTo>
                <a:lnTo>
                  <a:pt x="511" y="685"/>
                </a:lnTo>
                <a:lnTo>
                  <a:pt x="498" y="690"/>
                </a:lnTo>
                <a:lnTo>
                  <a:pt x="482" y="699"/>
                </a:lnTo>
                <a:lnTo>
                  <a:pt x="466" y="708"/>
                </a:lnTo>
                <a:lnTo>
                  <a:pt x="453" y="717"/>
                </a:lnTo>
                <a:lnTo>
                  <a:pt x="439" y="724"/>
                </a:lnTo>
                <a:lnTo>
                  <a:pt x="427" y="727"/>
                </a:lnTo>
                <a:lnTo>
                  <a:pt x="415" y="724"/>
                </a:lnTo>
                <a:lnTo>
                  <a:pt x="403" y="717"/>
                </a:lnTo>
                <a:lnTo>
                  <a:pt x="388" y="708"/>
                </a:lnTo>
                <a:lnTo>
                  <a:pt x="373" y="699"/>
                </a:lnTo>
                <a:lnTo>
                  <a:pt x="357" y="690"/>
                </a:lnTo>
                <a:lnTo>
                  <a:pt x="339" y="685"/>
                </a:lnTo>
                <a:lnTo>
                  <a:pt x="321" y="684"/>
                </a:lnTo>
                <a:lnTo>
                  <a:pt x="302" y="685"/>
                </a:lnTo>
                <a:lnTo>
                  <a:pt x="285" y="690"/>
                </a:lnTo>
                <a:lnTo>
                  <a:pt x="269" y="699"/>
                </a:lnTo>
                <a:lnTo>
                  <a:pt x="253" y="708"/>
                </a:lnTo>
                <a:lnTo>
                  <a:pt x="240" y="717"/>
                </a:lnTo>
                <a:lnTo>
                  <a:pt x="227" y="724"/>
                </a:lnTo>
                <a:lnTo>
                  <a:pt x="214" y="727"/>
                </a:lnTo>
                <a:lnTo>
                  <a:pt x="202" y="724"/>
                </a:lnTo>
                <a:lnTo>
                  <a:pt x="190" y="717"/>
                </a:lnTo>
                <a:lnTo>
                  <a:pt x="175" y="708"/>
                </a:lnTo>
                <a:lnTo>
                  <a:pt x="160" y="699"/>
                </a:lnTo>
                <a:lnTo>
                  <a:pt x="145" y="690"/>
                </a:lnTo>
                <a:lnTo>
                  <a:pt x="131" y="685"/>
                </a:lnTo>
                <a:lnTo>
                  <a:pt x="116" y="684"/>
                </a:lnTo>
                <a:lnTo>
                  <a:pt x="2" y="310"/>
                </a:lnTo>
                <a:lnTo>
                  <a:pt x="0" y="296"/>
                </a:lnTo>
                <a:lnTo>
                  <a:pt x="5" y="282"/>
                </a:lnTo>
                <a:lnTo>
                  <a:pt x="15" y="272"/>
                </a:lnTo>
                <a:lnTo>
                  <a:pt x="28" y="267"/>
                </a:lnTo>
                <a:lnTo>
                  <a:pt x="53" y="264"/>
                </a:lnTo>
                <a:lnTo>
                  <a:pt x="53" y="187"/>
                </a:lnTo>
                <a:lnTo>
                  <a:pt x="57" y="172"/>
                </a:lnTo>
                <a:lnTo>
                  <a:pt x="64" y="161"/>
                </a:lnTo>
                <a:lnTo>
                  <a:pt x="76" y="153"/>
                </a:lnTo>
                <a:lnTo>
                  <a:pt x="91" y="150"/>
                </a:lnTo>
                <a:lnTo>
                  <a:pt x="127" y="150"/>
                </a:lnTo>
                <a:lnTo>
                  <a:pt x="127" y="94"/>
                </a:lnTo>
                <a:lnTo>
                  <a:pt x="130" y="79"/>
                </a:lnTo>
                <a:lnTo>
                  <a:pt x="138" y="68"/>
                </a:lnTo>
                <a:lnTo>
                  <a:pt x="151" y="60"/>
                </a:lnTo>
                <a:lnTo>
                  <a:pt x="164" y="57"/>
                </a:lnTo>
                <a:lnTo>
                  <a:pt x="253" y="57"/>
                </a:lnTo>
                <a:lnTo>
                  <a:pt x="253" y="37"/>
                </a:lnTo>
                <a:lnTo>
                  <a:pt x="256" y="23"/>
                </a:lnTo>
                <a:lnTo>
                  <a:pt x="264" y="11"/>
                </a:lnTo>
                <a:lnTo>
                  <a:pt x="277" y="2"/>
                </a:lnTo>
                <a:lnTo>
                  <a:pt x="290" y="0"/>
                </a:lnTo>
                <a:close/>
              </a:path>
            </a:pathLst>
          </a:custGeom>
          <a:solidFill>
            <a:srgbClr val="C00000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rgbClr val="000000"/>
              </a:solidFill>
              <a:latin typeface="Calibri" panose="020F0502020204030204"/>
            </a:endParaRPr>
          </a:p>
        </p:txBody>
      </p:sp>
      <p:sp>
        <p:nvSpPr>
          <p:cNvPr id="193" name="Ovale 192">
            <a:extLst>
              <a:ext uri="{FF2B5EF4-FFF2-40B4-BE49-F238E27FC236}">
                <a16:creationId xmlns:a16="http://schemas.microsoft.com/office/drawing/2014/main" id="{56CD3B55-9D3B-4922-AD61-32350A654EA9}"/>
              </a:ext>
            </a:extLst>
          </p:cNvPr>
          <p:cNvSpPr/>
          <p:nvPr/>
        </p:nvSpPr>
        <p:spPr>
          <a:xfrm>
            <a:off x="244549" y="5557300"/>
            <a:ext cx="288620" cy="285622"/>
          </a:xfrm>
          <a:prstGeom prst="ellipse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t-I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4" name="Rettangolo 193"/>
          <p:cNvSpPr/>
          <p:nvPr/>
        </p:nvSpPr>
        <p:spPr>
          <a:xfrm>
            <a:off x="548718" y="5560873"/>
            <a:ext cx="270119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it-IT" sz="1200" b="1">
                <a:solidFill>
                  <a:srgbClr val="000000"/>
                </a:solidFill>
              </a:rPr>
              <a:t>Nuovi collegamenti alla rete ferroviaria</a:t>
            </a:r>
          </a:p>
        </p:txBody>
      </p:sp>
      <p:sp>
        <p:nvSpPr>
          <p:cNvPr id="195" name="TextBox 173">
            <a:extLst>
              <a:ext uri="{FF2B5EF4-FFF2-40B4-BE49-F238E27FC236}">
                <a16:creationId xmlns:a16="http://schemas.microsoft.com/office/drawing/2014/main" id="{0B7C1F53-58AE-4B77-ACCA-49ED04191894}"/>
              </a:ext>
            </a:extLst>
          </p:cNvPr>
          <p:cNvSpPr txBox="1"/>
          <p:nvPr/>
        </p:nvSpPr>
        <p:spPr>
          <a:xfrm>
            <a:off x="10216288" y="2265868"/>
            <a:ext cx="1602135" cy="1560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algn="ctr" defTabSz="895328">
              <a:buClr>
                <a:srgbClr val="D90000"/>
              </a:buClr>
              <a:defRPr/>
            </a:pPr>
            <a:r>
              <a:rPr lang="it-IT" sz="1067" kern="0"/>
              <a:t>Progettazione (2^ fase)</a:t>
            </a:r>
            <a:endParaRPr lang="it-IT" sz="1067" b="1" kern="0"/>
          </a:p>
        </p:txBody>
      </p:sp>
      <p:pic>
        <p:nvPicPr>
          <p:cNvPr id="144" name="Immagine 143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839583" y="2949691"/>
            <a:ext cx="324000" cy="306948"/>
          </a:xfrm>
          <a:prstGeom prst="rect">
            <a:avLst/>
          </a:prstGeom>
        </p:spPr>
      </p:pic>
      <p:pic>
        <p:nvPicPr>
          <p:cNvPr id="145" name="Immagine 144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839583" y="6045316"/>
            <a:ext cx="324000" cy="306948"/>
          </a:xfrm>
          <a:prstGeom prst="rect">
            <a:avLst/>
          </a:prstGeom>
        </p:spPr>
      </p:pic>
      <p:pic>
        <p:nvPicPr>
          <p:cNvPr id="159" name="Immagine 158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839583" y="3562916"/>
            <a:ext cx="324000" cy="306948"/>
          </a:xfrm>
          <a:prstGeom prst="rect">
            <a:avLst/>
          </a:prstGeom>
        </p:spPr>
      </p:pic>
      <p:pic>
        <p:nvPicPr>
          <p:cNvPr id="180" name="Immagine 179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839583" y="5774071"/>
            <a:ext cx="324000" cy="306948"/>
          </a:xfrm>
          <a:prstGeom prst="rect">
            <a:avLst/>
          </a:prstGeom>
        </p:spPr>
      </p:pic>
      <p:pic>
        <p:nvPicPr>
          <p:cNvPr id="196" name="Immagine 195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839583" y="6375313"/>
            <a:ext cx="324000" cy="306948"/>
          </a:xfrm>
          <a:prstGeom prst="rect">
            <a:avLst/>
          </a:prstGeom>
        </p:spPr>
      </p:pic>
      <p:pic>
        <p:nvPicPr>
          <p:cNvPr id="197" name="Immagine 196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839583" y="5277878"/>
            <a:ext cx="324000" cy="306948"/>
          </a:xfrm>
          <a:prstGeom prst="rect">
            <a:avLst/>
          </a:prstGeom>
        </p:spPr>
      </p:pic>
      <p:grpSp>
        <p:nvGrpSpPr>
          <p:cNvPr id="11" name="Gruppo 10"/>
          <p:cNvGrpSpPr/>
          <p:nvPr/>
        </p:nvGrpSpPr>
        <p:grpSpPr>
          <a:xfrm>
            <a:off x="232070" y="5923419"/>
            <a:ext cx="4053463" cy="306948"/>
            <a:chOff x="244837" y="5947889"/>
            <a:chExt cx="4053463" cy="306948"/>
          </a:xfrm>
          <a:solidFill>
            <a:schemeClr val="bg1"/>
          </a:solidFill>
        </p:grpSpPr>
        <p:pic>
          <p:nvPicPr>
            <p:cNvPr id="198" name="Immagine 197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244837" y="5947889"/>
              <a:ext cx="324000" cy="306948"/>
            </a:xfrm>
            <a:prstGeom prst="rect">
              <a:avLst/>
            </a:prstGeom>
            <a:grpFill/>
          </p:spPr>
        </p:pic>
        <p:sp>
          <p:nvSpPr>
            <p:cNvPr id="199" name="Rettangolo 198"/>
            <p:cNvSpPr/>
            <p:nvPr/>
          </p:nvSpPr>
          <p:spPr>
            <a:xfrm>
              <a:off x="569009" y="5965264"/>
              <a:ext cx="3729291" cy="276999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lvl="0" algn="just">
                <a:defRPr/>
              </a:pPr>
              <a:r>
                <a:rPr lang="it-IT" sz="1200" b="1">
                  <a:solidFill>
                    <a:srgbClr val="000000"/>
                  </a:solidFill>
                </a:rPr>
                <a:t>Interventi totalmente o parzialmente finanziati in PNRR </a:t>
              </a:r>
            </a:p>
          </p:txBody>
        </p:sp>
      </p:grpSp>
      <p:pic>
        <p:nvPicPr>
          <p:cNvPr id="200" name="Immagine 199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839583" y="2136248"/>
            <a:ext cx="324000" cy="306948"/>
          </a:xfrm>
          <a:prstGeom prst="rect">
            <a:avLst/>
          </a:prstGeom>
        </p:spPr>
      </p:pic>
      <p:pic>
        <p:nvPicPr>
          <p:cNvPr id="201" name="Immagine 200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5839583" y="2527785"/>
            <a:ext cx="324000" cy="306948"/>
          </a:xfrm>
          <a:prstGeom prst="rect">
            <a:avLst/>
          </a:prstGeom>
        </p:spPr>
      </p:pic>
      <p:sp>
        <p:nvSpPr>
          <p:cNvPr id="8" name="Parentesi graffa aperta 7"/>
          <p:cNvSpPr/>
          <p:nvPr/>
        </p:nvSpPr>
        <p:spPr>
          <a:xfrm>
            <a:off x="5588702" y="1857671"/>
            <a:ext cx="348915" cy="4824590"/>
          </a:xfrm>
          <a:prstGeom prst="leftBrace">
            <a:avLst>
              <a:gd name="adj1" fmla="val 0"/>
              <a:gd name="adj2" fmla="val 50854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cxnSp>
        <p:nvCxnSpPr>
          <p:cNvPr id="203" name="Connettore diritto 202"/>
          <p:cNvCxnSpPr/>
          <p:nvPr/>
        </p:nvCxnSpPr>
        <p:spPr>
          <a:xfrm flipV="1">
            <a:off x="7466878" y="4138222"/>
            <a:ext cx="4399088" cy="4199"/>
          </a:xfrm>
          <a:prstGeom prst="line">
            <a:avLst/>
          </a:prstGeom>
          <a:ln w="317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4" name="TextBox 173">
            <a:extLst>
              <a:ext uri="{FF2B5EF4-FFF2-40B4-BE49-F238E27FC236}">
                <a16:creationId xmlns:a16="http://schemas.microsoft.com/office/drawing/2014/main" id="{0B7C1F53-58AE-4B77-ACCA-49ED04191894}"/>
              </a:ext>
            </a:extLst>
          </p:cNvPr>
          <p:cNvSpPr txBox="1"/>
          <p:nvPr/>
        </p:nvSpPr>
        <p:spPr>
          <a:xfrm>
            <a:off x="10218364" y="3986900"/>
            <a:ext cx="1602135" cy="156005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algn="ctr" defTabSz="895328">
              <a:buClr>
                <a:srgbClr val="D90000"/>
              </a:buClr>
              <a:defRPr/>
            </a:pPr>
            <a:r>
              <a:rPr lang="it-IT" sz="1067" kern="0" dirty="0"/>
              <a:t>Realizzazione</a:t>
            </a:r>
          </a:p>
        </p:txBody>
      </p:sp>
      <p:sp>
        <p:nvSpPr>
          <p:cNvPr id="207" name="TextBox 173">
            <a:extLst>
              <a:ext uri="{FF2B5EF4-FFF2-40B4-BE49-F238E27FC236}">
                <a16:creationId xmlns:a16="http://schemas.microsoft.com/office/drawing/2014/main" id="{0B7C1F53-58AE-4B77-ACCA-49ED04191894}"/>
              </a:ext>
            </a:extLst>
          </p:cNvPr>
          <p:cNvSpPr txBox="1"/>
          <p:nvPr/>
        </p:nvSpPr>
        <p:spPr>
          <a:xfrm>
            <a:off x="12315397" y="3729242"/>
            <a:ext cx="1167019" cy="31200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marL="0" lvl="0" indent="0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1pPr>
            <a:lvl2pPr marL="179241" lvl="1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•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2pPr>
            <a:lvl3pPr marL="349519" lvl="2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–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3pPr>
            <a:lvl4pPr marL="528760" lvl="3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Arial" panose="020B0604020202020204" pitchFamily="34" charset="0"/>
              <a:buChar char="▫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4pPr>
            <a:lvl5pPr marL="708001" lvl="4" indent="-179241" defTabSz="895350" eaLnBrk="1" latinLnBrk="0" hangingPunct="1">
              <a:lnSpc>
                <a:spcPct val="95000"/>
              </a:lnSpc>
              <a:buClr>
                <a:schemeClr val="tx2"/>
              </a:buClr>
              <a:buSzPct val="100000"/>
              <a:buFont typeface="Calibri" panose="020F0502020204030204" pitchFamily="34" charset="0"/>
              <a:buChar char="∙"/>
              <a:defRPr lang="en-US" sz="1800" baseline="0" dirty="0">
                <a:latin typeface="Calibri" panose="020F0502020204030204" pitchFamily="34" charset="0"/>
                <a:sym typeface="Calibri" panose="020F0502020204030204" pitchFamily="34" charset="0"/>
              </a:defRPr>
            </a:lvl5pPr>
            <a:lvl6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6pPr>
            <a:lvl7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7pPr>
            <a:lvl8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8pPr>
            <a:lvl9pPr marL="734887" indent="-127585" defTabSz="877533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x-none" sz="1568" baseline="0">
                <a:latin typeface="+mn-lt"/>
              </a:defRPr>
            </a:lvl9pPr>
          </a:lstStyle>
          <a:p>
            <a:pPr algn="ctr" defTabSz="895328">
              <a:buClr>
                <a:srgbClr val="D90000"/>
              </a:buClr>
              <a:defRPr/>
            </a:pPr>
            <a:r>
              <a:rPr lang="it-IT" sz="1067" kern="0" dirty="0">
                <a:solidFill>
                  <a:schemeClr val="tx2"/>
                </a:solidFill>
              </a:rPr>
              <a:t>SX in ITER e </a:t>
            </a:r>
          </a:p>
          <a:p>
            <a:pPr algn="ctr" defTabSz="895328">
              <a:buClr>
                <a:srgbClr val="D90000"/>
              </a:buClr>
              <a:defRPr/>
            </a:pPr>
            <a:r>
              <a:rPr lang="it-IT" sz="1067" kern="0" dirty="0">
                <a:solidFill>
                  <a:schemeClr val="tx2"/>
                </a:solidFill>
              </a:rPr>
              <a:t>DX in Progettazione</a:t>
            </a:r>
            <a:endParaRPr lang="it-IT" sz="1067" b="1" kern="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488880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60916" y="1272522"/>
            <a:ext cx="4996384" cy="5020176"/>
          </a:xfrm>
          <a:prstGeom prst="rect">
            <a:avLst/>
          </a:prstGeom>
        </p:spPr>
      </p:pic>
      <p:sp>
        <p:nvSpPr>
          <p:cNvPr id="221" name="Segnaposto contenuto 3">
            <a:extLst>
              <a:ext uri="{FF2B5EF4-FFF2-40B4-BE49-F238E27FC236}">
                <a16:creationId xmlns:a16="http://schemas.microsoft.com/office/drawing/2014/main" id="{9A26FD56-ADBF-462D-ADAF-F4FBCDA4CA12}"/>
              </a:ext>
            </a:extLst>
          </p:cNvPr>
          <p:cNvSpPr txBox="1">
            <a:spLocks/>
          </p:cNvSpPr>
          <p:nvPr/>
        </p:nvSpPr>
        <p:spPr bwMode="auto">
          <a:xfrm>
            <a:off x="407368" y="866367"/>
            <a:ext cx="11176620" cy="390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t" anchorCtr="0" compatLnSpc="1">
            <a:prstTxWarp prst="textNoShape">
              <a:avLst/>
            </a:prstTxWarp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" panose="020B0604020202020204" pitchFamily="34" charset="0"/>
              <a:buNone/>
              <a:defRPr lang="it-IT" sz="2000" b="1" kern="1200" smtClean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>
                <a:tab pos="806450" algn="l"/>
              </a:tabLst>
              <a:defRPr lang="it-IT" sz="18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714375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40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lang="it-IT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>
                <a:ln>
                  <a:noFill/>
                </a:ln>
                <a:solidFill>
                  <a:srgbClr val="00666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glioramento collegamenti con terminali</a:t>
            </a:r>
          </a:p>
        </p:txBody>
      </p:sp>
      <p:sp>
        <p:nvSpPr>
          <p:cNvPr id="222" name="Titolo 1">
            <a:extLst>
              <a:ext uri="{FF2B5EF4-FFF2-40B4-BE49-F238E27FC236}">
                <a16:creationId xmlns:a16="http://schemas.microsoft.com/office/drawing/2014/main" id="{62B3A30F-BFC8-4B9C-81C6-0D4A51975AB2}"/>
              </a:ext>
            </a:extLst>
          </p:cNvPr>
          <p:cNvSpPr txBox="1">
            <a:spLocks/>
          </p:cNvSpPr>
          <p:nvPr/>
        </p:nvSpPr>
        <p:spPr bwMode="auto">
          <a:xfrm>
            <a:off x="407368" y="0"/>
            <a:ext cx="11176620" cy="866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91440" bIns="45720" numCol="1" rtlCol="0" anchor="b" anchorCtr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it-IT" sz="28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800" b="1" i="0" u="none" strike="noStrike" kern="1200" cap="none" spc="0" normalizeH="0" baseline="0" noProof="0">
                <a:ln>
                  <a:noFill/>
                </a:ln>
                <a:solidFill>
                  <a:srgbClr val="DC002E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Infrastruttura e nodi intermodali</a:t>
            </a:r>
          </a:p>
        </p:txBody>
      </p:sp>
      <p:grpSp>
        <p:nvGrpSpPr>
          <p:cNvPr id="4" name="Gruppo 3"/>
          <p:cNvGrpSpPr/>
          <p:nvPr/>
        </p:nvGrpSpPr>
        <p:grpSpPr>
          <a:xfrm>
            <a:off x="5487465" y="1062071"/>
            <a:ext cx="6173058" cy="5175315"/>
            <a:chOff x="5487465" y="1062071"/>
            <a:chExt cx="6173058" cy="5175315"/>
          </a:xfrm>
        </p:grpSpPr>
        <p:sp>
          <p:nvSpPr>
            <p:cNvPr id="96" name="CasellaDiTesto 95"/>
            <p:cNvSpPr txBox="1"/>
            <p:nvPr/>
          </p:nvSpPr>
          <p:spPr>
            <a:xfrm>
              <a:off x="10245457" y="1601952"/>
              <a:ext cx="804439" cy="67710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3</a:t>
              </a:r>
            </a:p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Nuove fermate</a:t>
              </a:r>
            </a:p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eroportuali</a:t>
              </a:r>
            </a:p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0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al 2023</a:t>
              </a:r>
            </a:p>
          </p:txBody>
        </p:sp>
        <p:sp>
          <p:nvSpPr>
            <p:cNvPr id="97" name="Pentagon 3">
              <a:extLst>
                <a:ext uri="{FF2B5EF4-FFF2-40B4-BE49-F238E27FC236}">
                  <a16:creationId xmlns:a16="http://schemas.microsoft.com/office/drawing/2014/main" id="{68E5F125-500F-4880-93CD-3FB48824C07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87465" y="1342134"/>
              <a:ext cx="6142592" cy="4895252"/>
            </a:xfrm>
            <a:prstGeom prst="homePlate">
              <a:avLst>
                <a:gd name="adj" fmla="val 0"/>
              </a:avLst>
            </a:prstGeom>
            <a:solidFill>
              <a:srgbClr val="FFFFFF"/>
            </a:solidFill>
            <a:ln w="19050" algn="ctr">
              <a:solidFill>
                <a:srgbClr val="D90000"/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none" lIns="121920" tIns="60960" rIns="121920" bIns="60960" numCol="1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it-IT" sz="1333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ＭＳ Ｐゴシック"/>
                <a:cs typeface="Arial" pitchFamily="34" charset="0"/>
              </a:endParaRPr>
            </a:p>
          </p:txBody>
        </p:sp>
        <p:sp>
          <p:nvSpPr>
            <p:cNvPr id="98" name="AutoShape 250">
              <a:extLst>
                <a:ext uri="{FF2B5EF4-FFF2-40B4-BE49-F238E27FC236}">
                  <a16:creationId xmlns:a16="http://schemas.microsoft.com/office/drawing/2014/main" id="{BA352674-A44D-4855-9DDF-FAA9419A3A48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014577" y="1539608"/>
              <a:ext cx="890633" cy="2297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24384" anchor="b">
              <a:spAutoFit/>
            </a:bodyPr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333" b="1" i="0" u="none" strike="noStrike" kern="0" cap="none" spc="0" normalizeH="0" baseline="0" noProof="0">
                  <a:ln>
                    <a:noFill/>
                  </a:ln>
                  <a:solidFill>
                    <a:srgbClr val="D90000"/>
                  </a:solidFill>
                  <a:effectLst/>
                  <a:uLnTx/>
                  <a:uFillTx/>
                  <a:latin typeface="Calibri"/>
                  <a:ea typeface="Arial Unicode MS" pitchFamily="34" charset="-128"/>
                  <a:cs typeface="Arial Unicode MS" pitchFamily="34" charset="-128"/>
                </a:rPr>
                <a:t>Terminale</a:t>
              </a:r>
              <a:endParaRPr kumimoji="0" lang="it-IT" sz="1333" b="0" i="0" u="none" strike="noStrike" kern="0" cap="none" spc="0" normalizeH="0" baseline="0" noProof="0">
                <a:ln>
                  <a:noFill/>
                </a:ln>
                <a:solidFill>
                  <a:srgbClr val="D90000"/>
                </a:solidFill>
                <a:effectLst/>
                <a:uLnTx/>
                <a:uFillTx/>
                <a:latin typeface="Calibri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03" name="TextBox 115">
              <a:extLst>
                <a:ext uri="{FF2B5EF4-FFF2-40B4-BE49-F238E27FC236}">
                  <a16:creationId xmlns:a16="http://schemas.microsoft.com/office/drawing/2014/main" id="{91DF077A-927A-4CB3-8E86-281CA4365373}"/>
                </a:ext>
              </a:extLst>
            </p:cNvPr>
            <p:cNvSpPr txBox="1"/>
            <p:nvPr/>
          </p:nvSpPr>
          <p:spPr>
            <a:xfrm>
              <a:off x="6000739" y="3818909"/>
              <a:ext cx="3335676" cy="15600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06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Brescia</a:t>
              </a:r>
            </a:p>
          </p:txBody>
        </p:sp>
        <p:cxnSp>
          <p:nvCxnSpPr>
            <p:cNvPr id="104" name="Straight Connector 131">
              <a:extLst>
                <a:ext uri="{FF2B5EF4-FFF2-40B4-BE49-F238E27FC236}">
                  <a16:creationId xmlns:a16="http://schemas.microsoft.com/office/drawing/2014/main" id="{0512F040-D329-4A71-B10D-F40EAA9D2437}"/>
                </a:ext>
              </a:extLst>
            </p:cNvPr>
            <p:cNvCxnSpPr>
              <a:cxnSpLocks/>
            </p:cNvCxnSpPr>
            <p:nvPr>
              <p:custDataLst>
                <p:tags r:id="rId1"/>
              </p:custDataLst>
            </p:nvPr>
          </p:nvCxnSpPr>
          <p:spPr bwMode="gray">
            <a:xfrm>
              <a:off x="5978057" y="3355056"/>
              <a:ext cx="5652000" cy="0"/>
            </a:xfrm>
            <a:prstGeom prst="line">
              <a:avLst/>
            </a:prstGeom>
            <a:noFill/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cxnSp>
          <p:nvCxnSpPr>
            <p:cNvPr id="105" name="Straight Connector 132">
              <a:extLst>
                <a:ext uri="{FF2B5EF4-FFF2-40B4-BE49-F238E27FC236}">
                  <a16:creationId xmlns:a16="http://schemas.microsoft.com/office/drawing/2014/main" id="{4659CB69-8B58-4929-8152-9CE9C601ED81}"/>
                </a:ext>
              </a:extLst>
            </p:cNvPr>
            <p:cNvCxnSpPr>
              <a:cxnSpLocks/>
            </p:cNvCxnSpPr>
            <p:nvPr>
              <p:custDataLst>
                <p:tags r:id="rId2"/>
              </p:custDataLst>
            </p:nvPr>
          </p:nvCxnSpPr>
          <p:spPr bwMode="gray">
            <a:xfrm>
              <a:off x="5978057" y="2281694"/>
              <a:ext cx="5652000" cy="0"/>
            </a:xfrm>
            <a:prstGeom prst="line">
              <a:avLst/>
            </a:prstGeom>
            <a:noFill/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cxnSp>
          <p:nvCxnSpPr>
            <p:cNvPr id="106" name="Straight Connector 133">
              <a:extLst>
                <a:ext uri="{FF2B5EF4-FFF2-40B4-BE49-F238E27FC236}">
                  <a16:creationId xmlns:a16="http://schemas.microsoft.com/office/drawing/2014/main" id="{9DEDE594-8953-46A0-A2CC-0BF01BB2B2DE}"/>
                </a:ext>
              </a:extLst>
            </p:cNvPr>
            <p:cNvCxnSpPr>
              <a:cxnSpLocks/>
            </p:cNvCxnSpPr>
            <p:nvPr>
              <p:custDataLst>
                <p:tags r:id="rId3"/>
              </p:custDataLst>
            </p:nvPr>
          </p:nvCxnSpPr>
          <p:spPr bwMode="gray">
            <a:xfrm>
              <a:off x="5978057" y="3723916"/>
              <a:ext cx="5652000" cy="0"/>
            </a:xfrm>
            <a:prstGeom prst="line">
              <a:avLst/>
            </a:prstGeom>
            <a:noFill/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sp>
          <p:nvSpPr>
            <p:cNvPr id="109" name="AutoShape 250">
              <a:extLst>
                <a:ext uri="{FF2B5EF4-FFF2-40B4-BE49-F238E27FC236}">
                  <a16:creationId xmlns:a16="http://schemas.microsoft.com/office/drawing/2014/main" id="{5C49A45A-AD0F-4348-A2DA-A404FCF209F7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822847" y="1528531"/>
              <a:ext cx="1649652" cy="2297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24384" anchor="b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333" b="1" i="0" u="none" strike="noStrike" kern="0" cap="none" spc="0" normalizeH="0" baseline="0" noProof="0">
                  <a:ln>
                    <a:noFill/>
                  </a:ln>
                  <a:solidFill>
                    <a:srgbClr val="D90000"/>
                  </a:solidFill>
                  <a:effectLst/>
                  <a:uLnTx/>
                  <a:uFillTx/>
                  <a:latin typeface="Calibri"/>
                  <a:ea typeface="Arial Unicode MS" pitchFamily="34" charset="-128"/>
                  <a:cs typeface="Arial Unicode MS" pitchFamily="34" charset="-128"/>
                </a:rPr>
                <a:t>Status attuativo</a:t>
              </a:r>
              <a:endParaRPr kumimoji="0" lang="it-IT" sz="1333" b="0" i="0" u="none" strike="noStrike" kern="0" cap="none" spc="0" normalizeH="0" baseline="0" noProof="0">
                <a:ln>
                  <a:noFill/>
                </a:ln>
                <a:solidFill>
                  <a:srgbClr val="D90000"/>
                </a:solidFill>
                <a:effectLst/>
                <a:uLnTx/>
                <a:uFillTx/>
                <a:latin typeface="Calibri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3" name="AutoShape 250">
              <a:extLst>
                <a:ext uri="{FF2B5EF4-FFF2-40B4-BE49-F238E27FC236}">
                  <a16:creationId xmlns:a16="http://schemas.microsoft.com/office/drawing/2014/main" id="{32178184-75A0-41B3-BC1F-ADD9AB17811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785850" y="1534172"/>
              <a:ext cx="1912476" cy="22974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24384" anchor="b">
              <a:spAutoFit/>
            </a:bodyPr>
            <a:lstStyle/>
            <a:p>
              <a:pPr marL="0" marR="0" lvl="0" indent="0" algn="l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333" b="1" i="0" u="none" strike="noStrike" kern="0" cap="none" spc="0" normalizeH="0" baseline="0" noProof="0">
                  <a:ln>
                    <a:noFill/>
                  </a:ln>
                  <a:solidFill>
                    <a:srgbClr val="D90000"/>
                  </a:solidFill>
                  <a:effectLst/>
                  <a:uLnTx/>
                  <a:uFillTx/>
                  <a:latin typeface="Calibri"/>
                  <a:ea typeface="Arial Unicode MS" pitchFamily="34" charset="-128"/>
                  <a:cs typeface="Arial Unicode MS" pitchFamily="34" charset="-128"/>
                </a:rPr>
                <a:t>Azioni messe in campo</a:t>
              </a:r>
              <a:endParaRPr kumimoji="0" lang="it-IT" sz="1333" b="0" i="0" u="none" strike="noStrike" kern="0" cap="none" spc="0" normalizeH="0" baseline="0" noProof="0">
                <a:ln>
                  <a:noFill/>
                </a:ln>
                <a:solidFill>
                  <a:srgbClr val="D90000"/>
                </a:solidFill>
                <a:effectLst/>
                <a:uLnTx/>
                <a:uFillTx/>
                <a:latin typeface="Calibri"/>
                <a:ea typeface="Arial Unicode MS" pitchFamily="34" charset="-128"/>
                <a:cs typeface="Arial Unicode MS" pitchFamily="34" charset="-128"/>
              </a:endParaRPr>
            </a:p>
          </p:txBody>
        </p:sp>
        <p:sp>
          <p:nvSpPr>
            <p:cNvPr id="116" name="TextBox 116">
              <a:extLst>
                <a:ext uri="{FF2B5EF4-FFF2-40B4-BE49-F238E27FC236}">
                  <a16:creationId xmlns:a16="http://schemas.microsoft.com/office/drawing/2014/main" id="{49C0EA03-7F04-4DEE-916E-9352D27BF589}"/>
                </a:ext>
              </a:extLst>
            </p:cNvPr>
            <p:cNvSpPr txBox="1"/>
            <p:nvPr/>
          </p:nvSpPr>
          <p:spPr>
            <a:xfrm>
              <a:off x="5993302" y="2371699"/>
              <a:ext cx="3335676" cy="15600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06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Bari Lamasinata</a:t>
              </a:r>
            </a:p>
          </p:txBody>
        </p:sp>
        <p:sp>
          <p:nvSpPr>
            <p:cNvPr id="117" name="TextBox 114">
              <a:extLst>
                <a:ext uri="{FF2B5EF4-FFF2-40B4-BE49-F238E27FC236}">
                  <a16:creationId xmlns:a16="http://schemas.microsoft.com/office/drawing/2014/main" id="{D05B3CEC-B2F9-4533-B007-1E78379007AC}"/>
                </a:ext>
              </a:extLst>
            </p:cNvPr>
            <p:cNvSpPr txBox="1"/>
            <p:nvPr/>
          </p:nvSpPr>
          <p:spPr>
            <a:xfrm>
              <a:off x="5993302" y="2010843"/>
              <a:ext cx="3335676" cy="15600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06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Milano Smistamento</a:t>
              </a:r>
            </a:p>
          </p:txBody>
        </p:sp>
        <p:sp>
          <p:nvSpPr>
            <p:cNvPr id="121" name="TextBox 130">
              <a:extLst>
                <a:ext uri="{FF2B5EF4-FFF2-40B4-BE49-F238E27FC236}">
                  <a16:creationId xmlns:a16="http://schemas.microsoft.com/office/drawing/2014/main" id="{4EF66D95-37F8-41A0-A5E1-536388C7EA7B}"/>
                </a:ext>
              </a:extLst>
            </p:cNvPr>
            <p:cNvSpPr txBox="1"/>
            <p:nvPr/>
          </p:nvSpPr>
          <p:spPr>
            <a:xfrm>
              <a:off x="5993302" y="3461733"/>
              <a:ext cx="3335676" cy="15600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06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Brindisi</a:t>
              </a:r>
            </a:p>
          </p:txBody>
        </p:sp>
        <p:sp>
          <p:nvSpPr>
            <p:cNvPr id="125" name="CasellaDiTesto 124"/>
            <p:cNvSpPr txBox="1"/>
            <p:nvPr/>
          </p:nvSpPr>
          <p:spPr>
            <a:xfrm>
              <a:off x="5487465" y="1062071"/>
              <a:ext cx="6173058" cy="307777"/>
            </a:xfrm>
            <a:prstGeom prst="rect">
              <a:avLst/>
            </a:prstGeom>
            <a:solidFill>
              <a:srgbClr val="DC002E"/>
            </a:solidFill>
          </p:spPr>
          <p:txBody>
            <a:bodyPr wrap="square" rtlCol="0">
              <a:spAutoFit/>
            </a:bodyPr>
            <a:lstStyle/>
            <a:p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4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I principali interventi </a:t>
              </a:r>
            </a:p>
          </p:txBody>
        </p:sp>
        <p:cxnSp>
          <p:nvCxnSpPr>
            <p:cNvPr id="126" name="Straight Connector 132">
              <a:extLst>
                <a:ext uri="{FF2B5EF4-FFF2-40B4-BE49-F238E27FC236}">
                  <a16:creationId xmlns:a16="http://schemas.microsoft.com/office/drawing/2014/main" id="{4659CB69-8B58-4929-8152-9CE9C601ED81}"/>
                </a:ext>
              </a:extLst>
            </p:cNvPr>
            <p:cNvCxnSpPr>
              <a:cxnSpLocks/>
            </p:cNvCxnSpPr>
            <p:nvPr>
              <p:custDataLst>
                <p:tags r:id="rId4"/>
              </p:custDataLst>
            </p:nvPr>
          </p:nvCxnSpPr>
          <p:spPr bwMode="gray">
            <a:xfrm>
              <a:off x="5978057" y="1898085"/>
              <a:ext cx="5652000" cy="0"/>
            </a:xfrm>
            <a:prstGeom prst="line">
              <a:avLst/>
            </a:prstGeom>
            <a:noFill/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sp>
          <p:nvSpPr>
            <p:cNvPr id="127" name="TextBox 7">
              <a:extLst>
                <a:ext uri="{FF2B5EF4-FFF2-40B4-BE49-F238E27FC236}">
                  <a16:creationId xmlns:a16="http://schemas.microsoft.com/office/drawing/2014/main" id="{790F10E7-3795-4C2E-8EA7-5B269383AABE}"/>
                </a:ext>
              </a:extLst>
            </p:cNvPr>
            <p:cNvSpPr txBox="1"/>
            <p:nvPr/>
          </p:nvSpPr>
          <p:spPr>
            <a:xfrm>
              <a:off x="5993299" y="2684107"/>
              <a:ext cx="3335676" cy="15600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06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Torino Orbassano</a:t>
              </a:r>
            </a:p>
          </p:txBody>
        </p:sp>
        <p:cxnSp>
          <p:nvCxnSpPr>
            <p:cNvPr id="128" name="Straight Connector 150">
              <a:extLst>
                <a:ext uri="{FF2B5EF4-FFF2-40B4-BE49-F238E27FC236}">
                  <a16:creationId xmlns:a16="http://schemas.microsoft.com/office/drawing/2014/main" id="{B3C047B3-93E2-414C-8249-C48C4C741389}"/>
                </a:ext>
              </a:extLst>
            </p:cNvPr>
            <p:cNvCxnSpPr>
              <a:cxnSpLocks/>
            </p:cNvCxnSpPr>
            <p:nvPr>
              <p:custDataLst>
                <p:tags r:id="rId5"/>
              </p:custDataLst>
            </p:nvPr>
          </p:nvCxnSpPr>
          <p:spPr bwMode="gray">
            <a:xfrm>
              <a:off x="5978057" y="2565622"/>
              <a:ext cx="5652000" cy="0"/>
            </a:xfrm>
            <a:prstGeom prst="line">
              <a:avLst/>
            </a:prstGeom>
            <a:noFill/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sp>
          <p:nvSpPr>
            <p:cNvPr id="131" name="TextBox 7">
              <a:extLst>
                <a:ext uri="{FF2B5EF4-FFF2-40B4-BE49-F238E27FC236}">
                  <a16:creationId xmlns:a16="http://schemas.microsoft.com/office/drawing/2014/main" id="{790F10E7-3795-4C2E-8EA7-5B269383AABE}"/>
                </a:ext>
              </a:extLst>
            </p:cNvPr>
            <p:cNvSpPr txBox="1"/>
            <p:nvPr/>
          </p:nvSpPr>
          <p:spPr>
            <a:xfrm>
              <a:off x="5993299" y="3073738"/>
              <a:ext cx="3335676" cy="15600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06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Rivalta Scrivia</a:t>
              </a:r>
            </a:p>
          </p:txBody>
        </p:sp>
        <p:cxnSp>
          <p:nvCxnSpPr>
            <p:cNvPr id="132" name="Straight Connector 150">
              <a:extLst>
                <a:ext uri="{FF2B5EF4-FFF2-40B4-BE49-F238E27FC236}">
                  <a16:creationId xmlns:a16="http://schemas.microsoft.com/office/drawing/2014/main" id="{B3C047B3-93E2-414C-8249-C48C4C741389}"/>
                </a:ext>
              </a:extLst>
            </p:cNvPr>
            <p:cNvCxnSpPr>
              <a:cxnSpLocks/>
            </p:cNvCxnSpPr>
            <p:nvPr>
              <p:custDataLst>
                <p:tags r:id="rId6"/>
              </p:custDataLst>
            </p:nvPr>
          </p:nvCxnSpPr>
          <p:spPr bwMode="gray">
            <a:xfrm>
              <a:off x="5978057" y="2941017"/>
              <a:ext cx="5652000" cy="0"/>
            </a:xfrm>
            <a:prstGeom prst="line">
              <a:avLst/>
            </a:prstGeom>
            <a:noFill/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cxnSp>
          <p:nvCxnSpPr>
            <p:cNvPr id="107" name="Straight Connector 133">
              <a:extLst>
                <a:ext uri="{FF2B5EF4-FFF2-40B4-BE49-F238E27FC236}">
                  <a16:creationId xmlns:a16="http://schemas.microsoft.com/office/drawing/2014/main" id="{9DEDE594-8953-46A0-A2CC-0BF01BB2B2DE}"/>
                </a:ext>
              </a:extLst>
            </p:cNvPr>
            <p:cNvCxnSpPr>
              <a:cxnSpLocks/>
            </p:cNvCxnSpPr>
            <p:nvPr>
              <p:custDataLst>
                <p:tags r:id="rId7"/>
              </p:custDataLst>
            </p:nvPr>
          </p:nvCxnSpPr>
          <p:spPr bwMode="gray">
            <a:xfrm>
              <a:off x="5927474" y="4476185"/>
              <a:ext cx="5652000" cy="0"/>
            </a:xfrm>
            <a:prstGeom prst="line">
              <a:avLst/>
            </a:prstGeom>
            <a:noFill/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sp>
          <p:nvSpPr>
            <p:cNvPr id="119" name="TextBox 130">
              <a:extLst>
                <a:ext uri="{FF2B5EF4-FFF2-40B4-BE49-F238E27FC236}">
                  <a16:creationId xmlns:a16="http://schemas.microsoft.com/office/drawing/2014/main" id="{4EF66D95-37F8-41A0-A5E1-536388C7EA7B}"/>
                </a:ext>
              </a:extLst>
            </p:cNvPr>
            <p:cNvSpPr txBox="1"/>
            <p:nvPr/>
          </p:nvSpPr>
          <p:spPr>
            <a:xfrm>
              <a:off x="5942718" y="4205294"/>
              <a:ext cx="3335676" cy="15600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06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Verona QE</a:t>
              </a:r>
            </a:p>
          </p:txBody>
        </p:sp>
        <p:sp>
          <p:nvSpPr>
            <p:cNvPr id="136" name="TextBox 162">
              <a:extLst>
                <a:ext uri="{FF2B5EF4-FFF2-40B4-BE49-F238E27FC236}">
                  <a16:creationId xmlns:a16="http://schemas.microsoft.com/office/drawing/2014/main" id="{EB624E87-FB82-43D8-B298-FA3E916B796E}"/>
                </a:ext>
              </a:extLst>
            </p:cNvPr>
            <p:cNvSpPr txBox="1"/>
            <p:nvPr/>
          </p:nvSpPr>
          <p:spPr>
            <a:xfrm>
              <a:off x="7352173" y="2604687"/>
              <a:ext cx="2496000" cy="31200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120645" marR="0" lvl="0" indent="-120645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Allungamento modulo </a:t>
              </a:r>
            </a:p>
            <a:p>
              <a:pPr marL="120645" marR="0" lvl="0" indent="-120645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Interventi propedeutici a nuovo scalo</a:t>
              </a:r>
            </a:p>
          </p:txBody>
        </p:sp>
        <p:sp>
          <p:nvSpPr>
            <p:cNvPr id="137" name="TextBox 173">
              <a:extLst>
                <a:ext uri="{FF2B5EF4-FFF2-40B4-BE49-F238E27FC236}">
                  <a16:creationId xmlns:a16="http://schemas.microsoft.com/office/drawing/2014/main" id="{0B7C1F53-58AE-4B77-ACCA-49ED04191894}"/>
                </a:ext>
              </a:extLst>
            </p:cNvPr>
            <p:cNvSpPr txBox="1"/>
            <p:nvPr/>
          </p:nvSpPr>
          <p:spPr>
            <a:xfrm>
              <a:off x="9698326" y="3826393"/>
              <a:ext cx="1899082" cy="156005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ctr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Progettazione</a:t>
              </a:r>
              <a:endParaRPr kumimoji="0" lang="it-IT" sz="106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endParaRPr>
            </a:p>
          </p:txBody>
        </p:sp>
        <p:sp>
          <p:nvSpPr>
            <p:cNvPr id="129" name="TextBox 173">
              <a:extLst>
                <a:ext uri="{FF2B5EF4-FFF2-40B4-BE49-F238E27FC236}">
                  <a16:creationId xmlns:a16="http://schemas.microsoft.com/office/drawing/2014/main" id="{0B7C1F53-58AE-4B77-ACCA-49ED04191894}"/>
                </a:ext>
              </a:extLst>
            </p:cNvPr>
            <p:cNvSpPr txBox="1"/>
            <p:nvPr/>
          </p:nvSpPr>
          <p:spPr>
            <a:xfrm>
              <a:off x="9738795" y="1985964"/>
              <a:ext cx="1858611" cy="156005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ctr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Realizzazione (1^ fase)</a:t>
              </a:r>
              <a:endParaRPr kumimoji="0" lang="it-IT" sz="106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endParaRPr>
            </a:p>
          </p:txBody>
        </p:sp>
        <p:sp>
          <p:nvSpPr>
            <p:cNvPr id="130" name="TextBox 173">
              <a:extLst>
                <a:ext uri="{FF2B5EF4-FFF2-40B4-BE49-F238E27FC236}">
                  <a16:creationId xmlns:a16="http://schemas.microsoft.com/office/drawing/2014/main" id="{0B7C1F53-58AE-4B77-ACCA-49ED04191894}"/>
                </a:ext>
              </a:extLst>
            </p:cNvPr>
            <p:cNvSpPr txBox="1"/>
            <p:nvPr/>
          </p:nvSpPr>
          <p:spPr>
            <a:xfrm>
              <a:off x="9730743" y="2356595"/>
              <a:ext cx="1858611" cy="156005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ctr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PFTE</a:t>
              </a:r>
              <a:endParaRPr kumimoji="0" lang="it-IT" sz="106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endParaRPr>
            </a:p>
          </p:txBody>
        </p:sp>
        <p:sp>
          <p:nvSpPr>
            <p:cNvPr id="138" name="TextBox 173">
              <a:extLst>
                <a:ext uri="{FF2B5EF4-FFF2-40B4-BE49-F238E27FC236}">
                  <a16:creationId xmlns:a16="http://schemas.microsoft.com/office/drawing/2014/main" id="{0B7C1F53-58AE-4B77-ACCA-49ED04191894}"/>
                </a:ext>
              </a:extLst>
            </p:cNvPr>
            <p:cNvSpPr txBox="1"/>
            <p:nvPr/>
          </p:nvSpPr>
          <p:spPr>
            <a:xfrm>
              <a:off x="9698326" y="3037547"/>
              <a:ext cx="1899082" cy="156005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ctr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Realizzazione (1^ fase)</a:t>
              </a:r>
              <a:endParaRPr kumimoji="0" lang="it-IT" sz="106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endParaRPr>
            </a:p>
          </p:txBody>
        </p:sp>
        <p:sp>
          <p:nvSpPr>
            <p:cNvPr id="139" name="TextBox 173">
              <a:extLst>
                <a:ext uri="{FF2B5EF4-FFF2-40B4-BE49-F238E27FC236}">
                  <a16:creationId xmlns:a16="http://schemas.microsoft.com/office/drawing/2014/main" id="{0B7C1F53-58AE-4B77-ACCA-49ED04191894}"/>
                </a:ext>
              </a:extLst>
            </p:cNvPr>
            <p:cNvSpPr txBox="1"/>
            <p:nvPr/>
          </p:nvSpPr>
          <p:spPr>
            <a:xfrm>
              <a:off x="9738796" y="2688461"/>
              <a:ext cx="1858610" cy="156005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ctr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Realizzazione (1^fase)</a:t>
              </a:r>
              <a:endParaRPr kumimoji="0" lang="it-IT" sz="106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endParaRPr>
            </a:p>
          </p:txBody>
        </p:sp>
        <p:sp>
          <p:nvSpPr>
            <p:cNvPr id="140" name="TextBox 173">
              <a:extLst>
                <a:ext uri="{FF2B5EF4-FFF2-40B4-BE49-F238E27FC236}">
                  <a16:creationId xmlns:a16="http://schemas.microsoft.com/office/drawing/2014/main" id="{0B7C1F53-58AE-4B77-ACCA-49ED04191894}"/>
                </a:ext>
              </a:extLst>
            </p:cNvPr>
            <p:cNvSpPr txBox="1"/>
            <p:nvPr/>
          </p:nvSpPr>
          <p:spPr>
            <a:xfrm>
              <a:off x="9710508" y="3459518"/>
              <a:ext cx="1899082" cy="156005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ctr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Progettazione Definitiva</a:t>
              </a:r>
              <a:endParaRPr kumimoji="0" lang="it-IT" sz="106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endParaRPr>
            </a:p>
          </p:txBody>
        </p:sp>
        <p:sp>
          <p:nvSpPr>
            <p:cNvPr id="141" name="TextBox 173">
              <a:extLst>
                <a:ext uri="{FF2B5EF4-FFF2-40B4-BE49-F238E27FC236}">
                  <a16:creationId xmlns:a16="http://schemas.microsoft.com/office/drawing/2014/main" id="{0B7C1F53-58AE-4B77-ACCA-49ED04191894}"/>
                </a:ext>
              </a:extLst>
            </p:cNvPr>
            <p:cNvSpPr txBox="1"/>
            <p:nvPr/>
          </p:nvSpPr>
          <p:spPr>
            <a:xfrm>
              <a:off x="9662986" y="4211586"/>
              <a:ext cx="1899082" cy="156005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ctr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Progettazione</a:t>
              </a:r>
              <a:endParaRPr kumimoji="0" lang="it-IT" sz="106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endParaRPr>
            </a:p>
          </p:txBody>
        </p:sp>
        <p:sp>
          <p:nvSpPr>
            <p:cNvPr id="142" name="TextBox 162">
              <a:extLst>
                <a:ext uri="{FF2B5EF4-FFF2-40B4-BE49-F238E27FC236}">
                  <a16:creationId xmlns:a16="http://schemas.microsoft.com/office/drawing/2014/main" id="{EB624E87-FB82-43D8-B298-FA3E916B796E}"/>
                </a:ext>
              </a:extLst>
            </p:cNvPr>
            <p:cNvSpPr txBox="1"/>
            <p:nvPr/>
          </p:nvSpPr>
          <p:spPr>
            <a:xfrm>
              <a:off x="7352173" y="2350181"/>
              <a:ext cx="2496000" cy="156005"/>
            </a:xfrm>
            <a:prstGeom prst="rect">
              <a:avLst/>
            </a:prstGeom>
            <a:noFill/>
          </p:spPr>
          <p:txBody>
            <a:bodyPr vert="horz" wrap="square" lIns="0" tIns="0" rIns="0" bIns="0" rtlCol="0" anchor="t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120015" indent="-120015" defTabSz="895306">
                <a:buClr>
                  <a:srgbClr val="D90000"/>
                </a:buClr>
                <a:buFont typeface="Arial" panose="020B0604020202020204" pitchFamily="34" charset="0"/>
                <a:buChar char="•"/>
                <a:defRPr/>
              </a:pPr>
              <a:r>
                <a:rPr lang="it-IT" sz="1050" kern="0">
                  <a:solidFill>
                    <a:srgbClr val="000000"/>
                  </a:solidFill>
                  <a:latin typeface="Calibri"/>
                  <a:cs typeface="Calibri"/>
                </a:rPr>
                <a:t>Potenziamento stazione</a:t>
              </a:r>
              <a:endParaRPr lang="it-IT" sz="1050">
                <a:latin typeface="Calibri"/>
                <a:cs typeface="Calibri"/>
              </a:endParaRPr>
            </a:p>
          </p:txBody>
        </p:sp>
        <p:sp>
          <p:nvSpPr>
            <p:cNvPr id="143" name="TextBox 162">
              <a:extLst>
                <a:ext uri="{FF2B5EF4-FFF2-40B4-BE49-F238E27FC236}">
                  <a16:creationId xmlns:a16="http://schemas.microsoft.com/office/drawing/2014/main" id="{EB624E87-FB82-43D8-B298-FA3E916B796E}"/>
                </a:ext>
              </a:extLst>
            </p:cNvPr>
            <p:cNvSpPr txBox="1"/>
            <p:nvPr/>
          </p:nvSpPr>
          <p:spPr>
            <a:xfrm>
              <a:off x="7352173" y="3734553"/>
              <a:ext cx="2655619" cy="31200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120645" marR="0" lvl="0" indent="-120645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Allungamento modulo </a:t>
              </a:r>
            </a:p>
            <a:p>
              <a:pPr marL="120645" marR="0" lvl="0" indent="-120645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Potenziamento PRG per incremento capacità</a:t>
              </a:r>
            </a:p>
          </p:txBody>
        </p:sp>
        <p:sp>
          <p:nvSpPr>
            <p:cNvPr id="146" name="TextBox 162">
              <a:extLst>
                <a:ext uri="{FF2B5EF4-FFF2-40B4-BE49-F238E27FC236}">
                  <a16:creationId xmlns:a16="http://schemas.microsoft.com/office/drawing/2014/main" id="{EB624E87-FB82-43D8-B298-FA3E916B796E}"/>
                </a:ext>
              </a:extLst>
            </p:cNvPr>
            <p:cNvSpPr txBox="1"/>
            <p:nvPr/>
          </p:nvSpPr>
          <p:spPr>
            <a:xfrm>
              <a:off x="7316832" y="4113554"/>
              <a:ext cx="2496000" cy="31200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120645" marR="0" lvl="0" indent="-120645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Realizzazione nuova stazione</a:t>
              </a:r>
            </a:p>
            <a:p>
              <a:pPr marL="120645" marR="0" lvl="0" indent="-120645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Rifunzionalizz. aree carico/scarico</a:t>
              </a:r>
            </a:p>
          </p:txBody>
        </p:sp>
        <p:sp>
          <p:nvSpPr>
            <p:cNvPr id="147" name="TextBox 162">
              <a:extLst>
                <a:ext uri="{FF2B5EF4-FFF2-40B4-BE49-F238E27FC236}">
                  <a16:creationId xmlns:a16="http://schemas.microsoft.com/office/drawing/2014/main" id="{EB624E87-FB82-43D8-B298-FA3E916B796E}"/>
                </a:ext>
              </a:extLst>
            </p:cNvPr>
            <p:cNvSpPr txBox="1"/>
            <p:nvPr/>
          </p:nvSpPr>
          <p:spPr>
            <a:xfrm>
              <a:off x="7352173" y="2969627"/>
              <a:ext cx="2655619" cy="31200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120645" marR="0" lvl="0" indent="-120645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Allungamento modulo </a:t>
              </a:r>
            </a:p>
            <a:p>
              <a:pPr marL="120645" marR="0" lvl="0" indent="-120645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Potenziamento tecnologico</a:t>
              </a:r>
            </a:p>
          </p:txBody>
        </p:sp>
        <p:sp>
          <p:nvSpPr>
            <p:cNvPr id="148" name="TextBox 162">
              <a:extLst>
                <a:ext uri="{FF2B5EF4-FFF2-40B4-BE49-F238E27FC236}">
                  <a16:creationId xmlns:a16="http://schemas.microsoft.com/office/drawing/2014/main" id="{EB624E87-FB82-43D8-B298-FA3E916B796E}"/>
                </a:ext>
              </a:extLst>
            </p:cNvPr>
            <p:cNvSpPr txBox="1"/>
            <p:nvPr/>
          </p:nvSpPr>
          <p:spPr>
            <a:xfrm>
              <a:off x="7352173" y="3397960"/>
              <a:ext cx="2496000" cy="31200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120645" marR="0" lvl="0" indent="-120645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Nuovo collegamento a IFN</a:t>
              </a:r>
            </a:p>
            <a:p>
              <a:pPr marL="120645" marR="0" lvl="0" indent="-120645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Nuova stazione merci</a:t>
              </a:r>
            </a:p>
          </p:txBody>
        </p:sp>
        <p:sp>
          <p:nvSpPr>
            <p:cNvPr id="100" name="TextBox 162">
              <a:extLst>
                <a:ext uri="{FF2B5EF4-FFF2-40B4-BE49-F238E27FC236}">
                  <a16:creationId xmlns:a16="http://schemas.microsoft.com/office/drawing/2014/main" id="{EB624E87-FB82-43D8-B298-FA3E916B796E}"/>
                </a:ext>
              </a:extLst>
            </p:cNvPr>
            <p:cNvSpPr txBox="1"/>
            <p:nvPr/>
          </p:nvSpPr>
          <p:spPr>
            <a:xfrm>
              <a:off x="7352173" y="1929394"/>
              <a:ext cx="2496000" cy="31200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120645" marR="0" lvl="0" indent="-120645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Adeguamento binari A/P</a:t>
              </a:r>
            </a:p>
            <a:p>
              <a:pPr marL="120645" marR="0" lvl="0" indent="-120645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Modifiche PRG Impianto</a:t>
              </a:r>
            </a:p>
          </p:txBody>
        </p:sp>
        <p:cxnSp>
          <p:nvCxnSpPr>
            <p:cNvPr id="110" name="Straight Connector 133">
              <a:extLst>
                <a:ext uri="{FF2B5EF4-FFF2-40B4-BE49-F238E27FC236}">
                  <a16:creationId xmlns:a16="http://schemas.microsoft.com/office/drawing/2014/main" id="{9DEDE594-8953-46A0-A2CC-0BF01BB2B2DE}"/>
                </a:ext>
              </a:extLst>
            </p:cNvPr>
            <p:cNvCxnSpPr>
              <a:cxnSpLocks/>
            </p:cNvCxnSpPr>
            <p:nvPr>
              <p:custDataLst>
                <p:tags r:id="rId8"/>
              </p:custDataLst>
            </p:nvPr>
          </p:nvCxnSpPr>
          <p:spPr bwMode="gray">
            <a:xfrm>
              <a:off x="5927474" y="4860966"/>
              <a:ext cx="5652000" cy="0"/>
            </a:xfrm>
            <a:prstGeom prst="line">
              <a:avLst/>
            </a:prstGeom>
            <a:noFill/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sp>
          <p:nvSpPr>
            <p:cNvPr id="111" name="TextBox 130">
              <a:extLst>
                <a:ext uri="{FF2B5EF4-FFF2-40B4-BE49-F238E27FC236}">
                  <a16:creationId xmlns:a16="http://schemas.microsoft.com/office/drawing/2014/main" id="{4EF66D95-37F8-41A0-A5E1-536388C7EA7B}"/>
                </a:ext>
              </a:extLst>
            </p:cNvPr>
            <p:cNvSpPr txBox="1"/>
            <p:nvPr/>
          </p:nvSpPr>
          <p:spPr>
            <a:xfrm>
              <a:off x="5942718" y="4598783"/>
              <a:ext cx="3335676" cy="15600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06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Nodo di Novara (fase 1)</a:t>
              </a:r>
            </a:p>
          </p:txBody>
        </p:sp>
        <p:sp>
          <p:nvSpPr>
            <p:cNvPr id="114" name="TextBox 162">
              <a:extLst>
                <a:ext uri="{FF2B5EF4-FFF2-40B4-BE49-F238E27FC236}">
                  <a16:creationId xmlns:a16="http://schemas.microsoft.com/office/drawing/2014/main" id="{EB624E87-FB82-43D8-B298-FA3E916B796E}"/>
                </a:ext>
              </a:extLst>
            </p:cNvPr>
            <p:cNvSpPr txBox="1"/>
            <p:nvPr/>
          </p:nvSpPr>
          <p:spPr>
            <a:xfrm>
              <a:off x="7316832" y="4507041"/>
              <a:ext cx="2496000" cy="312008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120645" marR="0" lvl="0" indent="-120645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Nuova bretella merci</a:t>
              </a:r>
            </a:p>
            <a:p>
              <a:pPr marL="120645" marR="0" lvl="0" indent="-120645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Prima fase PRG Boschetto</a:t>
              </a:r>
            </a:p>
          </p:txBody>
        </p:sp>
        <p:sp>
          <p:nvSpPr>
            <p:cNvPr id="154" name="TextBox 114">
              <a:extLst>
                <a:ext uri="{FF2B5EF4-FFF2-40B4-BE49-F238E27FC236}">
                  <a16:creationId xmlns:a16="http://schemas.microsoft.com/office/drawing/2014/main" id="{D05B3CEC-B2F9-4533-B007-1E78379007AC}"/>
                </a:ext>
              </a:extLst>
            </p:cNvPr>
            <p:cNvSpPr txBox="1"/>
            <p:nvPr/>
          </p:nvSpPr>
          <p:spPr>
            <a:xfrm>
              <a:off x="5957958" y="4967197"/>
              <a:ext cx="3335676" cy="15600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06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Catania Bicocca</a:t>
              </a:r>
            </a:p>
          </p:txBody>
        </p:sp>
        <p:sp>
          <p:nvSpPr>
            <p:cNvPr id="155" name="TextBox 173">
              <a:extLst>
                <a:ext uri="{FF2B5EF4-FFF2-40B4-BE49-F238E27FC236}">
                  <a16:creationId xmlns:a16="http://schemas.microsoft.com/office/drawing/2014/main" id="{0B7C1F53-58AE-4B77-ACCA-49ED04191894}"/>
                </a:ext>
              </a:extLst>
            </p:cNvPr>
            <p:cNvSpPr txBox="1"/>
            <p:nvPr/>
          </p:nvSpPr>
          <p:spPr>
            <a:xfrm>
              <a:off x="9703451" y="4942318"/>
              <a:ext cx="1858611" cy="156005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ctr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Fattibilità</a:t>
              </a:r>
              <a:endParaRPr kumimoji="0" lang="it-IT" sz="106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endParaRPr>
            </a:p>
          </p:txBody>
        </p:sp>
        <p:sp>
          <p:nvSpPr>
            <p:cNvPr id="156" name="TextBox 162">
              <a:extLst>
                <a:ext uri="{FF2B5EF4-FFF2-40B4-BE49-F238E27FC236}">
                  <a16:creationId xmlns:a16="http://schemas.microsoft.com/office/drawing/2014/main" id="{EB624E87-FB82-43D8-B298-FA3E916B796E}"/>
                </a:ext>
              </a:extLst>
            </p:cNvPr>
            <p:cNvSpPr txBox="1"/>
            <p:nvPr/>
          </p:nvSpPr>
          <p:spPr>
            <a:xfrm>
              <a:off x="7316829" y="4949248"/>
              <a:ext cx="2496000" cy="156005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120645" marR="0" lvl="0" indent="-120645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it-IT" sz="1067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Rifunzionalizzazione</a:t>
              </a: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 stazione merci</a:t>
              </a:r>
            </a:p>
          </p:txBody>
        </p:sp>
        <p:cxnSp>
          <p:nvCxnSpPr>
            <p:cNvPr id="166" name="Straight Connector 133">
              <a:extLst>
                <a:ext uri="{FF2B5EF4-FFF2-40B4-BE49-F238E27FC236}">
                  <a16:creationId xmlns:a16="http://schemas.microsoft.com/office/drawing/2014/main" id="{9DEDE594-8953-46A0-A2CC-0BF01BB2B2DE}"/>
                </a:ext>
              </a:extLst>
            </p:cNvPr>
            <p:cNvCxnSpPr>
              <a:cxnSpLocks/>
            </p:cNvCxnSpPr>
            <p:nvPr>
              <p:custDataLst>
                <p:tags r:id="rId9"/>
              </p:custDataLst>
            </p:nvPr>
          </p:nvCxnSpPr>
          <p:spPr bwMode="gray">
            <a:xfrm>
              <a:off x="5923516" y="5184356"/>
              <a:ext cx="5652000" cy="0"/>
            </a:xfrm>
            <a:prstGeom prst="line">
              <a:avLst/>
            </a:prstGeom>
            <a:noFill/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sp>
          <p:nvSpPr>
            <p:cNvPr id="168" name="TextBox 114">
              <a:extLst>
                <a:ext uri="{FF2B5EF4-FFF2-40B4-BE49-F238E27FC236}">
                  <a16:creationId xmlns:a16="http://schemas.microsoft.com/office/drawing/2014/main" id="{D05B3CEC-B2F9-4533-B007-1E78379007AC}"/>
                </a:ext>
              </a:extLst>
            </p:cNvPr>
            <p:cNvSpPr txBox="1"/>
            <p:nvPr/>
          </p:nvSpPr>
          <p:spPr>
            <a:xfrm>
              <a:off x="5954000" y="5290587"/>
              <a:ext cx="3335676" cy="15600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067" b="1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La Spezia Migliarina</a:t>
              </a:r>
            </a:p>
          </p:txBody>
        </p:sp>
        <p:sp>
          <p:nvSpPr>
            <p:cNvPr id="169" name="TextBox 173">
              <a:extLst>
                <a:ext uri="{FF2B5EF4-FFF2-40B4-BE49-F238E27FC236}">
                  <a16:creationId xmlns:a16="http://schemas.microsoft.com/office/drawing/2014/main" id="{0B7C1F53-58AE-4B77-ACCA-49ED04191894}"/>
                </a:ext>
              </a:extLst>
            </p:cNvPr>
            <p:cNvSpPr txBox="1"/>
            <p:nvPr/>
          </p:nvSpPr>
          <p:spPr>
            <a:xfrm>
              <a:off x="9699493" y="5265708"/>
              <a:ext cx="1858611" cy="156005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ctr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Progettazione</a:t>
              </a:r>
              <a:endParaRPr kumimoji="0" lang="it-IT" sz="106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endParaRPr>
            </a:p>
          </p:txBody>
        </p:sp>
        <p:sp>
          <p:nvSpPr>
            <p:cNvPr id="170" name="TextBox 162">
              <a:extLst>
                <a:ext uri="{FF2B5EF4-FFF2-40B4-BE49-F238E27FC236}">
                  <a16:creationId xmlns:a16="http://schemas.microsoft.com/office/drawing/2014/main" id="{EB624E87-FB82-43D8-B298-FA3E916B796E}"/>
                </a:ext>
              </a:extLst>
            </p:cNvPr>
            <p:cNvSpPr txBox="1"/>
            <p:nvPr/>
          </p:nvSpPr>
          <p:spPr>
            <a:xfrm>
              <a:off x="7316829" y="5286906"/>
              <a:ext cx="2496000" cy="156005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120645" marR="0" lvl="0" indent="-120645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Centralizzazione di ulteriori 3 binari</a:t>
              </a:r>
            </a:p>
          </p:txBody>
        </p:sp>
        <p:sp>
          <p:nvSpPr>
            <p:cNvPr id="216" name="TextBox 173">
              <a:extLst>
                <a:ext uri="{FF2B5EF4-FFF2-40B4-BE49-F238E27FC236}">
                  <a16:creationId xmlns:a16="http://schemas.microsoft.com/office/drawing/2014/main" id="{0B7C1F53-58AE-4B77-ACCA-49ED04191894}"/>
                </a:ext>
              </a:extLst>
            </p:cNvPr>
            <p:cNvSpPr txBox="1"/>
            <p:nvPr/>
          </p:nvSpPr>
          <p:spPr>
            <a:xfrm>
              <a:off x="9675166" y="4579430"/>
              <a:ext cx="1899082" cy="156005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ctr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Progettazione Definitiva</a:t>
              </a:r>
              <a:endParaRPr kumimoji="0" lang="it-IT" sz="106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endParaRPr>
            </a:p>
          </p:txBody>
        </p:sp>
        <p:cxnSp>
          <p:nvCxnSpPr>
            <p:cNvPr id="217" name="Straight Connector 133">
              <a:extLst>
                <a:ext uri="{FF2B5EF4-FFF2-40B4-BE49-F238E27FC236}">
                  <a16:creationId xmlns:a16="http://schemas.microsoft.com/office/drawing/2014/main" id="{9DEDE594-8953-46A0-A2CC-0BF01BB2B2DE}"/>
                </a:ext>
              </a:extLst>
            </p:cNvPr>
            <p:cNvCxnSpPr>
              <a:cxnSpLocks/>
            </p:cNvCxnSpPr>
            <p:nvPr>
              <p:custDataLst>
                <p:tags r:id="rId10"/>
              </p:custDataLst>
            </p:nvPr>
          </p:nvCxnSpPr>
          <p:spPr bwMode="gray">
            <a:xfrm>
              <a:off x="5923516" y="5548422"/>
              <a:ext cx="5652000" cy="0"/>
            </a:xfrm>
            <a:prstGeom prst="line">
              <a:avLst/>
            </a:prstGeom>
            <a:noFill/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sp>
          <p:nvSpPr>
            <p:cNvPr id="218" name="TextBox 114">
              <a:extLst>
                <a:ext uri="{FF2B5EF4-FFF2-40B4-BE49-F238E27FC236}">
                  <a16:creationId xmlns:a16="http://schemas.microsoft.com/office/drawing/2014/main" id="{D05B3CEC-B2F9-4533-B007-1E78379007AC}"/>
                </a:ext>
              </a:extLst>
            </p:cNvPr>
            <p:cNvSpPr txBox="1"/>
            <p:nvPr/>
          </p:nvSpPr>
          <p:spPr>
            <a:xfrm>
              <a:off x="5957958" y="5663122"/>
              <a:ext cx="3335676" cy="156005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067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Cervignano </a:t>
              </a:r>
            </a:p>
          </p:txBody>
        </p:sp>
        <p:sp>
          <p:nvSpPr>
            <p:cNvPr id="219" name="TextBox 162">
              <a:extLst>
                <a:ext uri="{FF2B5EF4-FFF2-40B4-BE49-F238E27FC236}">
                  <a16:creationId xmlns:a16="http://schemas.microsoft.com/office/drawing/2014/main" id="{EB624E87-FB82-43D8-B298-FA3E916B796E}"/>
                </a:ext>
              </a:extLst>
            </p:cNvPr>
            <p:cNvSpPr txBox="1"/>
            <p:nvPr/>
          </p:nvSpPr>
          <p:spPr>
            <a:xfrm>
              <a:off x="7316832" y="5663122"/>
              <a:ext cx="2496000" cy="156005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120645" marR="0" lvl="0" indent="-120645" algn="l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ACC con </a:t>
              </a:r>
              <a:r>
                <a:rPr kumimoji="0" lang="it-IT" sz="1067" b="0" i="0" u="none" strike="noStrike" kern="0" cap="none" spc="0" normalizeH="0" baseline="0" noProof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rifunzionalizzazione</a:t>
              </a: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 fasci</a:t>
              </a:r>
            </a:p>
          </p:txBody>
        </p:sp>
        <p:sp>
          <p:nvSpPr>
            <p:cNvPr id="220" name="TextBox 173">
              <a:extLst>
                <a:ext uri="{FF2B5EF4-FFF2-40B4-BE49-F238E27FC236}">
                  <a16:creationId xmlns:a16="http://schemas.microsoft.com/office/drawing/2014/main" id="{0B7C1F53-58AE-4B77-ACCA-49ED04191894}"/>
                </a:ext>
              </a:extLst>
            </p:cNvPr>
            <p:cNvSpPr txBox="1"/>
            <p:nvPr/>
          </p:nvSpPr>
          <p:spPr>
            <a:xfrm>
              <a:off x="9703451" y="5663122"/>
              <a:ext cx="1858611" cy="156005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1pPr>
              <a:lvl2pPr marL="179241" lvl="1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•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2pPr>
              <a:lvl3pPr marL="349519" lvl="2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–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3pPr>
              <a:lvl4pPr marL="528760" lvl="3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Arial" panose="020B0604020202020204" pitchFamily="34" charset="0"/>
                <a:buChar char="▫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4pPr>
              <a:lvl5pPr marL="708001" lvl="4" indent="-179241" defTabSz="895350" eaLnBrk="1" latinLnBrk="0" hangingPunct="1">
                <a:lnSpc>
                  <a:spcPct val="95000"/>
                </a:lnSpc>
                <a:buClr>
                  <a:schemeClr val="tx2"/>
                </a:buClr>
                <a:buSzPct val="100000"/>
                <a:buFont typeface="Calibri" panose="020F0502020204030204" pitchFamily="34" charset="0"/>
                <a:buChar char="∙"/>
                <a:defRPr lang="en-US" sz="1800" baseline="0" dirty="0">
                  <a:latin typeface="Calibri" panose="020F0502020204030204" pitchFamily="34" charset="0"/>
                  <a:sym typeface="Calibri" panose="020F0502020204030204" pitchFamily="34" charset="0"/>
                </a:defRPr>
              </a:lvl5pPr>
              <a:lvl6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6pPr>
              <a:lvl7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7pPr>
              <a:lvl8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8pPr>
              <a:lvl9pPr marL="734887" indent="-127585" defTabSz="877533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lang="x-none" sz="1568" baseline="0">
                  <a:latin typeface="+mn-lt"/>
                </a:defRPr>
              </a:lvl9pPr>
            </a:lstStyle>
            <a:p>
              <a:pPr marL="0" marR="0" lvl="0" indent="0" algn="ctr" defTabSz="895306" rtl="0" eaLnBrk="1" fontAlgn="auto" latinLnBrk="0" hangingPunct="1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D90000"/>
                </a:buClr>
                <a:buSzPct val="100000"/>
                <a:buFontTx/>
                <a:buNone/>
                <a:tabLst/>
                <a:defRPr/>
              </a:pPr>
              <a:r>
                <a:rPr kumimoji="0" lang="it-IT" sz="1067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 pitchFamily="34" charset="0"/>
                  <a:ea typeface="+mn-ea"/>
                  <a:cs typeface="+mn-cs"/>
                  <a:sym typeface="Calibri" panose="020F0502020204030204" pitchFamily="34" charset="0"/>
                </a:rPr>
                <a:t>Realizzazione</a:t>
              </a:r>
              <a:endParaRPr kumimoji="0" lang="it-IT" sz="1067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endParaRPr>
            </a:p>
          </p:txBody>
        </p:sp>
        <p:cxnSp>
          <p:nvCxnSpPr>
            <p:cNvPr id="56" name="Straight Connector 131">
              <a:extLst>
                <a:ext uri="{FF2B5EF4-FFF2-40B4-BE49-F238E27FC236}">
                  <a16:creationId xmlns:a16="http://schemas.microsoft.com/office/drawing/2014/main" id="{0512F040-D329-4A71-B10D-F40EAA9D2437}"/>
                </a:ext>
              </a:extLst>
            </p:cNvPr>
            <p:cNvCxnSpPr>
              <a:cxnSpLocks/>
            </p:cNvCxnSpPr>
            <p:nvPr>
              <p:custDataLst>
                <p:tags r:id="rId11"/>
              </p:custDataLst>
            </p:nvPr>
          </p:nvCxnSpPr>
          <p:spPr bwMode="gray">
            <a:xfrm>
              <a:off x="5945403" y="4107683"/>
              <a:ext cx="5652000" cy="0"/>
            </a:xfrm>
            <a:prstGeom prst="line">
              <a:avLst/>
            </a:prstGeom>
            <a:noFill/>
            <a:ln w="12700" cap="flat" cmpd="sng" algn="ctr">
              <a:solidFill>
                <a:srgbClr val="FFFFFF">
                  <a:lumMod val="50000"/>
                </a:srgbClr>
              </a:solidFill>
              <a:prstDash val="solid"/>
            </a:ln>
            <a:effectLst/>
          </p:spPr>
        </p:cxnSp>
        <p:pic>
          <p:nvPicPr>
            <p:cNvPr id="62" name="Immagine 61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574090" y="1941735"/>
              <a:ext cx="324000" cy="306948"/>
            </a:xfrm>
            <a:prstGeom prst="rect">
              <a:avLst/>
            </a:prstGeom>
          </p:spPr>
        </p:pic>
        <p:pic>
          <p:nvPicPr>
            <p:cNvPr id="63" name="Immagine 62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572601" y="3764285"/>
              <a:ext cx="324000" cy="306948"/>
            </a:xfrm>
            <a:prstGeom prst="rect">
              <a:avLst/>
            </a:prstGeom>
          </p:spPr>
        </p:pic>
        <p:pic>
          <p:nvPicPr>
            <p:cNvPr id="64" name="Immagine 63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572601" y="2634069"/>
              <a:ext cx="324000" cy="306948"/>
            </a:xfrm>
            <a:prstGeom prst="rect">
              <a:avLst/>
            </a:prstGeom>
          </p:spPr>
        </p:pic>
        <p:pic>
          <p:nvPicPr>
            <p:cNvPr id="65" name="Immagine 64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583139" y="3419721"/>
              <a:ext cx="324000" cy="306948"/>
            </a:xfrm>
            <a:prstGeom prst="rect">
              <a:avLst/>
            </a:prstGeom>
          </p:spPr>
        </p:pic>
        <p:pic>
          <p:nvPicPr>
            <p:cNvPr id="66" name="Immagine 65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590817" y="3016068"/>
              <a:ext cx="324000" cy="306948"/>
            </a:xfrm>
            <a:prstGeom prst="rect">
              <a:avLst/>
            </a:prstGeom>
          </p:spPr>
        </p:pic>
        <p:pic>
          <p:nvPicPr>
            <p:cNvPr id="68" name="Immagine 67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5572601" y="4912094"/>
              <a:ext cx="324000" cy="306948"/>
            </a:xfrm>
            <a:prstGeom prst="rect">
              <a:avLst/>
            </a:prstGeom>
          </p:spPr>
        </p:pic>
      </p:grpSp>
      <p:grpSp>
        <p:nvGrpSpPr>
          <p:cNvPr id="69" name="Gruppo 68"/>
          <p:cNvGrpSpPr/>
          <p:nvPr/>
        </p:nvGrpSpPr>
        <p:grpSpPr>
          <a:xfrm>
            <a:off x="7484788" y="6345698"/>
            <a:ext cx="4039143" cy="314469"/>
            <a:chOff x="6985451" y="6442874"/>
            <a:chExt cx="4039143" cy="314469"/>
          </a:xfrm>
          <a:noFill/>
        </p:grpSpPr>
        <p:pic>
          <p:nvPicPr>
            <p:cNvPr id="70" name="Immagine 69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6985451" y="6450395"/>
              <a:ext cx="324000" cy="306948"/>
            </a:xfrm>
            <a:prstGeom prst="rect">
              <a:avLst/>
            </a:prstGeom>
            <a:grpFill/>
          </p:spPr>
        </p:pic>
        <p:sp>
          <p:nvSpPr>
            <p:cNvPr id="71" name="Rettangolo 70"/>
            <p:cNvSpPr/>
            <p:nvPr/>
          </p:nvSpPr>
          <p:spPr>
            <a:xfrm>
              <a:off x="7295303" y="6442874"/>
              <a:ext cx="3729291" cy="276999"/>
            </a:xfrm>
            <a:prstGeom prst="rect">
              <a:avLst/>
            </a:prstGeom>
            <a:grpFill/>
          </p:spPr>
          <p:txBody>
            <a:bodyPr wrap="none">
              <a:spAutoFit/>
            </a:bodyPr>
            <a:lstStyle/>
            <a:p>
              <a:pPr marL="0" marR="0" lvl="0" indent="0" algn="just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it-IT" sz="12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Interventi totalmente o parzialmente finanziati in PNRR </a:t>
              </a:r>
            </a:p>
          </p:txBody>
        </p:sp>
      </p:grpSp>
      <p:pic>
        <p:nvPicPr>
          <p:cNvPr id="72" name="Immagine 7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592749" y="2308584"/>
            <a:ext cx="324000" cy="3069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1568168"/>
      </p:ext>
    </p:extLst>
  </p:cSld>
  <p:clrMapOvr>
    <a:masterClrMapping/>
  </p:clrMapOvr>
  <p:transition spd="slow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.0602025231626828"/>
</p:tagLst>
</file>

<file path=ppt/theme/theme1.xml><?xml version="1.0" encoding="utf-8"?>
<a:theme xmlns:a="http://schemas.openxmlformats.org/drawingml/2006/main" name="1_Cover 1 - Proiezione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0.xml><?xml version="1.0" encoding="utf-8"?>
<a:theme xmlns:a="http://schemas.openxmlformats.org/drawingml/2006/main" name="3_Master Presentazione FSI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4_Master Presentazione FSI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Indice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aster Presentazione FSI">
  <a:themeElements>
    <a:clrScheme name="Personalizzato 1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FFFFFF"/>
      </a:hlink>
      <a:folHlink>
        <a:srgbClr val="FFFF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Master Presentazione FSI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7_Master Presentazione FSI">
  <a:themeElements>
    <a:clrScheme name="Personalizzato 1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FFFFFF"/>
      </a:hlink>
      <a:folHlink>
        <a:srgbClr val="FFFF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6_Master Presentazione FSI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12_Master Presentazione FSI">
  <a:themeElements>
    <a:clrScheme name="Personalizzato 1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FFFFFF"/>
      </a:hlink>
      <a:folHlink>
        <a:srgbClr val="FFFF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10_Master Presentazione FSI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2_Master Presentazione FSI">
  <a:themeElements>
    <a:clrScheme name="FS">
      <a:dk1>
        <a:srgbClr val="000000"/>
      </a:dk1>
      <a:lt1>
        <a:srgbClr val="FFFFFF"/>
      </a:lt1>
      <a:dk2>
        <a:srgbClr val="DC002E"/>
      </a:dk2>
      <a:lt2>
        <a:srgbClr val="717073"/>
      </a:lt2>
      <a:accent1>
        <a:srgbClr val="DC002E"/>
      </a:accent1>
      <a:accent2>
        <a:srgbClr val="006666"/>
      </a:accent2>
      <a:accent3>
        <a:srgbClr val="004687"/>
      </a:accent3>
      <a:accent4>
        <a:srgbClr val="F8B322"/>
      </a:accent4>
      <a:accent5>
        <a:srgbClr val="00BE7D"/>
      </a:accent5>
      <a:accent6>
        <a:srgbClr val="5A068C"/>
      </a:accent6>
      <a:hlink>
        <a:srgbClr val="E01F38"/>
      </a:hlink>
      <a:folHlink>
        <a:srgbClr val="E01F38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BD0FBE38FA523499BA21DECC27ADE24" ma:contentTypeVersion="14" ma:contentTypeDescription="Create a new document." ma:contentTypeScope="" ma:versionID="38a0b1de680a16ba36cf348dcefb408d">
  <xsd:schema xmlns:xsd="http://www.w3.org/2001/XMLSchema" xmlns:xs="http://www.w3.org/2001/XMLSchema" xmlns:p="http://schemas.microsoft.com/office/2006/metadata/properties" xmlns:ns3="70a2c3e1-7629-4994-a466-047544dd4caf" xmlns:ns4="69159389-60c6-42e2-b05b-79ab4af4a113" targetNamespace="http://schemas.microsoft.com/office/2006/metadata/properties" ma:root="true" ma:fieldsID="11f87ab344bacc3ba980818ac6ab7978" ns3:_="" ns4:_="">
    <xsd:import namespace="70a2c3e1-7629-4994-a466-047544dd4caf"/>
    <xsd:import namespace="69159389-60c6-42e2-b05b-79ab4af4a113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DateTake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  <xsd:element ref="ns4:MediaServiceLocation" minOccurs="0"/>
                <xsd:element ref="ns4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0a2c3e1-7629-4994-a466-047544dd4ca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159389-60c6-42e2-b05b-79ab4af4a11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FA5BBBE-249D-4694-8388-863C33EF8FC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CBE6015-3238-47B2-8172-0BDDBE177911}">
  <ds:schemaRefs>
    <ds:schemaRef ds:uri="69159389-60c6-42e2-b05b-79ab4af4a113"/>
    <ds:schemaRef ds:uri="70a2c3e1-7629-4994-a466-047544dd4caf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62F8B233-CDD1-48CA-A903-EF24A4643F54}">
  <ds:schemaRefs>
    <ds:schemaRef ds:uri="http://purl.org/dc/elements/1.1/"/>
    <ds:schemaRef ds:uri="http://schemas.microsoft.com/office/2006/metadata/properties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70a2c3e1-7629-4994-a466-047544dd4caf"/>
    <ds:schemaRef ds:uri="http://schemas.microsoft.com/office/2006/documentManagement/types"/>
    <ds:schemaRef ds:uri="69159389-60c6-42e2-b05b-79ab4af4a113"/>
    <ds:schemaRef ds:uri="http://www.w3.org/XML/1998/namespace"/>
    <ds:schemaRef ds:uri="http://purl.org/dc/terms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86</TotalTime>
  <Words>845</Words>
  <Application>Microsoft Office PowerPoint</Application>
  <PresentationFormat>Widescreen</PresentationFormat>
  <Paragraphs>239</Paragraphs>
  <Slides>5</Slides>
  <Notes>4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5</vt:i4>
      </vt:variant>
      <vt:variant>
        <vt:lpstr>Tema</vt:lpstr>
      </vt:variant>
      <vt:variant>
        <vt:i4>11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5</vt:i4>
      </vt:variant>
    </vt:vector>
  </HeadingPairs>
  <TitlesOfParts>
    <vt:vector size="23" baseType="lpstr">
      <vt:lpstr>Arial</vt:lpstr>
      <vt:lpstr>Calibri</vt:lpstr>
      <vt:lpstr>Courier New</vt:lpstr>
      <vt:lpstr>Gill Sans MT</vt:lpstr>
      <vt:lpstr>Wingdings</vt:lpstr>
      <vt:lpstr>1_Cover 1 - Proiezione</vt:lpstr>
      <vt:lpstr>1_Indice</vt:lpstr>
      <vt:lpstr>Master Presentazione FSI</vt:lpstr>
      <vt:lpstr>1_Master Presentazione FSI</vt:lpstr>
      <vt:lpstr>37_Master Presentazione FSI</vt:lpstr>
      <vt:lpstr>6_Master Presentazione FSI</vt:lpstr>
      <vt:lpstr>12_Master Presentazione FSI</vt:lpstr>
      <vt:lpstr>10_Master Presentazione FSI</vt:lpstr>
      <vt:lpstr>2_Master Presentazione FSI</vt:lpstr>
      <vt:lpstr>3_Master Presentazione FSI</vt:lpstr>
      <vt:lpstr>4_Master Presentazione FSI</vt:lpstr>
      <vt:lpstr>Diapositiva think-cell</vt:lpstr>
      <vt:lpstr>think-cell Slide</vt:lpstr>
      <vt:lpstr>Lo sviluppo infrastrutturale del Paese. Le scelte del mondo economico. «Ferrovie e trasporto intermodale» </vt:lpstr>
      <vt:lpstr>Presentazione standard di PowerPoint</vt:lpstr>
      <vt:lpstr>Presentazione standard di PowerPoint</vt:lpstr>
      <vt:lpstr>Miglioramento collegamenti con porti</vt:lpstr>
      <vt:lpstr>Presentazione standard di PowerPoint</vt:lpstr>
    </vt:vector>
  </TitlesOfParts>
  <Company>RF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rci e Logistica</dc:title>
  <dc:creator>RFI</dc:creator>
  <cp:lastModifiedBy>COLLACCIANI GIAN PAOLO</cp:lastModifiedBy>
  <cp:revision>28</cp:revision>
  <cp:lastPrinted>2023-01-18T09:29:23Z</cp:lastPrinted>
  <dcterms:created xsi:type="dcterms:W3CDTF">2021-03-30T09:59:30Z</dcterms:created>
  <dcterms:modified xsi:type="dcterms:W3CDTF">2023-01-18T13:23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427d464b-dce8-487b-b25d-948a67dac712_Enabled">
    <vt:lpwstr>True</vt:lpwstr>
  </property>
  <property fmtid="{D5CDD505-2E9C-101B-9397-08002B2CF9AE}" pid="3" name="MSIP_Label_427d464b-dce8-487b-b25d-948a67dac712_SiteId">
    <vt:lpwstr>4c8a6547-459a-4b75-a3dc-f66efe3e9c4e</vt:lpwstr>
  </property>
  <property fmtid="{D5CDD505-2E9C-101B-9397-08002B2CF9AE}" pid="4" name="MSIP_Label_427d464b-dce8-487b-b25d-948a67dac712_Owner">
    <vt:lpwstr>948507@rfi.it</vt:lpwstr>
  </property>
  <property fmtid="{D5CDD505-2E9C-101B-9397-08002B2CF9AE}" pid="5" name="MSIP_Label_427d464b-dce8-487b-b25d-948a67dac712_SetDate">
    <vt:lpwstr>2021-10-05T15:51:44.8342990Z</vt:lpwstr>
  </property>
  <property fmtid="{D5CDD505-2E9C-101B-9397-08002B2CF9AE}" pid="6" name="MSIP_Label_427d464b-dce8-487b-b25d-948a67dac712_Name">
    <vt:lpwstr>Pubblica</vt:lpwstr>
  </property>
  <property fmtid="{D5CDD505-2E9C-101B-9397-08002B2CF9AE}" pid="7" name="MSIP_Label_427d464b-dce8-487b-b25d-948a67dac712_Application">
    <vt:lpwstr>Microsoft Azure Information Protection</vt:lpwstr>
  </property>
  <property fmtid="{D5CDD505-2E9C-101B-9397-08002B2CF9AE}" pid="8" name="MSIP_Label_427d464b-dce8-487b-b25d-948a67dac712_ActionId">
    <vt:lpwstr>5ca98698-c2c6-4302-9ddc-917f96917274</vt:lpwstr>
  </property>
  <property fmtid="{D5CDD505-2E9C-101B-9397-08002B2CF9AE}" pid="9" name="MSIP_Label_427d464b-dce8-487b-b25d-948a67dac712_Extended_MSFT_Method">
    <vt:lpwstr>Manual</vt:lpwstr>
  </property>
  <property fmtid="{D5CDD505-2E9C-101B-9397-08002B2CF9AE}" pid="10" name="Sensitivity">
    <vt:lpwstr>Pubblica</vt:lpwstr>
  </property>
  <property fmtid="{D5CDD505-2E9C-101B-9397-08002B2CF9AE}" pid="11" name="ContentTypeId">
    <vt:lpwstr>0x0101006BD0FBE38FA523499BA21DECC27ADE24</vt:lpwstr>
  </property>
</Properties>
</file>